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51" r:id="rId1"/>
  </p:sldMasterIdLst>
  <p:notesMasterIdLst>
    <p:notesMasterId r:id="rId17"/>
  </p:notesMasterIdLst>
  <p:handoutMasterIdLst>
    <p:handoutMasterId r:id="rId18"/>
  </p:handoutMasterIdLst>
  <p:sldIdLst>
    <p:sldId id="260" r:id="rId2"/>
    <p:sldId id="261" r:id="rId3"/>
    <p:sldId id="262" r:id="rId4"/>
    <p:sldId id="263" r:id="rId5"/>
    <p:sldId id="264" r:id="rId6"/>
    <p:sldId id="265" r:id="rId7"/>
    <p:sldId id="267" r:id="rId8"/>
    <p:sldId id="574" r:id="rId9"/>
    <p:sldId id="268" r:id="rId10"/>
    <p:sldId id="269" r:id="rId11"/>
    <p:sldId id="270" r:id="rId12"/>
    <p:sldId id="271" r:id="rId13"/>
    <p:sldId id="272" r:id="rId14"/>
    <p:sldId id="273" r:id="rId15"/>
    <p:sldId id="274" r:id="rId16"/>
  </p:sldIdLst>
  <p:sldSz cx="9906000" cy="6858000" type="A4"/>
  <p:notesSz cx="6896100" cy="10033000"/>
  <p:custDataLst>
    <p:tags r:id="rId19"/>
  </p:custDataLst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315" userDrawn="1">
          <p15:clr>
            <a:srgbClr val="A4A3A4"/>
          </p15:clr>
        </p15:guide>
        <p15:guide id="3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9090BA"/>
    <a:srgbClr val="515081"/>
    <a:srgbClr val="2B256F"/>
    <a:srgbClr val="383558"/>
    <a:srgbClr val="A56363"/>
    <a:srgbClr val="7C4848"/>
    <a:srgbClr val="EDCEB5"/>
    <a:srgbClr val="EBC8AB"/>
    <a:srgbClr val="4545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0" autoAdjust="0"/>
    <p:restoredTop sz="95861" autoAdjust="0"/>
  </p:normalViewPr>
  <p:slideViewPr>
    <p:cSldViewPr snapToGrid="0">
      <p:cViewPr varScale="1">
        <p:scale>
          <a:sx n="106" d="100"/>
          <a:sy n="106" d="100"/>
        </p:scale>
        <p:origin x="1296" y="78"/>
      </p:cViewPr>
      <p:guideLst>
        <p:guide orient="horz" pos="4315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72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185415" cy="2810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1779" tIns="47725" rIns="91779" bIns="47725" numCol="1" anchor="t" anchorCtr="0" compatLnSpc="1">
            <a:prstTxWarp prst="textNoShape">
              <a:avLst/>
            </a:prstTxWarp>
            <a:spAutoFit/>
          </a:bodyPr>
          <a:lstStyle>
            <a:lvl1pPr algn="l" defTabSz="931891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696319" y="0"/>
            <a:ext cx="185415" cy="2810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1779" tIns="47725" rIns="91779" bIns="47725" numCol="1" anchor="t" anchorCtr="0" compatLnSpc="1">
            <a:prstTxWarp prst="textNoShape">
              <a:avLst/>
            </a:prstTxWarp>
            <a:spAutoFit/>
          </a:bodyPr>
          <a:lstStyle>
            <a:lvl1pPr algn="r" defTabSz="931891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30658"/>
            <a:ext cx="185415" cy="2810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1779" tIns="47725" rIns="91779" bIns="47725" numCol="1" anchor="b" anchorCtr="0" compatLnSpc="1">
            <a:prstTxWarp prst="textNoShape">
              <a:avLst/>
            </a:prstTxWarp>
            <a:spAutoFit/>
          </a:bodyPr>
          <a:lstStyle>
            <a:lvl1pPr algn="l" defTabSz="931891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01241" y="9728325"/>
            <a:ext cx="480493" cy="2833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1779" tIns="47725" rIns="91779" bIns="47725" numCol="1" anchor="b" anchorCtr="0" compatLnSpc="1">
            <a:prstTxWarp prst="textNoShape">
              <a:avLst/>
            </a:prstTxWarp>
            <a:spAutoFit/>
          </a:bodyPr>
          <a:lstStyle>
            <a:lvl1pPr algn="r" defTabSz="931891">
              <a:spcBef>
                <a:spcPct val="0"/>
              </a:spcBef>
              <a:defRPr b="1"/>
            </a:lvl1pPr>
          </a:lstStyle>
          <a:p>
            <a:fld id="{759B724C-78FC-4698-BDE4-19F15588D530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628533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91503" cy="50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7" tIns="46493" rIns="92987" bIns="46493" numCol="1" anchor="t" anchorCtr="0" compatLnSpc="1">
            <a:prstTxWarp prst="textNoShape">
              <a:avLst/>
            </a:prstTxWarp>
          </a:bodyPr>
          <a:lstStyle>
            <a:lvl1pPr algn="l" defTabSz="928649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04598" y="1"/>
            <a:ext cx="2991503" cy="50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7" tIns="46493" rIns="92987" bIns="46493" numCol="1" anchor="t" anchorCtr="0" compatLnSpc="1">
            <a:prstTxWarp prst="textNoShape">
              <a:avLst/>
            </a:prstTxWarp>
          </a:bodyPr>
          <a:lstStyle>
            <a:lvl1pPr algn="r" defTabSz="928649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3425" y="752475"/>
            <a:ext cx="5432425" cy="37623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21537" y="4763423"/>
            <a:ext cx="5462605" cy="110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Klik for at redigere teksttypografien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531760"/>
            <a:ext cx="2991503" cy="50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7" tIns="46493" rIns="92987" bIns="46493" numCol="1" anchor="b" anchorCtr="0" compatLnSpc="1">
            <a:prstTxWarp prst="textNoShape">
              <a:avLst/>
            </a:prstTxWarp>
          </a:bodyPr>
          <a:lstStyle>
            <a:lvl1pPr algn="l" defTabSz="928649">
              <a:spcBef>
                <a:spcPct val="0"/>
              </a:spcBef>
              <a:defRPr/>
            </a:lvl1pPr>
          </a:lstStyle>
          <a:p>
            <a:endParaRPr lang="en-GB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04598" y="9531760"/>
            <a:ext cx="2991503" cy="501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87" tIns="46493" rIns="92987" bIns="46493" numCol="1" anchor="b" anchorCtr="0" compatLnSpc="1">
            <a:prstTxWarp prst="textNoShape">
              <a:avLst/>
            </a:prstTxWarp>
          </a:bodyPr>
          <a:lstStyle>
            <a:lvl1pPr algn="r" defTabSz="928649">
              <a:spcBef>
                <a:spcPct val="0"/>
              </a:spcBef>
              <a:defRPr/>
            </a:lvl1pPr>
          </a:lstStyle>
          <a:p>
            <a:fld id="{1D57CA6B-6BE3-424D-A16A-79990923526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53675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5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36525" indent="-134938" algn="l" rtl="0" eaLnBrk="0" fontAlgn="base" hangingPunct="0">
      <a:spcBef>
        <a:spcPct val="5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5750" indent="-147638" algn="l" rtl="0" eaLnBrk="0" fontAlgn="base" hangingPunct="0">
      <a:spcBef>
        <a:spcPct val="50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22275" indent="-134938" algn="l" rtl="0" eaLnBrk="0" fontAlgn="base" hangingPunct="0">
      <a:spcBef>
        <a:spcPct val="50000"/>
      </a:spcBef>
      <a:spcAft>
        <a:spcPct val="0"/>
      </a:spcAft>
      <a:buChar char="·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47638" algn="l" rtl="0" eaLnBrk="0" fontAlgn="base" hangingPunct="0">
      <a:spcBef>
        <a:spcPct val="50000"/>
      </a:spcBef>
      <a:spcAft>
        <a:spcPct val="0"/>
      </a:spcAft>
      <a:buChar char="»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734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AB1A09-1410-4D76-B06D-E9149E95F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699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471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907203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82774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9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7513" y="404813"/>
            <a:ext cx="9072562" cy="677108"/>
          </a:xfrm>
        </p:spPr>
        <p:txBody>
          <a:bodyPr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  <a:endParaRPr lang="en-GB" noProof="0" dirty="0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0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20677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4443747"/>
              </p:ext>
            </p:extLst>
          </p:nvPr>
        </p:nvGraphicFramePr>
        <p:xfrm>
          <a:off x="1192" y="1100"/>
          <a:ext cx="1190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7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00"/>
                        <a:ext cx="1190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>
          <a:xfrm>
            <a:off x="681038" y="6356354"/>
            <a:ext cx="2228850" cy="365125"/>
          </a:xfrm>
          <a:prstGeom prst="rect">
            <a:avLst/>
          </a:prstGeom>
        </p:spPr>
        <p:txBody>
          <a:bodyPr/>
          <a:lstStyle/>
          <a:p>
            <a:fld id="{BA57679A-E80C-484C-8592-2C6BE082BC60}" type="datetimeFigureOut">
              <a:rPr lang="pl-PL" smtClean="0"/>
              <a:t>29.05.2018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>
          <a:xfrm>
            <a:off x="3281366" y="6356354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996113" y="6356354"/>
            <a:ext cx="2228850" cy="365125"/>
          </a:xfrm>
          <a:prstGeom prst="rect">
            <a:avLst/>
          </a:prstGeom>
        </p:spPr>
        <p:txBody>
          <a:bodyPr/>
          <a:lstStyle/>
          <a:p>
            <a:fld id="{717C80AB-BF98-9A49-BC81-3A04AA1B036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45641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762538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2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7513" y="404813"/>
            <a:ext cx="9072562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[Arial 22pt – lower case letters – max two lines]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7513" y="1981200"/>
            <a:ext cx="8420100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</a:t>
            </a:r>
            <a:r>
              <a:rPr lang="en-GB" noProof="0" dirty="0" err="1"/>
              <a:t>teksttypografien</a:t>
            </a:r>
            <a:r>
              <a:rPr lang="en-GB" noProof="0" dirty="0"/>
              <a:t> </a:t>
            </a:r>
            <a:r>
              <a:rPr lang="en-GB" noProof="0" dirty="0" err="1"/>
              <a:t>i</a:t>
            </a:r>
            <a:r>
              <a:rPr lang="en-GB" noProof="0" dirty="0"/>
              <a:t> </a:t>
            </a:r>
            <a:r>
              <a:rPr lang="en-GB" noProof="0" dirty="0" err="1"/>
              <a:t>masteren</a:t>
            </a:r>
            <a:endParaRPr lang="en-GB" noProof="0" dirty="0"/>
          </a:p>
          <a:p>
            <a:pPr lvl="1"/>
            <a:r>
              <a:rPr lang="en-GB" noProof="0" dirty="0" err="1"/>
              <a:t>Andet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edj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Fjerd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Femt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3" name="[WorkArea]" descr="&lt;?xml version=&quot;1.0&quot; encoding=&quot;utf-16&quot;?&gt;&#10;&lt;GridTheme xmlns:xsd=&quot;http://www.w3.org/2001/XMLSchema&quot; xmlns:xsi=&quot;http://www.w3.org/2001/XMLSchema-instance&quot;&gt;&#10;  &lt;GuideLines /&gt;&#10;  &lt;WorkArea&gt;&#10;    &lt;Top&gt;94.12504&lt;/Top&gt;&#10;    &lt;Left&gt;32.87504&lt;/Left&gt;&#10;    &lt;Width&gt;714.374939&lt;/Width&gt;&#10;    &lt;Height&gt;388.374969&lt;/Height&gt;&#10;  &lt;/WorkArea&gt;&#10;  &lt;AspectW&gt;-1&lt;/AspectW&gt;&#10;  &lt;AspectH&gt;-1&lt;/AspectH&gt;&#10;  &lt;Width&gt;780&lt;/Width&gt;&#10;  &lt;Height&gt;540&lt;/Height&gt;&#10;  &lt;HGap&gt;5&lt;/HGap&gt;&#10;  &lt;VGap&gt;5&lt;/VGap&gt;&#10;  &lt;OfficeVersion&gt;-1&lt;/OfficeVersion&gt;&#10;&lt;/GridTheme&gt;" hidden="1"/>
          <p:cNvSpPr/>
          <p:nvPr userDrawn="1"/>
        </p:nvSpPr>
        <p:spPr bwMode="auto">
          <a:xfrm>
            <a:off x="417513" y="1195388"/>
            <a:ext cx="9072562" cy="4932362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2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7FC38A8-95BF-443D-90C0-6131FD9715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35937" b="36250"/>
          <a:stretch/>
        </p:blipFill>
        <p:spPr>
          <a:xfrm>
            <a:off x="360363" y="6473582"/>
            <a:ext cx="954087" cy="26535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4" r:id="rId2"/>
    <p:sldLayoutId id="2147483755" r:id="rId3"/>
    <p:sldLayoutId id="2147483757" r:id="rId4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200" b="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63" userDrawn="1">
          <p15:clr>
            <a:srgbClr val="F26B43"/>
          </p15:clr>
        </p15:guide>
        <p15:guide id="2" pos="5978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41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sv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" Type="http://schemas.openxmlformats.org/officeDocument/2006/relationships/tags" Target="../tags/tag7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emf"/><Relationship Id="rId15" Type="http://schemas.openxmlformats.org/officeDocument/2006/relationships/image" Target="../media/image15.svg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9.svg"/><Relationship Id="rId1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9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svg"/><Relationship Id="rId12" Type="http://schemas.openxmlformats.org/officeDocument/2006/relationships/image" Target="../media/image5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5" Type="http://schemas.openxmlformats.org/officeDocument/2006/relationships/image" Target="../media/image3.emf"/><Relationship Id="rId15" Type="http://schemas.openxmlformats.org/officeDocument/2006/relationships/image" Target="../media/image60.svg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54.svg"/><Relationship Id="rId14" Type="http://schemas.openxmlformats.org/officeDocument/2006/relationships/image" Target="../media/image5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1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1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svg"/><Relationship Id="rId12" Type="http://schemas.openxmlformats.org/officeDocument/2006/relationships/image" Target="../media/image3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1.png"/><Relationship Id="rId11" Type="http://schemas.openxmlformats.org/officeDocument/2006/relationships/image" Target="../media/image13.svg"/><Relationship Id="rId5" Type="http://schemas.openxmlformats.org/officeDocument/2006/relationships/image" Target="../media/image30.emf"/><Relationship Id="rId15" Type="http://schemas.openxmlformats.org/officeDocument/2006/relationships/image" Target="../media/image38.sv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34.svg"/><Relationship Id="rId1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4.emf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8.jp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4C979A1D-24B0-49CD-AD44-10C596EB54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820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4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954F8791-8A33-4BF7-BEE0-4E8F689F3105}"/>
              </a:ext>
            </a:extLst>
          </p:cNvPr>
          <p:cNvSpPr/>
          <p:nvPr/>
        </p:nvSpPr>
        <p:spPr bwMode="auto">
          <a:xfrm>
            <a:off x="0" y="6267028"/>
            <a:ext cx="9898725" cy="670560"/>
          </a:xfrm>
          <a:custGeom>
            <a:avLst/>
            <a:gdLst>
              <a:gd name="connsiteX0" fmla="*/ 0 w 8031480"/>
              <a:gd name="connsiteY0" fmla="*/ 0 h 327660"/>
              <a:gd name="connsiteX1" fmla="*/ 8001000 w 8031480"/>
              <a:gd name="connsiteY1" fmla="*/ 0 h 327660"/>
              <a:gd name="connsiteX2" fmla="*/ 8031480 w 8031480"/>
              <a:gd name="connsiteY2" fmla="*/ 327660 h 327660"/>
              <a:gd name="connsiteX0" fmla="*/ 0 w 8073126"/>
              <a:gd name="connsiteY0" fmla="*/ 0 h 327660"/>
              <a:gd name="connsiteX1" fmla="*/ 8001000 w 8073126"/>
              <a:gd name="connsiteY1" fmla="*/ 0 h 327660"/>
              <a:gd name="connsiteX2" fmla="*/ 8031480 w 8073126"/>
              <a:gd name="connsiteY2" fmla="*/ 327660 h 327660"/>
              <a:gd name="connsiteX0" fmla="*/ 0 w 8094285"/>
              <a:gd name="connsiteY0" fmla="*/ 0 h 327660"/>
              <a:gd name="connsiteX1" fmla="*/ 8001000 w 8094285"/>
              <a:gd name="connsiteY1" fmla="*/ 0 h 327660"/>
              <a:gd name="connsiteX2" fmla="*/ 8031480 w 8094285"/>
              <a:gd name="connsiteY2" fmla="*/ 327660 h 327660"/>
              <a:gd name="connsiteX0" fmla="*/ 0 w 8094285"/>
              <a:gd name="connsiteY0" fmla="*/ 0 h 318135"/>
              <a:gd name="connsiteX1" fmla="*/ 8001000 w 8094285"/>
              <a:gd name="connsiteY1" fmla="*/ 0 h 318135"/>
              <a:gd name="connsiteX2" fmla="*/ 8031480 w 8094285"/>
              <a:gd name="connsiteY2" fmla="*/ 318135 h 318135"/>
              <a:gd name="connsiteX0" fmla="*/ 0 w 8091823"/>
              <a:gd name="connsiteY0" fmla="*/ 0 h 318135"/>
              <a:gd name="connsiteX1" fmla="*/ 8001000 w 8091823"/>
              <a:gd name="connsiteY1" fmla="*/ 0 h 318135"/>
              <a:gd name="connsiteX2" fmla="*/ 8031480 w 8091823"/>
              <a:gd name="connsiteY2" fmla="*/ 318135 h 318135"/>
              <a:gd name="connsiteX0" fmla="*/ 0 w 8084244"/>
              <a:gd name="connsiteY0" fmla="*/ 0 h 318135"/>
              <a:gd name="connsiteX1" fmla="*/ 8001000 w 8084244"/>
              <a:gd name="connsiteY1" fmla="*/ 0 h 318135"/>
              <a:gd name="connsiteX2" fmla="*/ 8031480 w 8084244"/>
              <a:gd name="connsiteY2" fmla="*/ 318135 h 318135"/>
              <a:gd name="connsiteX0" fmla="*/ 0 w 8073302"/>
              <a:gd name="connsiteY0" fmla="*/ 0 h 313372"/>
              <a:gd name="connsiteX1" fmla="*/ 8001000 w 8073302"/>
              <a:gd name="connsiteY1" fmla="*/ 0 h 313372"/>
              <a:gd name="connsiteX2" fmla="*/ 8005286 w 8073302"/>
              <a:gd name="connsiteY2" fmla="*/ 313372 h 313372"/>
              <a:gd name="connsiteX0" fmla="*/ 0 w 8075112"/>
              <a:gd name="connsiteY0" fmla="*/ 0 h 313372"/>
              <a:gd name="connsiteX1" fmla="*/ 8001000 w 8075112"/>
              <a:gd name="connsiteY1" fmla="*/ 0 h 313372"/>
              <a:gd name="connsiteX2" fmla="*/ 8010049 w 8075112"/>
              <a:gd name="connsiteY2" fmla="*/ 313372 h 313372"/>
              <a:gd name="connsiteX0" fmla="*/ 0 w 8076045"/>
              <a:gd name="connsiteY0" fmla="*/ 0 h 306228"/>
              <a:gd name="connsiteX1" fmla="*/ 8001000 w 8076045"/>
              <a:gd name="connsiteY1" fmla="*/ 0 h 306228"/>
              <a:gd name="connsiteX2" fmla="*/ 8012430 w 8076045"/>
              <a:gd name="connsiteY2" fmla="*/ 306228 h 306228"/>
              <a:gd name="connsiteX0" fmla="*/ 0 w 8028113"/>
              <a:gd name="connsiteY0" fmla="*/ 0 h 665797"/>
              <a:gd name="connsiteX1" fmla="*/ 8001000 w 8028113"/>
              <a:gd name="connsiteY1" fmla="*/ 0 h 665797"/>
              <a:gd name="connsiteX2" fmla="*/ 7706623 w 8028113"/>
              <a:gd name="connsiteY2" fmla="*/ 665797 h 665797"/>
              <a:gd name="connsiteX0" fmla="*/ 0 w 8037686"/>
              <a:gd name="connsiteY0" fmla="*/ 0 h 665797"/>
              <a:gd name="connsiteX1" fmla="*/ 8001000 w 8037686"/>
              <a:gd name="connsiteY1" fmla="*/ 0 h 665797"/>
              <a:gd name="connsiteX2" fmla="*/ 7706623 w 8037686"/>
              <a:gd name="connsiteY2" fmla="*/ 665797 h 665797"/>
              <a:gd name="connsiteX0" fmla="*/ 0 w 8037686"/>
              <a:gd name="connsiteY0" fmla="*/ 0 h 665797"/>
              <a:gd name="connsiteX1" fmla="*/ 8001000 w 8037686"/>
              <a:gd name="connsiteY1" fmla="*/ 0 h 665797"/>
              <a:gd name="connsiteX2" fmla="*/ 7706623 w 8037686"/>
              <a:gd name="connsiteY2" fmla="*/ 665797 h 665797"/>
              <a:gd name="connsiteX0" fmla="*/ 0 w 7995327"/>
              <a:gd name="connsiteY0" fmla="*/ 9525 h 675322"/>
              <a:gd name="connsiteX1" fmla="*/ 7953075 w 7995327"/>
              <a:gd name="connsiteY1" fmla="*/ 0 h 675322"/>
              <a:gd name="connsiteX2" fmla="*/ 7706623 w 7995327"/>
              <a:gd name="connsiteY2" fmla="*/ 675322 h 675322"/>
              <a:gd name="connsiteX0" fmla="*/ 0 w 7983519"/>
              <a:gd name="connsiteY0" fmla="*/ 0 h 665797"/>
              <a:gd name="connsiteX1" fmla="*/ 7939383 w 7983519"/>
              <a:gd name="connsiteY1" fmla="*/ 4763 h 665797"/>
              <a:gd name="connsiteX2" fmla="*/ 7706623 w 7983519"/>
              <a:gd name="connsiteY2" fmla="*/ 665797 h 665797"/>
              <a:gd name="connsiteX0" fmla="*/ 0 w 8069784"/>
              <a:gd name="connsiteY0" fmla="*/ 0 h 665797"/>
              <a:gd name="connsiteX1" fmla="*/ 7939383 w 8069784"/>
              <a:gd name="connsiteY1" fmla="*/ 4763 h 665797"/>
              <a:gd name="connsiteX2" fmla="*/ 7706623 w 8069784"/>
              <a:gd name="connsiteY2" fmla="*/ 665797 h 665797"/>
              <a:gd name="connsiteX0" fmla="*/ 0 w 8057666"/>
              <a:gd name="connsiteY0" fmla="*/ 0 h 665797"/>
              <a:gd name="connsiteX1" fmla="*/ 7939383 w 8057666"/>
              <a:gd name="connsiteY1" fmla="*/ 4763 h 665797"/>
              <a:gd name="connsiteX2" fmla="*/ 7706623 w 8057666"/>
              <a:gd name="connsiteY2" fmla="*/ 665797 h 665797"/>
              <a:gd name="connsiteX0" fmla="*/ 0 w 8059384"/>
              <a:gd name="connsiteY0" fmla="*/ 0 h 665797"/>
              <a:gd name="connsiteX1" fmla="*/ 7939383 w 8059384"/>
              <a:gd name="connsiteY1" fmla="*/ 4763 h 665797"/>
              <a:gd name="connsiteX2" fmla="*/ 7706623 w 8059384"/>
              <a:gd name="connsiteY2" fmla="*/ 665797 h 665797"/>
              <a:gd name="connsiteX0" fmla="*/ 0 w 8054886"/>
              <a:gd name="connsiteY0" fmla="*/ 0 h 665797"/>
              <a:gd name="connsiteX1" fmla="*/ 7939383 w 8054886"/>
              <a:gd name="connsiteY1" fmla="*/ 4763 h 665797"/>
              <a:gd name="connsiteX2" fmla="*/ 7679238 w 8054886"/>
              <a:gd name="connsiteY2" fmla="*/ 665797 h 665797"/>
              <a:gd name="connsiteX0" fmla="*/ 0 w 7760489"/>
              <a:gd name="connsiteY0" fmla="*/ 0 h 670560"/>
              <a:gd name="connsiteX1" fmla="*/ 7644986 w 7760489"/>
              <a:gd name="connsiteY1" fmla="*/ 9526 h 670560"/>
              <a:gd name="connsiteX2" fmla="*/ 7384841 w 7760489"/>
              <a:gd name="connsiteY2" fmla="*/ 670560 h 67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60489" h="670560">
                <a:moveTo>
                  <a:pt x="0" y="0"/>
                </a:moveTo>
                <a:lnTo>
                  <a:pt x="7644986" y="9526"/>
                </a:lnTo>
                <a:cubicBezTo>
                  <a:pt x="7975037" y="161610"/>
                  <a:pt x="7505058" y="556577"/>
                  <a:pt x="7384841" y="670560"/>
                </a:cubicBezTo>
              </a:path>
            </a:pathLst>
          </a:custGeom>
          <a:noFill/>
          <a:ln w="38100">
            <a:solidFill>
              <a:schemeClr val="accent5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2FEA946-08D8-4149-AB26-59E908362A05}"/>
              </a:ext>
            </a:extLst>
          </p:cNvPr>
          <p:cNvSpPr/>
          <p:nvPr/>
        </p:nvSpPr>
        <p:spPr bwMode="auto">
          <a:xfrm>
            <a:off x="-409575" y="6267039"/>
            <a:ext cx="10315575" cy="673747"/>
          </a:xfrm>
          <a:custGeom>
            <a:avLst/>
            <a:gdLst>
              <a:gd name="connsiteX0" fmla="*/ 0 w 3795713"/>
              <a:gd name="connsiteY0" fmla="*/ 166687 h 309562"/>
              <a:gd name="connsiteX1" fmla="*/ 3581400 w 3795713"/>
              <a:gd name="connsiteY1" fmla="*/ 171450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581400 w 3795713"/>
              <a:gd name="connsiteY1" fmla="*/ 171450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581400 w 3795713"/>
              <a:gd name="connsiteY1" fmla="*/ 171450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581400 w 3795713"/>
              <a:gd name="connsiteY1" fmla="*/ 171450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581400 w 3795713"/>
              <a:gd name="connsiteY1" fmla="*/ 171450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581400 w 3795713"/>
              <a:gd name="connsiteY1" fmla="*/ 171450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581400 w 3795713"/>
              <a:gd name="connsiteY1" fmla="*/ 171450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623876 w 3795713"/>
              <a:gd name="connsiteY1" fmla="*/ 171450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629668 w 3795713"/>
              <a:gd name="connsiteY1" fmla="*/ 165657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604568 w 3795713"/>
              <a:gd name="connsiteY1" fmla="*/ 159865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604568 w 3795713"/>
              <a:gd name="connsiteY1" fmla="*/ 159865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604568 w 3795713"/>
              <a:gd name="connsiteY1" fmla="*/ 159865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09562"/>
              <a:gd name="connsiteX1" fmla="*/ 3577538 w 3795713"/>
              <a:gd name="connsiteY1" fmla="*/ 165657 h 309562"/>
              <a:gd name="connsiteX2" fmla="*/ 3633788 w 3795713"/>
              <a:gd name="connsiteY2" fmla="*/ 309562 h 309562"/>
              <a:gd name="connsiteX3" fmla="*/ 3795713 w 3795713"/>
              <a:gd name="connsiteY3" fmla="*/ 109537 h 309562"/>
              <a:gd name="connsiteX4" fmla="*/ 3724275 w 3795713"/>
              <a:gd name="connsiteY4" fmla="*/ 4762 h 309562"/>
              <a:gd name="connsiteX5" fmla="*/ 147638 w 3795713"/>
              <a:gd name="connsiteY5" fmla="*/ 0 h 309562"/>
              <a:gd name="connsiteX6" fmla="*/ 0 w 3795713"/>
              <a:gd name="connsiteY6" fmla="*/ 166687 h 309562"/>
              <a:gd name="connsiteX0" fmla="*/ 0 w 3795713"/>
              <a:gd name="connsiteY0" fmla="*/ 166687 h 319216"/>
              <a:gd name="connsiteX1" fmla="*/ 3577538 w 3795713"/>
              <a:gd name="connsiteY1" fmla="*/ 165657 h 319216"/>
              <a:gd name="connsiteX2" fmla="*/ 3597104 w 3795713"/>
              <a:gd name="connsiteY2" fmla="*/ 319216 h 319216"/>
              <a:gd name="connsiteX3" fmla="*/ 3795713 w 3795713"/>
              <a:gd name="connsiteY3" fmla="*/ 109537 h 319216"/>
              <a:gd name="connsiteX4" fmla="*/ 3724275 w 3795713"/>
              <a:gd name="connsiteY4" fmla="*/ 4762 h 319216"/>
              <a:gd name="connsiteX5" fmla="*/ 147638 w 3795713"/>
              <a:gd name="connsiteY5" fmla="*/ 0 h 319216"/>
              <a:gd name="connsiteX6" fmla="*/ 0 w 3795713"/>
              <a:gd name="connsiteY6" fmla="*/ 166687 h 319216"/>
              <a:gd name="connsiteX0" fmla="*/ 0 w 3795713"/>
              <a:gd name="connsiteY0" fmla="*/ 166687 h 319216"/>
              <a:gd name="connsiteX1" fmla="*/ 3577538 w 3795713"/>
              <a:gd name="connsiteY1" fmla="*/ 165657 h 319216"/>
              <a:gd name="connsiteX2" fmla="*/ 3597104 w 3795713"/>
              <a:gd name="connsiteY2" fmla="*/ 319216 h 319216"/>
              <a:gd name="connsiteX3" fmla="*/ 3795713 w 3795713"/>
              <a:gd name="connsiteY3" fmla="*/ 109537 h 319216"/>
              <a:gd name="connsiteX4" fmla="*/ 3724275 w 3795713"/>
              <a:gd name="connsiteY4" fmla="*/ 4762 h 319216"/>
              <a:gd name="connsiteX5" fmla="*/ 147638 w 3795713"/>
              <a:gd name="connsiteY5" fmla="*/ 0 h 319216"/>
              <a:gd name="connsiteX6" fmla="*/ 0 w 3795713"/>
              <a:gd name="connsiteY6" fmla="*/ 166687 h 319216"/>
              <a:gd name="connsiteX0" fmla="*/ 0 w 3767236"/>
              <a:gd name="connsiteY0" fmla="*/ 166687 h 319216"/>
              <a:gd name="connsiteX1" fmla="*/ 3577538 w 3767236"/>
              <a:gd name="connsiteY1" fmla="*/ 165657 h 319216"/>
              <a:gd name="connsiteX2" fmla="*/ 3597104 w 3767236"/>
              <a:gd name="connsiteY2" fmla="*/ 319216 h 319216"/>
              <a:gd name="connsiteX3" fmla="*/ 3760960 w 3767236"/>
              <a:gd name="connsiteY3" fmla="*/ 157806 h 319216"/>
              <a:gd name="connsiteX4" fmla="*/ 3724275 w 3767236"/>
              <a:gd name="connsiteY4" fmla="*/ 4762 h 319216"/>
              <a:gd name="connsiteX5" fmla="*/ 147638 w 3767236"/>
              <a:gd name="connsiteY5" fmla="*/ 0 h 319216"/>
              <a:gd name="connsiteX6" fmla="*/ 0 w 3767236"/>
              <a:gd name="connsiteY6" fmla="*/ 166687 h 319216"/>
              <a:gd name="connsiteX0" fmla="*/ 0 w 3760960"/>
              <a:gd name="connsiteY0" fmla="*/ 166687 h 319216"/>
              <a:gd name="connsiteX1" fmla="*/ 3577538 w 3760960"/>
              <a:gd name="connsiteY1" fmla="*/ 165657 h 319216"/>
              <a:gd name="connsiteX2" fmla="*/ 3597104 w 3760960"/>
              <a:gd name="connsiteY2" fmla="*/ 319216 h 319216"/>
              <a:gd name="connsiteX3" fmla="*/ 3760960 w 3760960"/>
              <a:gd name="connsiteY3" fmla="*/ 157806 h 319216"/>
              <a:gd name="connsiteX4" fmla="*/ 3652838 w 3760960"/>
              <a:gd name="connsiteY4" fmla="*/ 27931 h 319216"/>
              <a:gd name="connsiteX5" fmla="*/ 147638 w 3760960"/>
              <a:gd name="connsiteY5" fmla="*/ 0 h 319216"/>
              <a:gd name="connsiteX6" fmla="*/ 0 w 3760960"/>
              <a:gd name="connsiteY6" fmla="*/ 166687 h 319216"/>
              <a:gd name="connsiteX0" fmla="*/ 0 w 3760960"/>
              <a:gd name="connsiteY0" fmla="*/ 166687 h 319216"/>
              <a:gd name="connsiteX1" fmla="*/ 3577538 w 3760960"/>
              <a:gd name="connsiteY1" fmla="*/ 165657 h 319216"/>
              <a:gd name="connsiteX2" fmla="*/ 3597104 w 3760960"/>
              <a:gd name="connsiteY2" fmla="*/ 319216 h 319216"/>
              <a:gd name="connsiteX3" fmla="*/ 3760960 w 3760960"/>
              <a:gd name="connsiteY3" fmla="*/ 157806 h 319216"/>
              <a:gd name="connsiteX4" fmla="*/ 3637392 w 3760960"/>
              <a:gd name="connsiteY4" fmla="*/ 20208 h 319216"/>
              <a:gd name="connsiteX5" fmla="*/ 147638 w 3760960"/>
              <a:gd name="connsiteY5" fmla="*/ 0 h 319216"/>
              <a:gd name="connsiteX6" fmla="*/ 0 w 3760960"/>
              <a:gd name="connsiteY6" fmla="*/ 166687 h 319216"/>
              <a:gd name="connsiteX0" fmla="*/ 0 w 3749376"/>
              <a:gd name="connsiteY0" fmla="*/ 174410 h 319216"/>
              <a:gd name="connsiteX1" fmla="*/ 3565954 w 3749376"/>
              <a:gd name="connsiteY1" fmla="*/ 165657 h 319216"/>
              <a:gd name="connsiteX2" fmla="*/ 3585520 w 3749376"/>
              <a:gd name="connsiteY2" fmla="*/ 319216 h 319216"/>
              <a:gd name="connsiteX3" fmla="*/ 3749376 w 3749376"/>
              <a:gd name="connsiteY3" fmla="*/ 157806 h 319216"/>
              <a:gd name="connsiteX4" fmla="*/ 3625808 w 3749376"/>
              <a:gd name="connsiteY4" fmla="*/ 20208 h 319216"/>
              <a:gd name="connsiteX5" fmla="*/ 136054 w 3749376"/>
              <a:gd name="connsiteY5" fmla="*/ 0 h 319216"/>
              <a:gd name="connsiteX6" fmla="*/ 0 w 3749376"/>
              <a:gd name="connsiteY6" fmla="*/ 174410 h 319216"/>
              <a:gd name="connsiteX0" fmla="*/ 0 w 3749376"/>
              <a:gd name="connsiteY0" fmla="*/ 174410 h 319216"/>
              <a:gd name="connsiteX1" fmla="*/ 3565954 w 3749376"/>
              <a:gd name="connsiteY1" fmla="*/ 165657 h 319216"/>
              <a:gd name="connsiteX2" fmla="*/ 3585520 w 3749376"/>
              <a:gd name="connsiteY2" fmla="*/ 319216 h 319216"/>
              <a:gd name="connsiteX3" fmla="*/ 3749376 w 3749376"/>
              <a:gd name="connsiteY3" fmla="*/ 157806 h 319216"/>
              <a:gd name="connsiteX4" fmla="*/ 3635076 w 3749376"/>
              <a:gd name="connsiteY4" fmla="*/ 7851 h 319216"/>
              <a:gd name="connsiteX5" fmla="*/ 136054 w 3749376"/>
              <a:gd name="connsiteY5" fmla="*/ 0 h 319216"/>
              <a:gd name="connsiteX6" fmla="*/ 0 w 3749376"/>
              <a:gd name="connsiteY6" fmla="*/ 174410 h 319216"/>
              <a:gd name="connsiteX0" fmla="*/ 0 w 3749376"/>
              <a:gd name="connsiteY0" fmla="*/ 174410 h 319216"/>
              <a:gd name="connsiteX1" fmla="*/ 3565954 w 3749376"/>
              <a:gd name="connsiteY1" fmla="*/ 165657 h 319216"/>
              <a:gd name="connsiteX2" fmla="*/ 3585520 w 3749376"/>
              <a:gd name="connsiteY2" fmla="*/ 319216 h 319216"/>
              <a:gd name="connsiteX3" fmla="*/ 3749376 w 3749376"/>
              <a:gd name="connsiteY3" fmla="*/ 157806 h 319216"/>
              <a:gd name="connsiteX4" fmla="*/ 3631987 w 3749376"/>
              <a:gd name="connsiteY4" fmla="*/ 1673 h 319216"/>
              <a:gd name="connsiteX5" fmla="*/ 136054 w 3749376"/>
              <a:gd name="connsiteY5" fmla="*/ 0 h 319216"/>
              <a:gd name="connsiteX6" fmla="*/ 0 w 3749376"/>
              <a:gd name="connsiteY6" fmla="*/ 174410 h 319216"/>
              <a:gd name="connsiteX0" fmla="*/ 0 w 3749376"/>
              <a:gd name="connsiteY0" fmla="*/ 174410 h 319216"/>
              <a:gd name="connsiteX1" fmla="*/ 3565954 w 3749376"/>
              <a:gd name="connsiteY1" fmla="*/ 165657 h 319216"/>
              <a:gd name="connsiteX2" fmla="*/ 3585520 w 3749376"/>
              <a:gd name="connsiteY2" fmla="*/ 319216 h 319216"/>
              <a:gd name="connsiteX3" fmla="*/ 3749376 w 3749376"/>
              <a:gd name="connsiteY3" fmla="*/ 157806 h 319216"/>
              <a:gd name="connsiteX4" fmla="*/ 3634883 w 3749376"/>
              <a:gd name="connsiteY4" fmla="*/ 27738 h 319216"/>
              <a:gd name="connsiteX5" fmla="*/ 136054 w 3749376"/>
              <a:gd name="connsiteY5" fmla="*/ 0 h 319216"/>
              <a:gd name="connsiteX6" fmla="*/ 0 w 3749376"/>
              <a:gd name="connsiteY6" fmla="*/ 174410 h 319216"/>
              <a:gd name="connsiteX0" fmla="*/ 0 w 3749376"/>
              <a:gd name="connsiteY0" fmla="*/ 174410 h 319216"/>
              <a:gd name="connsiteX1" fmla="*/ 3565954 w 3749376"/>
              <a:gd name="connsiteY1" fmla="*/ 165657 h 319216"/>
              <a:gd name="connsiteX2" fmla="*/ 3585520 w 3749376"/>
              <a:gd name="connsiteY2" fmla="*/ 319216 h 319216"/>
              <a:gd name="connsiteX3" fmla="*/ 3749376 w 3749376"/>
              <a:gd name="connsiteY3" fmla="*/ 157806 h 319216"/>
              <a:gd name="connsiteX4" fmla="*/ 3634883 w 3749376"/>
              <a:gd name="connsiteY4" fmla="*/ 34496 h 319216"/>
              <a:gd name="connsiteX5" fmla="*/ 136054 w 3749376"/>
              <a:gd name="connsiteY5" fmla="*/ 0 h 319216"/>
              <a:gd name="connsiteX6" fmla="*/ 0 w 3749376"/>
              <a:gd name="connsiteY6" fmla="*/ 174410 h 319216"/>
              <a:gd name="connsiteX0" fmla="*/ 0 w 3725242"/>
              <a:gd name="connsiteY0" fmla="*/ 174410 h 319216"/>
              <a:gd name="connsiteX1" fmla="*/ 3565954 w 3725242"/>
              <a:gd name="connsiteY1" fmla="*/ 165657 h 319216"/>
              <a:gd name="connsiteX2" fmla="*/ 3585520 w 3725242"/>
              <a:gd name="connsiteY2" fmla="*/ 319216 h 319216"/>
              <a:gd name="connsiteX3" fmla="*/ 3725242 w 3725242"/>
              <a:gd name="connsiteY3" fmla="*/ 159737 h 319216"/>
              <a:gd name="connsiteX4" fmla="*/ 3634883 w 3725242"/>
              <a:gd name="connsiteY4" fmla="*/ 34496 h 319216"/>
              <a:gd name="connsiteX5" fmla="*/ 136054 w 3725242"/>
              <a:gd name="connsiteY5" fmla="*/ 0 h 319216"/>
              <a:gd name="connsiteX6" fmla="*/ 0 w 3725242"/>
              <a:gd name="connsiteY6" fmla="*/ 174410 h 319216"/>
              <a:gd name="connsiteX0" fmla="*/ 0 w 3717519"/>
              <a:gd name="connsiteY0" fmla="*/ 174410 h 319216"/>
              <a:gd name="connsiteX1" fmla="*/ 3565954 w 3717519"/>
              <a:gd name="connsiteY1" fmla="*/ 165657 h 319216"/>
              <a:gd name="connsiteX2" fmla="*/ 3585520 w 3717519"/>
              <a:gd name="connsiteY2" fmla="*/ 319216 h 319216"/>
              <a:gd name="connsiteX3" fmla="*/ 3717519 w 3717519"/>
              <a:gd name="connsiteY3" fmla="*/ 159737 h 319216"/>
              <a:gd name="connsiteX4" fmla="*/ 3634883 w 3717519"/>
              <a:gd name="connsiteY4" fmla="*/ 34496 h 319216"/>
              <a:gd name="connsiteX5" fmla="*/ 136054 w 3717519"/>
              <a:gd name="connsiteY5" fmla="*/ 0 h 319216"/>
              <a:gd name="connsiteX6" fmla="*/ 0 w 3717519"/>
              <a:gd name="connsiteY6" fmla="*/ 174410 h 319216"/>
              <a:gd name="connsiteX0" fmla="*/ 0 w 3717519"/>
              <a:gd name="connsiteY0" fmla="*/ 174410 h 319216"/>
              <a:gd name="connsiteX1" fmla="*/ 3565954 w 3717519"/>
              <a:gd name="connsiteY1" fmla="*/ 165657 h 319216"/>
              <a:gd name="connsiteX2" fmla="*/ 3585520 w 3717519"/>
              <a:gd name="connsiteY2" fmla="*/ 319216 h 319216"/>
              <a:gd name="connsiteX3" fmla="*/ 3717519 w 3717519"/>
              <a:gd name="connsiteY3" fmla="*/ 159737 h 319216"/>
              <a:gd name="connsiteX4" fmla="*/ 3634883 w 3717519"/>
              <a:gd name="connsiteY4" fmla="*/ 34496 h 319216"/>
              <a:gd name="connsiteX5" fmla="*/ 136054 w 3717519"/>
              <a:gd name="connsiteY5" fmla="*/ 0 h 319216"/>
              <a:gd name="connsiteX6" fmla="*/ 0 w 3717519"/>
              <a:gd name="connsiteY6" fmla="*/ 174410 h 319216"/>
              <a:gd name="connsiteX0" fmla="*/ 0 w 3717519"/>
              <a:gd name="connsiteY0" fmla="*/ 174410 h 319216"/>
              <a:gd name="connsiteX1" fmla="*/ 3565954 w 3717519"/>
              <a:gd name="connsiteY1" fmla="*/ 165657 h 319216"/>
              <a:gd name="connsiteX2" fmla="*/ 3585520 w 3717519"/>
              <a:gd name="connsiteY2" fmla="*/ 319216 h 319216"/>
              <a:gd name="connsiteX3" fmla="*/ 3717519 w 3717519"/>
              <a:gd name="connsiteY3" fmla="*/ 159737 h 319216"/>
              <a:gd name="connsiteX4" fmla="*/ 3629091 w 3717519"/>
              <a:gd name="connsiteY4" fmla="*/ 45115 h 319216"/>
              <a:gd name="connsiteX5" fmla="*/ 136054 w 3717519"/>
              <a:gd name="connsiteY5" fmla="*/ 0 h 319216"/>
              <a:gd name="connsiteX6" fmla="*/ 0 w 3717519"/>
              <a:gd name="connsiteY6" fmla="*/ 174410 h 319216"/>
              <a:gd name="connsiteX0" fmla="*/ 0 w 3717519"/>
              <a:gd name="connsiteY0" fmla="*/ 174410 h 319216"/>
              <a:gd name="connsiteX1" fmla="*/ 3565954 w 3717519"/>
              <a:gd name="connsiteY1" fmla="*/ 165657 h 319216"/>
              <a:gd name="connsiteX2" fmla="*/ 3585520 w 3717519"/>
              <a:gd name="connsiteY2" fmla="*/ 319216 h 319216"/>
              <a:gd name="connsiteX3" fmla="*/ 3717519 w 3717519"/>
              <a:gd name="connsiteY3" fmla="*/ 159737 h 319216"/>
              <a:gd name="connsiteX4" fmla="*/ 3629091 w 3717519"/>
              <a:gd name="connsiteY4" fmla="*/ 45115 h 319216"/>
              <a:gd name="connsiteX5" fmla="*/ 136054 w 3717519"/>
              <a:gd name="connsiteY5" fmla="*/ 0 h 319216"/>
              <a:gd name="connsiteX6" fmla="*/ 0 w 3717519"/>
              <a:gd name="connsiteY6" fmla="*/ 174410 h 319216"/>
              <a:gd name="connsiteX0" fmla="*/ 0 w 3717519"/>
              <a:gd name="connsiteY0" fmla="*/ 174410 h 319216"/>
              <a:gd name="connsiteX1" fmla="*/ 3565954 w 3717519"/>
              <a:gd name="connsiteY1" fmla="*/ 165657 h 319216"/>
              <a:gd name="connsiteX2" fmla="*/ 3585520 w 3717519"/>
              <a:gd name="connsiteY2" fmla="*/ 319216 h 319216"/>
              <a:gd name="connsiteX3" fmla="*/ 3717519 w 3717519"/>
              <a:gd name="connsiteY3" fmla="*/ 159737 h 319216"/>
              <a:gd name="connsiteX4" fmla="*/ 3629091 w 3717519"/>
              <a:gd name="connsiteY4" fmla="*/ 45115 h 319216"/>
              <a:gd name="connsiteX5" fmla="*/ 136054 w 3717519"/>
              <a:gd name="connsiteY5" fmla="*/ 0 h 319216"/>
              <a:gd name="connsiteX6" fmla="*/ 0 w 3717519"/>
              <a:gd name="connsiteY6" fmla="*/ 174410 h 319216"/>
              <a:gd name="connsiteX0" fmla="*/ 0 w 3718566"/>
              <a:gd name="connsiteY0" fmla="*/ 174410 h 319216"/>
              <a:gd name="connsiteX1" fmla="*/ 3565954 w 3718566"/>
              <a:gd name="connsiteY1" fmla="*/ 165657 h 319216"/>
              <a:gd name="connsiteX2" fmla="*/ 3585520 w 3718566"/>
              <a:gd name="connsiteY2" fmla="*/ 319216 h 319216"/>
              <a:gd name="connsiteX3" fmla="*/ 3717519 w 3718566"/>
              <a:gd name="connsiteY3" fmla="*/ 159737 h 319216"/>
              <a:gd name="connsiteX4" fmla="*/ 3629091 w 3718566"/>
              <a:gd name="connsiteY4" fmla="*/ 45115 h 319216"/>
              <a:gd name="connsiteX5" fmla="*/ 136054 w 3718566"/>
              <a:gd name="connsiteY5" fmla="*/ 0 h 319216"/>
              <a:gd name="connsiteX6" fmla="*/ 0 w 3718566"/>
              <a:gd name="connsiteY6" fmla="*/ 174410 h 319216"/>
              <a:gd name="connsiteX0" fmla="*/ 0 w 3702953"/>
              <a:gd name="connsiteY0" fmla="*/ 174410 h 319216"/>
              <a:gd name="connsiteX1" fmla="*/ 3565954 w 3702953"/>
              <a:gd name="connsiteY1" fmla="*/ 165657 h 319216"/>
              <a:gd name="connsiteX2" fmla="*/ 3585520 w 3702953"/>
              <a:gd name="connsiteY2" fmla="*/ 319216 h 319216"/>
              <a:gd name="connsiteX3" fmla="*/ 3701108 w 3702953"/>
              <a:gd name="connsiteY3" fmla="*/ 159737 h 319216"/>
              <a:gd name="connsiteX4" fmla="*/ 3629091 w 3702953"/>
              <a:gd name="connsiteY4" fmla="*/ 45115 h 319216"/>
              <a:gd name="connsiteX5" fmla="*/ 136054 w 3702953"/>
              <a:gd name="connsiteY5" fmla="*/ 0 h 319216"/>
              <a:gd name="connsiteX6" fmla="*/ 0 w 3702953"/>
              <a:gd name="connsiteY6" fmla="*/ 174410 h 319216"/>
              <a:gd name="connsiteX0" fmla="*/ 0 w 3703793"/>
              <a:gd name="connsiteY0" fmla="*/ 174410 h 319216"/>
              <a:gd name="connsiteX1" fmla="*/ 3565954 w 3703793"/>
              <a:gd name="connsiteY1" fmla="*/ 165657 h 319216"/>
              <a:gd name="connsiteX2" fmla="*/ 3585520 w 3703793"/>
              <a:gd name="connsiteY2" fmla="*/ 319216 h 319216"/>
              <a:gd name="connsiteX3" fmla="*/ 3701108 w 3703793"/>
              <a:gd name="connsiteY3" fmla="*/ 159737 h 319216"/>
              <a:gd name="connsiteX4" fmla="*/ 3632952 w 3703793"/>
              <a:gd name="connsiteY4" fmla="*/ 45115 h 319216"/>
              <a:gd name="connsiteX5" fmla="*/ 136054 w 3703793"/>
              <a:gd name="connsiteY5" fmla="*/ 0 h 319216"/>
              <a:gd name="connsiteX6" fmla="*/ 0 w 3703793"/>
              <a:gd name="connsiteY6" fmla="*/ 174410 h 319216"/>
              <a:gd name="connsiteX0" fmla="*/ 0 w 4171159"/>
              <a:gd name="connsiteY0" fmla="*/ 174410 h 319216"/>
              <a:gd name="connsiteX1" fmla="*/ 3565954 w 4171159"/>
              <a:gd name="connsiteY1" fmla="*/ 165657 h 319216"/>
              <a:gd name="connsiteX2" fmla="*/ 3585520 w 4171159"/>
              <a:gd name="connsiteY2" fmla="*/ 319216 h 319216"/>
              <a:gd name="connsiteX3" fmla="*/ 3701108 w 4171159"/>
              <a:gd name="connsiteY3" fmla="*/ 159737 h 319216"/>
              <a:gd name="connsiteX4" fmla="*/ 3632952 w 4171159"/>
              <a:gd name="connsiteY4" fmla="*/ 45115 h 319216"/>
              <a:gd name="connsiteX5" fmla="*/ 136054 w 4171159"/>
              <a:gd name="connsiteY5" fmla="*/ 0 h 319216"/>
              <a:gd name="connsiteX6" fmla="*/ 0 w 4171159"/>
              <a:gd name="connsiteY6" fmla="*/ 174410 h 319216"/>
              <a:gd name="connsiteX0" fmla="*/ 0 w 3704629"/>
              <a:gd name="connsiteY0" fmla="*/ 174410 h 319216"/>
              <a:gd name="connsiteX1" fmla="*/ 3565954 w 3704629"/>
              <a:gd name="connsiteY1" fmla="*/ 165657 h 319216"/>
              <a:gd name="connsiteX2" fmla="*/ 3585520 w 3704629"/>
              <a:gd name="connsiteY2" fmla="*/ 319216 h 319216"/>
              <a:gd name="connsiteX3" fmla="*/ 3701108 w 3704629"/>
              <a:gd name="connsiteY3" fmla="*/ 159737 h 319216"/>
              <a:gd name="connsiteX4" fmla="*/ 3632952 w 3704629"/>
              <a:gd name="connsiteY4" fmla="*/ 45115 h 319216"/>
              <a:gd name="connsiteX5" fmla="*/ 136054 w 3704629"/>
              <a:gd name="connsiteY5" fmla="*/ 0 h 319216"/>
              <a:gd name="connsiteX6" fmla="*/ 0 w 3704629"/>
              <a:gd name="connsiteY6" fmla="*/ 174410 h 319216"/>
              <a:gd name="connsiteX0" fmla="*/ 0 w 3701260"/>
              <a:gd name="connsiteY0" fmla="*/ 174410 h 319216"/>
              <a:gd name="connsiteX1" fmla="*/ 3565954 w 3701260"/>
              <a:gd name="connsiteY1" fmla="*/ 165657 h 319216"/>
              <a:gd name="connsiteX2" fmla="*/ 3585520 w 3701260"/>
              <a:gd name="connsiteY2" fmla="*/ 319216 h 319216"/>
              <a:gd name="connsiteX3" fmla="*/ 3701108 w 3701260"/>
              <a:gd name="connsiteY3" fmla="*/ 159737 h 319216"/>
              <a:gd name="connsiteX4" fmla="*/ 3600129 w 3701260"/>
              <a:gd name="connsiteY4" fmla="*/ 23876 h 319216"/>
              <a:gd name="connsiteX5" fmla="*/ 136054 w 3701260"/>
              <a:gd name="connsiteY5" fmla="*/ 0 h 319216"/>
              <a:gd name="connsiteX6" fmla="*/ 0 w 3701260"/>
              <a:gd name="connsiteY6" fmla="*/ 174410 h 319216"/>
              <a:gd name="connsiteX0" fmla="*/ 0 w 3701565"/>
              <a:gd name="connsiteY0" fmla="*/ 174410 h 319216"/>
              <a:gd name="connsiteX1" fmla="*/ 3565954 w 3701565"/>
              <a:gd name="connsiteY1" fmla="*/ 165657 h 319216"/>
              <a:gd name="connsiteX2" fmla="*/ 3585520 w 3701565"/>
              <a:gd name="connsiteY2" fmla="*/ 319216 h 319216"/>
              <a:gd name="connsiteX3" fmla="*/ 3701108 w 3701565"/>
              <a:gd name="connsiteY3" fmla="*/ 159737 h 319216"/>
              <a:gd name="connsiteX4" fmla="*/ 3573099 w 3701565"/>
              <a:gd name="connsiteY4" fmla="*/ 29668 h 319216"/>
              <a:gd name="connsiteX5" fmla="*/ 136054 w 3701565"/>
              <a:gd name="connsiteY5" fmla="*/ 0 h 319216"/>
              <a:gd name="connsiteX6" fmla="*/ 0 w 3701565"/>
              <a:gd name="connsiteY6" fmla="*/ 174410 h 319216"/>
              <a:gd name="connsiteX0" fmla="*/ 0 w 3702615"/>
              <a:gd name="connsiteY0" fmla="*/ 174410 h 319216"/>
              <a:gd name="connsiteX1" fmla="*/ 3565954 w 3702615"/>
              <a:gd name="connsiteY1" fmla="*/ 165657 h 319216"/>
              <a:gd name="connsiteX2" fmla="*/ 3585520 w 3702615"/>
              <a:gd name="connsiteY2" fmla="*/ 319216 h 319216"/>
              <a:gd name="connsiteX3" fmla="*/ 3701108 w 3702615"/>
              <a:gd name="connsiteY3" fmla="*/ 159737 h 319216"/>
              <a:gd name="connsiteX4" fmla="*/ 3552826 w 3702615"/>
              <a:gd name="connsiteY4" fmla="*/ 15187 h 319216"/>
              <a:gd name="connsiteX5" fmla="*/ 136054 w 3702615"/>
              <a:gd name="connsiteY5" fmla="*/ 0 h 319216"/>
              <a:gd name="connsiteX6" fmla="*/ 0 w 3702615"/>
              <a:gd name="connsiteY6" fmla="*/ 174410 h 319216"/>
              <a:gd name="connsiteX0" fmla="*/ 0 w 3702615"/>
              <a:gd name="connsiteY0" fmla="*/ 174410 h 319216"/>
              <a:gd name="connsiteX1" fmla="*/ 3565954 w 3702615"/>
              <a:gd name="connsiteY1" fmla="*/ 165657 h 319216"/>
              <a:gd name="connsiteX2" fmla="*/ 3585520 w 3702615"/>
              <a:gd name="connsiteY2" fmla="*/ 319216 h 319216"/>
              <a:gd name="connsiteX3" fmla="*/ 3701108 w 3702615"/>
              <a:gd name="connsiteY3" fmla="*/ 159737 h 319216"/>
              <a:gd name="connsiteX4" fmla="*/ 3552826 w 3702615"/>
              <a:gd name="connsiteY4" fmla="*/ 6499 h 319216"/>
              <a:gd name="connsiteX5" fmla="*/ 136054 w 3702615"/>
              <a:gd name="connsiteY5" fmla="*/ 0 h 319216"/>
              <a:gd name="connsiteX6" fmla="*/ 0 w 3702615"/>
              <a:gd name="connsiteY6" fmla="*/ 174410 h 319216"/>
              <a:gd name="connsiteX0" fmla="*/ 0 w 3743511"/>
              <a:gd name="connsiteY0" fmla="*/ 174410 h 319216"/>
              <a:gd name="connsiteX1" fmla="*/ 3565954 w 3743511"/>
              <a:gd name="connsiteY1" fmla="*/ 165657 h 319216"/>
              <a:gd name="connsiteX2" fmla="*/ 3585520 w 3743511"/>
              <a:gd name="connsiteY2" fmla="*/ 319216 h 319216"/>
              <a:gd name="connsiteX3" fmla="*/ 3701108 w 3743511"/>
              <a:gd name="connsiteY3" fmla="*/ 159737 h 319216"/>
              <a:gd name="connsiteX4" fmla="*/ 3705824 w 3743511"/>
              <a:gd name="connsiteY4" fmla="*/ 8992 h 319216"/>
              <a:gd name="connsiteX5" fmla="*/ 136054 w 3743511"/>
              <a:gd name="connsiteY5" fmla="*/ 0 h 319216"/>
              <a:gd name="connsiteX6" fmla="*/ 0 w 3743511"/>
              <a:gd name="connsiteY6" fmla="*/ 174410 h 319216"/>
              <a:gd name="connsiteX0" fmla="*/ 0 w 3994332"/>
              <a:gd name="connsiteY0" fmla="*/ 174615 h 319421"/>
              <a:gd name="connsiteX1" fmla="*/ 3565954 w 3994332"/>
              <a:gd name="connsiteY1" fmla="*/ 165862 h 319421"/>
              <a:gd name="connsiteX2" fmla="*/ 3585520 w 3994332"/>
              <a:gd name="connsiteY2" fmla="*/ 319421 h 319421"/>
              <a:gd name="connsiteX3" fmla="*/ 3760873 w 3994332"/>
              <a:gd name="connsiteY3" fmla="*/ 137507 h 319421"/>
              <a:gd name="connsiteX4" fmla="*/ 3705824 w 3994332"/>
              <a:gd name="connsiteY4" fmla="*/ 9197 h 319421"/>
              <a:gd name="connsiteX5" fmla="*/ 136054 w 3994332"/>
              <a:gd name="connsiteY5" fmla="*/ 205 h 319421"/>
              <a:gd name="connsiteX6" fmla="*/ 0 w 3994332"/>
              <a:gd name="connsiteY6" fmla="*/ 174615 h 319421"/>
              <a:gd name="connsiteX0" fmla="*/ 0 w 3994332"/>
              <a:gd name="connsiteY0" fmla="*/ 174615 h 319421"/>
              <a:gd name="connsiteX1" fmla="*/ 3565954 w 3994332"/>
              <a:gd name="connsiteY1" fmla="*/ 165862 h 319421"/>
              <a:gd name="connsiteX2" fmla="*/ 3585520 w 3994332"/>
              <a:gd name="connsiteY2" fmla="*/ 319421 h 319421"/>
              <a:gd name="connsiteX3" fmla="*/ 3760873 w 3994332"/>
              <a:gd name="connsiteY3" fmla="*/ 137507 h 319421"/>
              <a:gd name="connsiteX4" fmla="*/ 3705824 w 3994332"/>
              <a:gd name="connsiteY4" fmla="*/ 9197 h 319421"/>
              <a:gd name="connsiteX5" fmla="*/ 136054 w 3994332"/>
              <a:gd name="connsiteY5" fmla="*/ 205 h 319421"/>
              <a:gd name="connsiteX6" fmla="*/ 0 w 3994332"/>
              <a:gd name="connsiteY6" fmla="*/ 174615 h 319421"/>
              <a:gd name="connsiteX0" fmla="*/ 0 w 3994332"/>
              <a:gd name="connsiteY0" fmla="*/ 174615 h 319421"/>
              <a:gd name="connsiteX1" fmla="*/ 3565954 w 3994332"/>
              <a:gd name="connsiteY1" fmla="*/ 165862 h 319421"/>
              <a:gd name="connsiteX2" fmla="*/ 3585520 w 3994332"/>
              <a:gd name="connsiteY2" fmla="*/ 319421 h 319421"/>
              <a:gd name="connsiteX3" fmla="*/ 3760873 w 3994332"/>
              <a:gd name="connsiteY3" fmla="*/ 137507 h 319421"/>
              <a:gd name="connsiteX4" fmla="*/ 3705824 w 3994332"/>
              <a:gd name="connsiteY4" fmla="*/ 9197 h 319421"/>
              <a:gd name="connsiteX5" fmla="*/ 136054 w 3994332"/>
              <a:gd name="connsiteY5" fmla="*/ 205 h 319421"/>
              <a:gd name="connsiteX6" fmla="*/ 0 w 3994332"/>
              <a:gd name="connsiteY6" fmla="*/ 174615 h 319421"/>
              <a:gd name="connsiteX0" fmla="*/ 0 w 3768039"/>
              <a:gd name="connsiteY0" fmla="*/ 174615 h 319421"/>
              <a:gd name="connsiteX1" fmla="*/ 3565954 w 3768039"/>
              <a:gd name="connsiteY1" fmla="*/ 165862 h 319421"/>
              <a:gd name="connsiteX2" fmla="*/ 3585520 w 3768039"/>
              <a:gd name="connsiteY2" fmla="*/ 319421 h 319421"/>
              <a:gd name="connsiteX3" fmla="*/ 3760873 w 3768039"/>
              <a:gd name="connsiteY3" fmla="*/ 137507 h 319421"/>
              <a:gd name="connsiteX4" fmla="*/ 3705824 w 3768039"/>
              <a:gd name="connsiteY4" fmla="*/ 9197 h 319421"/>
              <a:gd name="connsiteX5" fmla="*/ 136054 w 3768039"/>
              <a:gd name="connsiteY5" fmla="*/ 205 h 319421"/>
              <a:gd name="connsiteX6" fmla="*/ 0 w 3768039"/>
              <a:gd name="connsiteY6" fmla="*/ 174615 h 319421"/>
              <a:gd name="connsiteX0" fmla="*/ 0 w 3766461"/>
              <a:gd name="connsiteY0" fmla="*/ 174615 h 319421"/>
              <a:gd name="connsiteX1" fmla="*/ 3565954 w 3766461"/>
              <a:gd name="connsiteY1" fmla="*/ 165862 h 319421"/>
              <a:gd name="connsiteX2" fmla="*/ 3585520 w 3766461"/>
              <a:gd name="connsiteY2" fmla="*/ 319421 h 319421"/>
              <a:gd name="connsiteX3" fmla="*/ 3760873 w 3766461"/>
              <a:gd name="connsiteY3" fmla="*/ 137507 h 319421"/>
              <a:gd name="connsiteX4" fmla="*/ 3705824 w 3766461"/>
              <a:gd name="connsiteY4" fmla="*/ 9197 h 319421"/>
              <a:gd name="connsiteX5" fmla="*/ 136054 w 3766461"/>
              <a:gd name="connsiteY5" fmla="*/ 205 h 319421"/>
              <a:gd name="connsiteX6" fmla="*/ 0 w 3766461"/>
              <a:gd name="connsiteY6" fmla="*/ 174615 h 319421"/>
              <a:gd name="connsiteX0" fmla="*/ 0 w 3742628"/>
              <a:gd name="connsiteY0" fmla="*/ 174615 h 319421"/>
              <a:gd name="connsiteX1" fmla="*/ 3565954 w 3742628"/>
              <a:gd name="connsiteY1" fmla="*/ 165862 h 319421"/>
              <a:gd name="connsiteX2" fmla="*/ 3585520 w 3742628"/>
              <a:gd name="connsiteY2" fmla="*/ 319421 h 319421"/>
              <a:gd name="connsiteX3" fmla="*/ 3732186 w 3742628"/>
              <a:gd name="connsiteY3" fmla="*/ 135014 h 319421"/>
              <a:gd name="connsiteX4" fmla="*/ 3705824 w 3742628"/>
              <a:gd name="connsiteY4" fmla="*/ 9197 h 319421"/>
              <a:gd name="connsiteX5" fmla="*/ 136054 w 3742628"/>
              <a:gd name="connsiteY5" fmla="*/ 205 h 319421"/>
              <a:gd name="connsiteX6" fmla="*/ 0 w 3742628"/>
              <a:gd name="connsiteY6" fmla="*/ 174615 h 319421"/>
              <a:gd name="connsiteX0" fmla="*/ 0 w 3766461"/>
              <a:gd name="connsiteY0" fmla="*/ 174615 h 319421"/>
              <a:gd name="connsiteX1" fmla="*/ 3565954 w 3766461"/>
              <a:gd name="connsiteY1" fmla="*/ 165862 h 319421"/>
              <a:gd name="connsiteX2" fmla="*/ 3585520 w 3766461"/>
              <a:gd name="connsiteY2" fmla="*/ 319421 h 319421"/>
              <a:gd name="connsiteX3" fmla="*/ 3760873 w 3766461"/>
              <a:gd name="connsiteY3" fmla="*/ 120056 h 319421"/>
              <a:gd name="connsiteX4" fmla="*/ 3705824 w 3766461"/>
              <a:gd name="connsiteY4" fmla="*/ 9197 h 319421"/>
              <a:gd name="connsiteX5" fmla="*/ 136054 w 3766461"/>
              <a:gd name="connsiteY5" fmla="*/ 205 h 319421"/>
              <a:gd name="connsiteX6" fmla="*/ 0 w 3766461"/>
              <a:gd name="connsiteY6" fmla="*/ 174615 h 319421"/>
              <a:gd name="connsiteX0" fmla="*/ 0 w 3766461"/>
              <a:gd name="connsiteY0" fmla="*/ 174615 h 319421"/>
              <a:gd name="connsiteX1" fmla="*/ 3565954 w 3766461"/>
              <a:gd name="connsiteY1" fmla="*/ 165862 h 319421"/>
              <a:gd name="connsiteX2" fmla="*/ 3585520 w 3766461"/>
              <a:gd name="connsiteY2" fmla="*/ 319421 h 319421"/>
              <a:gd name="connsiteX3" fmla="*/ 3760873 w 3766461"/>
              <a:gd name="connsiteY3" fmla="*/ 120056 h 319421"/>
              <a:gd name="connsiteX4" fmla="*/ 3705824 w 3766461"/>
              <a:gd name="connsiteY4" fmla="*/ 9197 h 319421"/>
              <a:gd name="connsiteX5" fmla="*/ 136054 w 3766461"/>
              <a:gd name="connsiteY5" fmla="*/ 205 h 319421"/>
              <a:gd name="connsiteX6" fmla="*/ 0 w 3766461"/>
              <a:gd name="connsiteY6" fmla="*/ 174615 h 319421"/>
              <a:gd name="connsiteX0" fmla="*/ 0 w 3766461"/>
              <a:gd name="connsiteY0" fmla="*/ 174615 h 319421"/>
              <a:gd name="connsiteX1" fmla="*/ 3565954 w 3766461"/>
              <a:gd name="connsiteY1" fmla="*/ 165862 h 319421"/>
              <a:gd name="connsiteX2" fmla="*/ 3585520 w 3766461"/>
              <a:gd name="connsiteY2" fmla="*/ 319421 h 319421"/>
              <a:gd name="connsiteX3" fmla="*/ 3760873 w 3766461"/>
              <a:gd name="connsiteY3" fmla="*/ 120056 h 319421"/>
              <a:gd name="connsiteX4" fmla="*/ 3705824 w 3766461"/>
              <a:gd name="connsiteY4" fmla="*/ 9197 h 319421"/>
              <a:gd name="connsiteX5" fmla="*/ 136054 w 3766461"/>
              <a:gd name="connsiteY5" fmla="*/ 205 h 319421"/>
              <a:gd name="connsiteX6" fmla="*/ 0 w 3766461"/>
              <a:gd name="connsiteY6" fmla="*/ 174615 h 319421"/>
              <a:gd name="connsiteX0" fmla="*/ 0 w 3766461"/>
              <a:gd name="connsiteY0" fmla="*/ 174615 h 319421"/>
              <a:gd name="connsiteX1" fmla="*/ 3565954 w 3766461"/>
              <a:gd name="connsiteY1" fmla="*/ 165862 h 319421"/>
              <a:gd name="connsiteX2" fmla="*/ 3585520 w 3766461"/>
              <a:gd name="connsiteY2" fmla="*/ 319421 h 319421"/>
              <a:gd name="connsiteX3" fmla="*/ 3760873 w 3766461"/>
              <a:gd name="connsiteY3" fmla="*/ 120056 h 319421"/>
              <a:gd name="connsiteX4" fmla="*/ 3705824 w 3766461"/>
              <a:gd name="connsiteY4" fmla="*/ 9197 h 319421"/>
              <a:gd name="connsiteX5" fmla="*/ 136054 w 3766461"/>
              <a:gd name="connsiteY5" fmla="*/ 205 h 319421"/>
              <a:gd name="connsiteX6" fmla="*/ 0 w 3766461"/>
              <a:gd name="connsiteY6" fmla="*/ 174615 h 319421"/>
              <a:gd name="connsiteX0" fmla="*/ 0 w 3766461"/>
              <a:gd name="connsiteY0" fmla="*/ 174615 h 319421"/>
              <a:gd name="connsiteX1" fmla="*/ 3565954 w 3766461"/>
              <a:gd name="connsiteY1" fmla="*/ 165862 h 319421"/>
              <a:gd name="connsiteX2" fmla="*/ 3585520 w 3766461"/>
              <a:gd name="connsiteY2" fmla="*/ 319421 h 319421"/>
              <a:gd name="connsiteX3" fmla="*/ 3760873 w 3766461"/>
              <a:gd name="connsiteY3" fmla="*/ 120056 h 319421"/>
              <a:gd name="connsiteX4" fmla="*/ 3705824 w 3766461"/>
              <a:gd name="connsiteY4" fmla="*/ 9197 h 319421"/>
              <a:gd name="connsiteX5" fmla="*/ 136054 w 3766461"/>
              <a:gd name="connsiteY5" fmla="*/ 205 h 319421"/>
              <a:gd name="connsiteX6" fmla="*/ 0 w 3766461"/>
              <a:gd name="connsiteY6" fmla="*/ 174615 h 319421"/>
              <a:gd name="connsiteX0" fmla="*/ 0 w 3766461"/>
              <a:gd name="connsiteY0" fmla="*/ 174615 h 319421"/>
              <a:gd name="connsiteX1" fmla="*/ 3565954 w 3766461"/>
              <a:gd name="connsiteY1" fmla="*/ 165862 h 319421"/>
              <a:gd name="connsiteX2" fmla="*/ 3585520 w 3766461"/>
              <a:gd name="connsiteY2" fmla="*/ 319421 h 319421"/>
              <a:gd name="connsiteX3" fmla="*/ 3760873 w 3766461"/>
              <a:gd name="connsiteY3" fmla="*/ 120056 h 319421"/>
              <a:gd name="connsiteX4" fmla="*/ 3705824 w 3766461"/>
              <a:gd name="connsiteY4" fmla="*/ 9197 h 319421"/>
              <a:gd name="connsiteX5" fmla="*/ 136054 w 3766461"/>
              <a:gd name="connsiteY5" fmla="*/ 205 h 319421"/>
              <a:gd name="connsiteX6" fmla="*/ 0 w 3766461"/>
              <a:gd name="connsiteY6" fmla="*/ 174615 h 319421"/>
              <a:gd name="connsiteX0" fmla="*/ 0 w 3766461"/>
              <a:gd name="connsiteY0" fmla="*/ 174615 h 319421"/>
              <a:gd name="connsiteX1" fmla="*/ 3565954 w 3766461"/>
              <a:gd name="connsiteY1" fmla="*/ 165862 h 319421"/>
              <a:gd name="connsiteX2" fmla="*/ 3585520 w 3766461"/>
              <a:gd name="connsiteY2" fmla="*/ 319421 h 319421"/>
              <a:gd name="connsiteX3" fmla="*/ 3760873 w 3766461"/>
              <a:gd name="connsiteY3" fmla="*/ 120056 h 319421"/>
              <a:gd name="connsiteX4" fmla="*/ 3705824 w 3766461"/>
              <a:gd name="connsiteY4" fmla="*/ 9197 h 319421"/>
              <a:gd name="connsiteX5" fmla="*/ 136054 w 3766461"/>
              <a:gd name="connsiteY5" fmla="*/ 205 h 319421"/>
              <a:gd name="connsiteX6" fmla="*/ 0 w 3766461"/>
              <a:gd name="connsiteY6" fmla="*/ 174615 h 319421"/>
              <a:gd name="connsiteX0" fmla="*/ 0 w 3766461"/>
              <a:gd name="connsiteY0" fmla="*/ 174615 h 311942"/>
              <a:gd name="connsiteX1" fmla="*/ 3565954 w 3766461"/>
              <a:gd name="connsiteY1" fmla="*/ 165862 h 311942"/>
              <a:gd name="connsiteX2" fmla="*/ 3590301 w 3766461"/>
              <a:gd name="connsiteY2" fmla="*/ 311942 h 311942"/>
              <a:gd name="connsiteX3" fmla="*/ 3760873 w 3766461"/>
              <a:gd name="connsiteY3" fmla="*/ 120056 h 311942"/>
              <a:gd name="connsiteX4" fmla="*/ 3705824 w 3766461"/>
              <a:gd name="connsiteY4" fmla="*/ 9197 h 311942"/>
              <a:gd name="connsiteX5" fmla="*/ 136054 w 3766461"/>
              <a:gd name="connsiteY5" fmla="*/ 205 h 311942"/>
              <a:gd name="connsiteX6" fmla="*/ 0 w 3766461"/>
              <a:gd name="connsiteY6" fmla="*/ 174615 h 311942"/>
              <a:gd name="connsiteX0" fmla="*/ 0 w 3766461"/>
              <a:gd name="connsiteY0" fmla="*/ 174615 h 311942"/>
              <a:gd name="connsiteX1" fmla="*/ 3565954 w 3766461"/>
              <a:gd name="connsiteY1" fmla="*/ 165862 h 311942"/>
              <a:gd name="connsiteX2" fmla="*/ 3590301 w 3766461"/>
              <a:gd name="connsiteY2" fmla="*/ 311942 h 311942"/>
              <a:gd name="connsiteX3" fmla="*/ 3760873 w 3766461"/>
              <a:gd name="connsiteY3" fmla="*/ 120056 h 311942"/>
              <a:gd name="connsiteX4" fmla="*/ 3705824 w 3766461"/>
              <a:gd name="connsiteY4" fmla="*/ 9197 h 311942"/>
              <a:gd name="connsiteX5" fmla="*/ 136054 w 3766461"/>
              <a:gd name="connsiteY5" fmla="*/ 205 h 311942"/>
              <a:gd name="connsiteX6" fmla="*/ 0 w 3766461"/>
              <a:gd name="connsiteY6" fmla="*/ 174615 h 311942"/>
              <a:gd name="connsiteX0" fmla="*/ 0 w 3766461"/>
              <a:gd name="connsiteY0" fmla="*/ 174615 h 314436"/>
              <a:gd name="connsiteX1" fmla="*/ 3565954 w 3766461"/>
              <a:gd name="connsiteY1" fmla="*/ 165862 h 314436"/>
              <a:gd name="connsiteX2" fmla="*/ 3599863 w 3766461"/>
              <a:gd name="connsiteY2" fmla="*/ 314436 h 314436"/>
              <a:gd name="connsiteX3" fmla="*/ 3760873 w 3766461"/>
              <a:gd name="connsiteY3" fmla="*/ 120056 h 314436"/>
              <a:gd name="connsiteX4" fmla="*/ 3705824 w 3766461"/>
              <a:gd name="connsiteY4" fmla="*/ 9197 h 314436"/>
              <a:gd name="connsiteX5" fmla="*/ 136054 w 3766461"/>
              <a:gd name="connsiteY5" fmla="*/ 205 h 314436"/>
              <a:gd name="connsiteX6" fmla="*/ 0 w 3766461"/>
              <a:gd name="connsiteY6" fmla="*/ 174615 h 31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6461" h="314436">
                <a:moveTo>
                  <a:pt x="0" y="174615"/>
                </a:moveTo>
                <a:lnTo>
                  <a:pt x="3565954" y="165862"/>
                </a:lnTo>
                <a:cubicBezTo>
                  <a:pt x="3652923" y="202246"/>
                  <a:pt x="3590123" y="264537"/>
                  <a:pt x="3599863" y="314436"/>
                </a:cubicBezTo>
                <a:cubicBezTo>
                  <a:pt x="3676912" y="263940"/>
                  <a:pt x="3714526" y="174253"/>
                  <a:pt x="3760873" y="120056"/>
                </a:cubicBezTo>
                <a:cubicBezTo>
                  <a:pt x="3780924" y="68352"/>
                  <a:pt x="3743393" y="22108"/>
                  <a:pt x="3705824" y="9197"/>
                </a:cubicBezTo>
                <a:cubicBezTo>
                  <a:pt x="3101688" y="-13687"/>
                  <a:pt x="1301687" y="15243"/>
                  <a:pt x="136054" y="205"/>
                </a:cubicBezTo>
                <a:lnTo>
                  <a:pt x="0" y="174615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EE039BA-4D1B-4157-888E-7258BC340F01}"/>
              </a:ext>
            </a:extLst>
          </p:cNvPr>
          <p:cNvSpPr/>
          <p:nvPr/>
        </p:nvSpPr>
        <p:spPr bwMode="auto">
          <a:xfrm>
            <a:off x="0" y="6613886"/>
            <a:ext cx="9574654" cy="266748"/>
          </a:xfrm>
          <a:custGeom>
            <a:avLst/>
            <a:gdLst>
              <a:gd name="connsiteX0" fmla="*/ 0 w 3586163"/>
              <a:gd name="connsiteY0" fmla="*/ 9525 h 176213"/>
              <a:gd name="connsiteX1" fmla="*/ 3567113 w 3586163"/>
              <a:gd name="connsiteY1" fmla="*/ 0 h 176213"/>
              <a:gd name="connsiteX2" fmla="*/ 3586163 w 3586163"/>
              <a:gd name="connsiteY2" fmla="*/ 166688 h 176213"/>
              <a:gd name="connsiteX3" fmla="*/ 0 w 3586163"/>
              <a:gd name="connsiteY3" fmla="*/ 176213 h 176213"/>
              <a:gd name="connsiteX4" fmla="*/ 0 w 3586163"/>
              <a:gd name="connsiteY4" fmla="*/ 9525 h 176213"/>
              <a:gd name="connsiteX0" fmla="*/ 0 w 3593915"/>
              <a:gd name="connsiteY0" fmla="*/ 9525 h 176213"/>
              <a:gd name="connsiteX1" fmla="*/ 3567113 w 3593915"/>
              <a:gd name="connsiteY1" fmla="*/ 0 h 176213"/>
              <a:gd name="connsiteX2" fmla="*/ 3586163 w 3593915"/>
              <a:gd name="connsiteY2" fmla="*/ 166688 h 176213"/>
              <a:gd name="connsiteX3" fmla="*/ 0 w 3593915"/>
              <a:gd name="connsiteY3" fmla="*/ 176213 h 176213"/>
              <a:gd name="connsiteX4" fmla="*/ 0 w 3593915"/>
              <a:gd name="connsiteY4" fmla="*/ 9525 h 176213"/>
              <a:gd name="connsiteX0" fmla="*/ 0 w 3611395"/>
              <a:gd name="connsiteY0" fmla="*/ 9525 h 176213"/>
              <a:gd name="connsiteX1" fmla="*/ 3567113 w 3611395"/>
              <a:gd name="connsiteY1" fmla="*/ 0 h 176213"/>
              <a:gd name="connsiteX2" fmla="*/ 3586163 w 3611395"/>
              <a:gd name="connsiteY2" fmla="*/ 166688 h 176213"/>
              <a:gd name="connsiteX3" fmla="*/ 0 w 3611395"/>
              <a:gd name="connsiteY3" fmla="*/ 176213 h 176213"/>
              <a:gd name="connsiteX4" fmla="*/ 0 w 3611395"/>
              <a:gd name="connsiteY4" fmla="*/ 9525 h 176213"/>
              <a:gd name="connsiteX0" fmla="*/ 0 w 3612001"/>
              <a:gd name="connsiteY0" fmla="*/ 9525 h 176213"/>
              <a:gd name="connsiteX1" fmla="*/ 3567113 w 3612001"/>
              <a:gd name="connsiteY1" fmla="*/ 0 h 176213"/>
              <a:gd name="connsiteX2" fmla="*/ 3586163 w 3612001"/>
              <a:gd name="connsiteY2" fmla="*/ 166688 h 176213"/>
              <a:gd name="connsiteX3" fmla="*/ 0 w 3612001"/>
              <a:gd name="connsiteY3" fmla="*/ 176213 h 176213"/>
              <a:gd name="connsiteX4" fmla="*/ 0 w 3612001"/>
              <a:gd name="connsiteY4" fmla="*/ 9525 h 176213"/>
              <a:gd name="connsiteX0" fmla="*/ 0 w 3614436"/>
              <a:gd name="connsiteY0" fmla="*/ 9525 h 176213"/>
              <a:gd name="connsiteX1" fmla="*/ 3567113 w 3614436"/>
              <a:gd name="connsiteY1" fmla="*/ 0 h 176213"/>
              <a:gd name="connsiteX2" fmla="*/ 3586163 w 3614436"/>
              <a:gd name="connsiteY2" fmla="*/ 166688 h 176213"/>
              <a:gd name="connsiteX3" fmla="*/ 0 w 3614436"/>
              <a:gd name="connsiteY3" fmla="*/ 176213 h 176213"/>
              <a:gd name="connsiteX4" fmla="*/ 0 w 3614436"/>
              <a:gd name="connsiteY4" fmla="*/ 9525 h 176213"/>
              <a:gd name="connsiteX0" fmla="*/ 0 w 3615036"/>
              <a:gd name="connsiteY0" fmla="*/ 9525 h 176213"/>
              <a:gd name="connsiteX1" fmla="*/ 3567113 w 3615036"/>
              <a:gd name="connsiteY1" fmla="*/ 0 h 176213"/>
              <a:gd name="connsiteX2" fmla="*/ 3586163 w 3615036"/>
              <a:gd name="connsiteY2" fmla="*/ 166688 h 176213"/>
              <a:gd name="connsiteX3" fmla="*/ 0 w 3615036"/>
              <a:gd name="connsiteY3" fmla="*/ 176213 h 176213"/>
              <a:gd name="connsiteX4" fmla="*/ 0 w 3615036"/>
              <a:gd name="connsiteY4" fmla="*/ 9525 h 176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5036" h="176213">
                <a:moveTo>
                  <a:pt x="0" y="9525"/>
                </a:moveTo>
                <a:lnTo>
                  <a:pt x="3567113" y="0"/>
                </a:lnTo>
                <a:cubicBezTo>
                  <a:pt x="3621671" y="28697"/>
                  <a:pt x="3631879" y="121457"/>
                  <a:pt x="3586163" y="166688"/>
                </a:cubicBezTo>
                <a:lnTo>
                  <a:pt x="0" y="176213"/>
                </a:lnTo>
                <a:lnTo>
                  <a:pt x="0" y="9525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B4CBA89-07A1-4113-922E-0E9488786AB1}"/>
              </a:ext>
            </a:extLst>
          </p:cNvPr>
          <p:cNvSpPr/>
          <p:nvPr/>
        </p:nvSpPr>
        <p:spPr bwMode="auto">
          <a:xfrm>
            <a:off x="1830995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2586D860-2BDD-4548-BD92-651813E57EEB}"/>
              </a:ext>
            </a:extLst>
          </p:cNvPr>
          <p:cNvSpPr/>
          <p:nvPr/>
        </p:nvSpPr>
        <p:spPr bwMode="auto">
          <a:xfrm>
            <a:off x="2249501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7BABAE6-5798-46B9-BBAE-59EDA251A3E3}"/>
              </a:ext>
            </a:extLst>
          </p:cNvPr>
          <p:cNvSpPr/>
          <p:nvPr/>
        </p:nvSpPr>
        <p:spPr bwMode="auto">
          <a:xfrm>
            <a:off x="5179044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A09E207-0947-4016-8B7D-D52332C3296A}"/>
              </a:ext>
            </a:extLst>
          </p:cNvPr>
          <p:cNvSpPr/>
          <p:nvPr/>
        </p:nvSpPr>
        <p:spPr bwMode="auto">
          <a:xfrm>
            <a:off x="6016056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8B22998-EC4D-40CC-B601-D51EAE642DAC}"/>
              </a:ext>
            </a:extLst>
          </p:cNvPr>
          <p:cNvSpPr/>
          <p:nvPr/>
        </p:nvSpPr>
        <p:spPr bwMode="auto">
          <a:xfrm>
            <a:off x="6434562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3F8639AD-CC39-4A7B-9FBF-E0A837EB4077}"/>
              </a:ext>
            </a:extLst>
          </p:cNvPr>
          <p:cNvSpPr/>
          <p:nvPr/>
        </p:nvSpPr>
        <p:spPr bwMode="auto">
          <a:xfrm>
            <a:off x="6853068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40DBB7B-5A35-4CD9-B715-8DE37C11F0EC}"/>
              </a:ext>
            </a:extLst>
          </p:cNvPr>
          <p:cNvSpPr/>
          <p:nvPr/>
        </p:nvSpPr>
        <p:spPr bwMode="auto">
          <a:xfrm>
            <a:off x="7271575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FC7AD04-B1EA-4B45-9922-5D5EBCD69790}"/>
              </a:ext>
            </a:extLst>
          </p:cNvPr>
          <p:cNvSpPr/>
          <p:nvPr/>
        </p:nvSpPr>
        <p:spPr bwMode="auto">
          <a:xfrm>
            <a:off x="7690081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A04F5F-C5C5-4F16-AE66-F730CF414B7D}"/>
              </a:ext>
            </a:extLst>
          </p:cNvPr>
          <p:cNvSpPr/>
          <p:nvPr/>
        </p:nvSpPr>
        <p:spPr bwMode="auto">
          <a:xfrm>
            <a:off x="8108587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4DC4D040-33EB-4F16-B121-CE9BEF7ED73A}"/>
              </a:ext>
            </a:extLst>
          </p:cNvPr>
          <p:cNvSpPr/>
          <p:nvPr/>
        </p:nvSpPr>
        <p:spPr bwMode="auto">
          <a:xfrm>
            <a:off x="8527093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3F47484A-D43C-440A-8B58-9B9A46A71BF7}"/>
              </a:ext>
            </a:extLst>
          </p:cNvPr>
          <p:cNvSpPr/>
          <p:nvPr/>
        </p:nvSpPr>
        <p:spPr bwMode="auto">
          <a:xfrm>
            <a:off x="8945599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529B74E-BDB8-441D-AB27-F0FDE4FAF46C}"/>
              </a:ext>
            </a:extLst>
          </p:cNvPr>
          <p:cNvSpPr/>
          <p:nvPr/>
        </p:nvSpPr>
        <p:spPr bwMode="auto">
          <a:xfrm>
            <a:off x="4760538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7D082C6-7941-4B53-8359-A3A0119DD83D}"/>
              </a:ext>
            </a:extLst>
          </p:cNvPr>
          <p:cNvSpPr/>
          <p:nvPr/>
        </p:nvSpPr>
        <p:spPr bwMode="auto">
          <a:xfrm>
            <a:off x="4342032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D7CF4D-C488-46E8-A351-A9D922B929BD}"/>
              </a:ext>
            </a:extLst>
          </p:cNvPr>
          <p:cNvSpPr/>
          <p:nvPr/>
        </p:nvSpPr>
        <p:spPr bwMode="auto">
          <a:xfrm>
            <a:off x="3923526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8882CB00-2D6E-46B8-B021-BD25A76DB41C}"/>
              </a:ext>
            </a:extLst>
          </p:cNvPr>
          <p:cNvSpPr/>
          <p:nvPr/>
        </p:nvSpPr>
        <p:spPr bwMode="auto">
          <a:xfrm>
            <a:off x="3505019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BB968E2-BF14-4A86-89BF-5ABD343D3DE6}"/>
              </a:ext>
            </a:extLst>
          </p:cNvPr>
          <p:cNvSpPr/>
          <p:nvPr/>
        </p:nvSpPr>
        <p:spPr bwMode="auto">
          <a:xfrm>
            <a:off x="3086513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A4FD9FB9-1EE8-4C92-8B56-86D06645C03E}"/>
              </a:ext>
            </a:extLst>
          </p:cNvPr>
          <p:cNvSpPr/>
          <p:nvPr/>
        </p:nvSpPr>
        <p:spPr bwMode="auto">
          <a:xfrm>
            <a:off x="2668007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AFB1D8D2-8DC6-4FAA-9F12-A502CD8A391B}"/>
              </a:ext>
            </a:extLst>
          </p:cNvPr>
          <p:cNvSpPr/>
          <p:nvPr/>
        </p:nvSpPr>
        <p:spPr bwMode="auto">
          <a:xfrm>
            <a:off x="5597551" y="6278757"/>
            <a:ext cx="272460" cy="352780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  <a:gd name="connsiteX0" fmla="*/ 0 w 306038"/>
              <a:gd name="connsiteY0" fmla="*/ 406114 h 406114"/>
              <a:gd name="connsiteX1" fmla="*/ 306038 w 306038"/>
              <a:gd name="connsiteY1" fmla="*/ 0 h 406114"/>
              <a:gd name="connsiteX0" fmla="*/ 0 w 300781"/>
              <a:gd name="connsiteY0" fmla="*/ 406114 h 406114"/>
              <a:gd name="connsiteX1" fmla="*/ 300781 w 300781"/>
              <a:gd name="connsiteY1" fmla="*/ 0 h 406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0781" h="406114">
                <a:moveTo>
                  <a:pt x="0" y="406114"/>
                </a:moveTo>
                <a:lnTo>
                  <a:pt x="300781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BA93EF0-0951-4B1D-AABE-482CC934B2C3}"/>
              </a:ext>
            </a:extLst>
          </p:cNvPr>
          <p:cNvSpPr/>
          <p:nvPr/>
        </p:nvSpPr>
        <p:spPr bwMode="auto">
          <a:xfrm>
            <a:off x="9362239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E169437-4BC4-4D86-9E2A-75AFEC0F0ADB}"/>
              </a:ext>
            </a:extLst>
          </p:cNvPr>
          <p:cNvSpPr/>
          <p:nvPr/>
        </p:nvSpPr>
        <p:spPr bwMode="auto">
          <a:xfrm>
            <a:off x="9563997" y="6322437"/>
            <a:ext cx="303733" cy="383492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  <a:gd name="connsiteX0" fmla="*/ 0 w 275216"/>
              <a:gd name="connsiteY0" fmla="*/ 386723 h 386723"/>
              <a:gd name="connsiteX1" fmla="*/ 275216 w 275216"/>
              <a:gd name="connsiteY1" fmla="*/ 0 h 386723"/>
              <a:gd name="connsiteX0" fmla="*/ 0 w 281845"/>
              <a:gd name="connsiteY0" fmla="*/ 370615 h 370615"/>
              <a:gd name="connsiteX1" fmla="*/ 281845 w 281845"/>
              <a:gd name="connsiteY1" fmla="*/ 0 h 37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81845" h="370615">
                <a:moveTo>
                  <a:pt x="0" y="370615"/>
                </a:moveTo>
                <a:lnTo>
                  <a:pt x="281845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5" name="Arrow: Notched Right 84">
            <a:extLst>
              <a:ext uri="{FF2B5EF4-FFF2-40B4-BE49-F238E27FC236}">
                <a16:creationId xmlns:a16="http://schemas.microsoft.com/office/drawing/2014/main" id="{4689F4FC-2570-430E-AD65-FB5C97C10603}"/>
              </a:ext>
            </a:extLst>
          </p:cNvPr>
          <p:cNvSpPr/>
          <p:nvPr/>
        </p:nvSpPr>
        <p:spPr bwMode="auto">
          <a:xfrm>
            <a:off x="417513" y="3465447"/>
            <a:ext cx="9072562" cy="381000"/>
          </a:xfrm>
          <a:prstGeom prst="notchedRightArrow">
            <a:avLst>
              <a:gd name="adj1" fmla="val 100000"/>
              <a:gd name="adj2" fmla="val 74576"/>
            </a:avLst>
          </a:prstGeom>
          <a:solidFill>
            <a:schemeClr val="tx1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86" name="Arrow: Notched Right 85">
            <a:extLst>
              <a:ext uri="{FF2B5EF4-FFF2-40B4-BE49-F238E27FC236}">
                <a16:creationId xmlns:a16="http://schemas.microsoft.com/office/drawing/2014/main" id="{804ADB5A-EFDF-47C1-8A35-71D9C65E29CE}"/>
              </a:ext>
            </a:extLst>
          </p:cNvPr>
          <p:cNvSpPr/>
          <p:nvPr/>
        </p:nvSpPr>
        <p:spPr bwMode="auto">
          <a:xfrm>
            <a:off x="3228182" y="3455922"/>
            <a:ext cx="287337" cy="381000"/>
          </a:xfrm>
          <a:prstGeom prst="notchedRightArrow">
            <a:avLst>
              <a:gd name="adj1" fmla="val 100000"/>
              <a:gd name="adj2" fmla="val 74576"/>
            </a:avLst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87" name="Arrow: Notched Right 86">
            <a:extLst>
              <a:ext uri="{FF2B5EF4-FFF2-40B4-BE49-F238E27FC236}">
                <a16:creationId xmlns:a16="http://schemas.microsoft.com/office/drawing/2014/main" id="{5695DB73-74B9-43C0-A9F4-E809F3B654AF}"/>
              </a:ext>
            </a:extLst>
          </p:cNvPr>
          <p:cNvSpPr/>
          <p:nvPr/>
        </p:nvSpPr>
        <p:spPr bwMode="auto">
          <a:xfrm>
            <a:off x="6390482" y="3455922"/>
            <a:ext cx="287337" cy="381000"/>
          </a:xfrm>
          <a:prstGeom prst="notchedRightArrow">
            <a:avLst>
              <a:gd name="adj1" fmla="val 100000"/>
              <a:gd name="adj2" fmla="val 74576"/>
            </a:avLst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pic>
        <p:nvPicPr>
          <p:cNvPr id="89" name="Graphic 88">
            <a:extLst>
              <a:ext uri="{FF2B5EF4-FFF2-40B4-BE49-F238E27FC236}">
                <a16:creationId xmlns:a16="http://schemas.microsoft.com/office/drawing/2014/main" id="{84C5B1F2-85AD-474A-AC70-6D263153B7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28352" y="3531686"/>
            <a:ext cx="210422" cy="210422"/>
          </a:xfrm>
          <a:prstGeom prst="rect">
            <a:avLst/>
          </a:prstGeom>
          <a:effectLst/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89F37582-D86A-4D4C-AAC0-EDB236C9FE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4732" y="3568742"/>
            <a:ext cx="205236" cy="205236"/>
          </a:xfrm>
          <a:prstGeom prst="rect">
            <a:avLst/>
          </a:prstGeom>
          <a:effectLst/>
        </p:spPr>
      </p:pic>
      <p:pic>
        <p:nvPicPr>
          <p:cNvPr id="93" name="Graphic 92">
            <a:extLst>
              <a:ext uri="{FF2B5EF4-FFF2-40B4-BE49-F238E27FC236}">
                <a16:creationId xmlns:a16="http://schemas.microsoft.com/office/drawing/2014/main" id="{A12252C9-68FA-4ADE-A9D6-24B084C94D6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44087" y="3535793"/>
            <a:ext cx="230784" cy="230784"/>
          </a:xfrm>
          <a:prstGeom prst="rect">
            <a:avLst/>
          </a:prstGeom>
          <a:effectLst/>
        </p:spPr>
      </p:pic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D62856D9-800B-430E-BFB3-7070B3C3E5C0}"/>
              </a:ext>
            </a:extLst>
          </p:cNvPr>
          <p:cNvSpPr/>
          <p:nvPr/>
        </p:nvSpPr>
        <p:spPr bwMode="auto">
          <a:xfrm>
            <a:off x="1" y="6631360"/>
            <a:ext cx="9570080" cy="306228"/>
          </a:xfrm>
          <a:custGeom>
            <a:avLst/>
            <a:gdLst>
              <a:gd name="connsiteX0" fmla="*/ 0 w 8031480"/>
              <a:gd name="connsiteY0" fmla="*/ 0 h 327660"/>
              <a:gd name="connsiteX1" fmla="*/ 8001000 w 8031480"/>
              <a:gd name="connsiteY1" fmla="*/ 0 h 327660"/>
              <a:gd name="connsiteX2" fmla="*/ 8031480 w 8031480"/>
              <a:gd name="connsiteY2" fmla="*/ 327660 h 327660"/>
              <a:gd name="connsiteX0" fmla="*/ 0 w 8073126"/>
              <a:gd name="connsiteY0" fmla="*/ 0 h 327660"/>
              <a:gd name="connsiteX1" fmla="*/ 8001000 w 8073126"/>
              <a:gd name="connsiteY1" fmla="*/ 0 h 327660"/>
              <a:gd name="connsiteX2" fmla="*/ 8031480 w 8073126"/>
              <a:gd name="connsiteY2" fmla="*/ 327660 h 327660"/>
              <a:gd name="connsiteX0" fmla="*/ 0 w 8094285"/>
              <a:gd name="connsiteY0" fmla="*/ 0 h 327660"/>
              <a:gd name="connsiteX1" fmla="*/ 8001000 w 8094285"/>
              <a:gd name="connsiteY1" fmla="*/ 0 h 327660"/>
              <a:gd name="connsiteX2" fmla="*/ 8031480 w 8094285"/>
              <a:gd name="connsiteY2" fmla="*/ 327660 h 327660"/>
              <a:gd name="connsiteX0" fmla="*/ 0 w 8094285"/>
              <a:gd name="connsiteY0" fmla="*/ 0 h 318135"/>
              <a:gd name="connsiteX1" fmla="*/ 8001000 w 8094285"/>
              <a:gd name="connsiteY1" fmla="*/ 0 h 318135"/>
              <a:gd name="connsiteX2" fmla="*/ 8031480 w 8094285"/>
              <a:gd name="connsiteY2" fmla="*/ 318135 h 318135"/>
              <a:gd name="connsiteX0" fmla="*/ 0 w 8091823"/>
              <a:gd name="connsiteY0" fmla="*/ 0 h 318135"/>
              <a:gd name="connsiteX1" fmla="*/ 8001000 w 8091823"/>
              <a:gd name="connsiteY1" fmla="*/ 0 h 318135"/>
              <a:gd name="connsiteX2" fmla="*/ 8031480 w 8091823"/>
              <a:gd name="connsiteY2" fmla="*/ 318135 h 318135"/>
              <a:gd name="connsiteX0" fmla="*/ 0 w 8084244"/>
              <a:gd name="connsiteY0" fmla="*/ 0 h 318135"/>
              <a:gd name="connsiteX1" fmla="*/ 8001000 w 8084244"/>
              <a:gd name="connsiteY1" fmla="*/ 0 h 318135"/>
              <a:gd name="connsiteX2" fmla="*/ 8031480 w 8084244"/>
              <a:gd name="connsiteY2" fmla="*/ 318135 h 318135"/>
              <a:gd name="connsiteX0" fmla="*/ 0 w 8073302"/>
              <a:gd name="connsiteY0" fmla="*/ 0 h 313372"/>
              <a:gd name="connsiteX1" fmla="*/ 8001000 w 8073302"/>
              <a:gd name="connsiteY1" fmla="*/ 0 h 313372"/>
              <a:gd name="connsiteX2" fmla="*/ 8005286 w 8073302"/>
              <a:gd name="connsiteY2" fmla="*/ 313372 h 313372"/>
              <a:gd name="connsiteX0" fmla="*/ 0 w 8075112"/>
              <a:gd name="connsiteY0" fmla="*/ 0 h 313372"/>
              <a:gd name="connsiteX1" fmla="*/ 8001000 w 8075112"/>
              <a:gd name="connsiteY1" fmla="*/ 0 h 313372"/>
              <a:gd name="connsiteX2" fmla="*/ 8010049 w 8075112"/>
              <a:gd name="connsiteY2" fmla="*/ 313372 h 313372"/>
              <a:gd name="connsiteX0" fmla="*/ 0 w 8076045"/>
              <a:gd name="connsiteY0" fmla="*/ 0 h 306228"/>
              <a:gd name="connsiteX1" fmla="*/ 8001000 w 8076045"/>
              <a:gd name="connsiteY1" fmla="*/ 0 h 306228"/>
              <a:gd name="connsiteX2" fmla="*/ 8012430 w 8076045"/>
              <a:gd name="connsiteY2" fmla="*/ 306228 h 306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76045" h="306228">
                <a:moveTo>
                  <a:pt x="0" y="0"/>
                </a:moveTo>
                <a:lnTo>
                  <a:pt x="8001000" y="0"/>
                </a:lnTo>
                <a:cubicBezTo>
                  <a:pt x="8130223" y="99696"/>
                  <a:pt x="8064182" y="232727"/>
                  <a:pt x="8012430" y="306228"/>
                </a:cubicBez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E714F1C-1F29-4311-8AFA-E33356F4D5AE}"/>
              </a:ext>
            </a:extLst>
          </p:cNvPr>
          <p:cNvSpPr/>
          <p:nvPr/>
        </p:nvSpPr>
        <p:spPr bwMode="auto">
          <a:xfrm>
            <a:off x="1731684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8B487CDF-A56B-4B48-A093-FF8B5450FF5F}"/>
              </a:ext>
            </a:extLst>
          </p:cNvPr>
          <p:cNvSpPr/>
          <p:nvPr/>
        </p:nvSpPr>
        <p:spPr bwMode="auto">
          <a:xfrm>
            <a:off x="2967482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F57479A5-B636-4C91-B4E8-BF4F28904851}"/>
              </a:ext>
            </a:extLst>
          </p:cNvPr>
          <p:cNvSpPr/>
          <p:nvPr/>
        </p:nvSpPr>
        <p:spPr bwMode="auto">
          <a:xfrm>
            <a:off x="4203280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B85A36B-240B-4294-B0D9-30DA68A5B24C}"/>
              </a:ext>
            </a:extLst>
          </p:cNvPr>
          <p:cNvSpPr/>
          <p:nvPr/>
        </p:nvSpPr>
        <p:spPr bwMode="auto">
          <a:xfrm>
            <a:off x="5439078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1B4B80C0-462B-4329-8F4B-2F7C70446209}"/>
              </a:ext>
            </a:extLst>
          </p:cNvPr>
          <p:cNvSpPr/>
          <p:nvPr/>
        </p:nvSpPr>
        <p:spPr bwMode="auto">
          <a:xfrm>
            <a:off x="6674876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3D3BBCD5-3A84-4D49-A9E7-8583BC9DF530}"/>
              </a:ext>
            </a:extLst>
          </p:cNvPr>
          <p:cNvSpPr/>
          <p:nvPr/>
        </p:nvSpPr>
        <p:spPr bwMode="auto">
          <a:xfrm>
            <a:off x="7910674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92F58D1C-68AA-447A-82E2-B81E6B9A6FDF}"/>
              </a:ext>
            </a:extLst>
          </p:cNvPr>
          <p:cNvSpPr/>
          <p:nvPr/>
        </p:nvSpPr>
        <p:spPr bwMode="auto">
          <a:xfrm>
            <a:off x="9146474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9A045946-CE8A-4813-B210-B28547E8A78C}"/>
              </a:ext>
            </a:extLst>
          </p:cNvPr>
          <p:cNvSpPr/>
          <p:nvPr/>
        </p:nvSpPr>
        <p:spPr bwMode="auto">
          <a:xfrm>
            <a:off x="532668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39A34E58-E4C0-4418-A3A0-87E234557484}"/>
              </a:ext>
            </a:extLst>
          </p:cNvPr>
          <p:cNvSpPr/>
          <p:nvPr/>
        </p:nvSpPr>
        <p:spPr bwMode="auto">
          <a:xfrm>
            <a:off x="1369680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id="{024381F6-327D-4C7A-A4A8-802F8B4B7C4B}"/>
              </a:ext>
            </a:extLst>
          </p:cNvPr>
          <p:cNvSpPr/>
          <p:nvPr/>
        </p:nvSpPr>
        <p:spPr bwMode="auto">
          <a:xfrm>
            <a:off x="951174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03B493D-DE67-471D-8128-2C9E98F0817E}"/>
              </a:ext>
            </a:extLst>
          </p:cNvPr>
          <p:cNvSpPr/>
          <p:nvPr/>
        </p:nvSpPr>
        <p:spPr bwMode="auto">
          <a:xfrm>
            <a:off x="838715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A668B334-E87B-435F-A4B8-F1DA67204AA3}"/>
              </a:ext>
            </a:extLst>
          </p:cNvPr>
          <p:cNvSpPr/>
          <p:nvPr/>
        </p:nvSpPr>
        <p:spPr bwMode="auto">
          <a:xfrm>
            <a:off x="-266308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0" name="Freeform: Shape 129">
            <a:extLst>
              <a:ext uri="{FF2B5EF4-FFF2-40B4-BE49-F238E27FC236}">
                <a16:creationId xmlns:a16="http://schemas.microsoft.com/office/drawing/2014/main" id="{7CFDFCE0-122C-4F63-8A46-8A620474B46C}"/>
              </a:ext>
            </a:extLst>
          </p:cNvPr>
          <p:cNvSpPr/>
          <p:nvPr/>
        </p:nvSpPr>
        <p:spPr bwMode="auto">
          <a:xfrm>
            <a:off x="152198" y="6271613"/>
            <a:ext cx="265315" cy="359924"/>
          </a:xfrm>
          <a:custGeom>
            <a:avLst/>
            <a:gdLst>
              <a:gd name="connsiteX0" fmla="*/ 0 w 292893"/>
              <a:gd name="connsiteY0" fmla="*/ 414338 h 414338"/>
              <a:gd name="connsiteX1" fmla="*/ 292893 w 292893"/>
              <a:gd name="connsiteY1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2893" h="414338">
                <a:moveTo>
                  <a:pt x="0" y="414338"/>
                </a:moveTo>
                <a:lnTo>
                  <a:pt x="292893" y="0"/>
                </a:lnTo>
              </a:path>
            </a:pathLst>
          </a:cu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83FE8561-2196-4578-84D5-5DD4EBDE1E59}"/>
              </a:ext>
            </a:extLst>
          </p:cNvPr>
          <p:cNvSpPr/>
          <p:nvPr/>
        </p:nvSpPr>
        <p:spPr bwMode="auto">
          <a:xfrm>
            <a:off x="0" y="6655619"/>
            <a:ext cx="188119" cy="188119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9C87419-E783-4C4A-9FBD-3883E83543F2}"/>
              </a:ext>
            </a:extLst>
          </p:cNvPr>
          <p:cNvSpPr/>
          <p:nvPr/>
        </p:nvSpPr>
        <p:spPr>
          <a:xfrm>
            <a:off x="612097" y="2232836"/>
            <a:ext cx="231262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nulla pharetra sollicitudin labore, sagittis ut proin tellus, velit malesuada lacus vulputate, justo vitae blandit vehicula praesent.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47E760AC-418E-4AC1-84FF-CB295746C457}"/>
              </a:ext>
            </a:extLst>
          </p:cNvPr>
          <p:cNvSpPr txBox="1"/>
          <p:nvPr/>
        </p:nvSpPr>
        <p:spPr>
          <a:xfrm>
            <a:off x="1107899" y="1791602"/>
            <a:ext cx="1175657" cy="3545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a-DK" sz="1400" b="1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reatio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1D1FCD-F505-4961-B617-5CD24F9136E3}"/>
              </a:ext>
            </a:extLst>
          </p:cNvPr>
          <p:cNvCxnSpPr>
            <a:cxnSpLocks/>
          </p:cNvCxnSpPr>
          <p:nvPr/>
        </p:nvCxnSpPr>
        <p:spPr bwMode="auto">
          <a:xfrm>
            <a:off x="734822" y="2146166"/>
            <a:ext cx="1934341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E918082-D9F4-43D6-B8C1-81754448CE02}"/>
              </a:ext>
            </a:extLst>
          </p:cNvPr>
          <p:cNvSpPr/>
          <p:nvPr/>
        </p:nvSpPr>
        <p:spPr>
          <a:xfrm>
            <a:off x="3787836" y="2232836"/>
            <a:ext cx="233032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nulla pharetra sollicitudin labore, sagittis ut proin tellus, velit malesuada lacus vulputate, justo vitae blandit vehicula praesent.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D6A57771-DDEC-46C4-8D4A-C285E92EC3B4}"/>
              </a:ext>
            </a:extLst>
          </p:cNvPr>
          <p:cNvSpPr txBox="1"/>
          <p:nvPr/>
        </p:nvSpPr>
        <p:spPr>
          <a:xfrm>
            <a:off x="4339503" y="1791602"/>
            <a:ext cx="1175657" cy="3545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a-DK" sz="1400" b="1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ssembly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F3D51281-20CC-4F43-8382-BB57B05674B3}"/>
              </a:ext>
            </a:extLst>
          </p:cNvPr>
          <p:cNvCxnSpPr>
            <a:cxnSpLocks/>
          </p:cNvCxnSpPr>
          <p:nvPr/>
        </p:nvCxnSpPr>
        <p:spPr bwMode="auto">
          <a:xfrm>
            <a:off x="3988370" y="2146166"/>
            <a:ext cx="1934341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DBF121B-9429-4539-8B8D-DEC3F2DA8CAA}"/>
              </a:ext>
            </a:extLst>
          </p:cNvPr>
          <p:cNvSpPr/>
          <p:nvPr/>
        </p:nvSpPr>
        <p:spPr>
          <a:xfrm>
            <a:off x="6985208" y="2232836"/>
            <a:ext cx="230010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nulla pharetra sollicitudin labore, sagittis ut proin tellus, velit malesuada lacus vulputate, justo vitae blandit vehicula praesent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22995180-44EF-45A4-847A-713058AAA0C6}"/>
              </a:ext>
            </a:extLst>
          </p:cNvPr>
          <p:cNvSpPr txBox="1"/>
          <p:nvPr/>
        </p:nvSpPr>
        <p:spPr>
          <a:xfrm>
            <a:off x="7559893" y="1791602"/>
            <a:ext cx="1175657" cy="3545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a-DK" sz="1400" b="1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esting</a:t>
            </a:r>
            <a:endParaRPr lang="da-DK" sz="1400" b="1" dirty="0">
              <a:solidFill>
                <a:srgbClr val="000000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0E77475-0E5D-410A-B468-E0DD07378F90}"/>
              </a:ext>
            </a:extLst>
          </p:cNvPr>
          <p:cNvCxnSpPr>
            <a:cxnSpLocks/>
          </p:cNvCxnSpPr>
          <p:nvPr/>
        </p:nvCxnSpPr>
        <p:spPr bwMode="auto">
          <a:xfrm>
            <a:off x="7152247" y="2146166"/>
            <a:ext cx="1934341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8A5F6BB3-9E91-4A36-A0BA-036A1B6FE29F}"/>
              </a:ext>
            </a:extLst>
          </p:cNvPr>
          <p:cNvSpPr/>
          <p:nvPr/>
        </p:nvSpPr>
        <p:spPr bwMode="auto">
          <a:xfrm>
            <a:off x="4272917" y="5374107"/>
            <a:ext cx="524821" cy="334885"/>
          </a:xfrm>
          <a:custGeom>
            <a:avLst/>
            <a:gdLst>
              <a:gd name="connsiteX0" fmla="*/ 0 w 250031"/>
              <a:gd name="connsiteY0" fmla="*/ 50006 h 159544"/>
              <a:gd name="connsiteX1" fmla="*/ 57150 w 250031"/>
              <a:gd name="connsiteY1" fmla="*/ 4762 h 159544"/>
              <a:gd name="connsiteX2" fmla="*/ 190500 w 250031"/>
              <a:gd name="connsiteY2" fmla="*/ 0 h 159544"/>
              <a:gd name="connsiteX3" fmla="*/ 250031 w 250031"/>
              <a:gd name="connsiteY3" fmla="*/ 80962 h 159544"/>
              <a:gd name="connsiteX4" fmla="*/ 192881 w 250031"/>
              <a:gd name="connsiteY4" fmla="*/ 159544 h 159544"/>
              <a:gd name="connsiteX5" fmla="*/ 9525 w 250031"/>
              <a:gd name="connsiteY5" fmla="*/ 135731 h 159544"/>
              <a:gd name="connsiteX6" fmla="*/ 0 w 250031"/>
              <a:gd name="connsiteY6" fmla="*/ 50006 h 15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031" h="159544">
                <a:moveTo>
                  <a:pt x="0" y="50006"/>
                </a:moveTo>
                <a:lnTo>
                  <a:pt x="57150" y="4762"/>
                </a:lnTo>
                <a:lnTo>
                  <a:pt x="190500" y="0"/>
                </a:lnTo>
                <a:lnTo>
                  <a:pt x="250031" y="80962"/>
                </a:lnTo>
                <a:lnTo>
                  <a:pt x="192881" y="159544"/>
                </a:lnTo>
                <a:lnTo>
                  <a:pt x="9525" y="135731"/>
                </a:lnTo>
                <a:lnTo>
                  <a:pt x="0" y="50006"/>
                </a:lnTo>
                <a:close/>
              </a:path>
            </a:pathLst>
          </a:custGeom>
          <a:gradFill>
            <a:gsLst>
              <a:gs pos="100000">
                <a:srgbClr val="E9C2A1"/>
              </a:gs>
              <a:gs pos="0">
                <a:srgbClr val="F1D8C4"/>
              </a:gs>
            </a:gsLst>
            <a:lin ang="21594000" scaled="0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EA4DEE26-37E8-4815-87E1-4AA5B80693F1}"/>
              </a:ext>
            </a:extLst>
          </p:cNvPr>
          <p:cNvSpPr/>
          <p:nvPr/>
        </p:nvSpPr>
        <p:spPr bwMode="auto">
          <a:xfrm>
            <a:off x="4025091" y="5427537"/>
            <a:ext cx="1013288" cy="503710"/>
          </a:xfrm>
          <a:custGeom>
            <a:avLst/>
            <a:gdLst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02 w 669602"/>
              <a:gd name="connsiteY0" fmla="*/ 271462 h 328612"/>
              <a:gd name="connsiteX1" fmla="*/ 669602 w 669602"/>
              <a:gd name="connsiteY1" fmla="*/ 276225 h 328612"/>
              <a:gd name="connsiteX2" fmla="*/ 505296 w 669602"/>
              <a:gd name="connsiteY2" fmla="*/ 9525 h 328612"/>
              <a:gd name="connsiteX3" fmla="*/ 348133 w 669602"/>
              <a:gd name="connsiteY3" fmla="*/ 92868 h 328612"/>
              <a:gd name="connsiteX4" fmla="*/ 176683 w 669602"/>
              <a:gd name="connsiteY4" fmla="*/ 0 h 328612"/>
              <a:gd name="connsiteX5" fmla="*/ 471 w 669602"/>
              <a:gd name="connsiteY5" fmla="*/ 285750 h 328612"/>
              <a:gd name="connsiteX6" fmla="*/ 114771 w 669602"/>
              <a:gd name="connsiteY6" fmla="*/ 271462 h 328612"/>
              <a:gd name="connsiteX7" fmla="*/ 114771 w 669602"/>
              <a:gd name="connsiteY7" fmla="*/ 328612 h 328612"/>
              <a:gd name="connsiteX8" fmla="*/ 560064 w 669602"/>
              <a:gd name="connsiteY8" fmla="*/ 328612 h 328612"/>
              <a:gd name="connsiteX9" fmla="*/ 555302 w 669602"/>
              <a:gd name="connsiteY9" fmla="*/ 271462 h 328612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81484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6227 w 669602"/>
              <a:gd name="connsiteY3" fmla="*/ 100012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259 w 669559"/>
              <a:gd name="connsiteY0" fmla="*/ 273844 h 330994"/>
              <a:gd name="connsiteX1" fmla="*/ 669559 w 669559"/>
              <a:gd name="connsiteY1" fmla="*/ 278607 h 330994"/>
              <a:gd name="connsiteX2" fmla="*/ 490966 w 669559"/>
              <a:gd name="connsiteY2" fmla="*/ 0 h 330994"/>
              <a:gd name="connsiteX3" fmla="*/ 338565 w 669559"/>
              <a:gd name="connsiteY3" fmla="*/ 95250 h 330994"/>
              <a:gd name="connsiteX4" fmla="*/ 183254 w 669559"/>
              <a:gd name="connsiteY4" fmla="*/ 2382 h 330994"/>
              <a:gd name="connsiteX5" fmla="*/ 428 w 669559"/>
              <a:gd name="connsiteY5" fmla="*/ 288132 h 330994"/>
              <a:gd name="connsiteX6" fmla="*/ 114728 w 669559"/>
              <a:gd name="connsiteY6" fmla="*/ 273844 h 330994"/>
              <a:gd name="connsiteX7" fmla="*/ 114728 w 669559"/>
              <a:gd name="connsiteY7" fmla="*/ 330994 h 330994"/>
              <a:gd name="connsiteX8" fmla="*/ 560021 w 669559"/>
              <a:gd name="connsiteY8" fmla="*/ 330994 h 330994"/>
              <a:gd name="connsiteX9" fmla="*/ 555259 w 669559"/>
              <a:gd name="connsiteY9" fmla="*/ 273844 h 330994"/>
              <a:gd name="connsiteX0" fmla="*/ 555294 w 669594"/>
              <a:gd name="connsiteY0" fmla="*/ 273844 h 330994"/>
              <a:gd name="connsiteX1" fmla="*/ 669594 w 669594"/>
              <a:gd name="connsiteY1" fmla="*/ 278607 h 330994"/>
              <a:gd name="connsiteX2" fmla="*/ 491001 w 669594"/>
              <a:gd name="connsiteY2" fmla="*/ 0 h 330994"/>
              <a:gd name="connsiteX3" fmla="*/ 338600 w 669594"/>
              <a:gd name="connsiteY3" fmla="*/ 95250 h 330994"/>
              <a:gd name="connsiteX4" fmla="*/ 177620 w 669594"/>
              <a:gd name="connsiteY4" fmla="*/ 2382 h 330994"/>
              <a:gd name="connsiteX5" fmla="*/ 463 w 669594"/>
              <a:gd name="connsiteY5" fmla="*/ 288132 h 330994"/>
              <a:gd name="connsiteX6" fmla="*/ 114763 w 669594"/>
              <a:gd name="connsiteY6" fmla="*/ 273844 h 330994"/>
              <a:gd name="connsiteX7" fmla="*/ 114763 w 669594"/>
              <a:gd name="connsiteY7" fmla="*/ 330994 h 330994"/>
              <a:gd name="connsiteX8" fmla="*/ 560056 w 669594"/>
              <a:gd name="connsiteY8" fmla="*/ 330994 h 330994"/>
              <a:gd name="connsiteX9" fmla="*/ 555294 w 669594"/>
              <a:gd name="connsiteY9" fmla="*/ 273844 h 330994"/>
              <a:gd name="connsiteX0" fmla="*/ 555294 w 669594"/>
              <a:gd name="connsiteY0" fmla="*/ 273844 h 330994"/>
              <a:gd name="connsiteX1" fmla="*/ 669594 w 669594"/>
              <a:gd name="connsiteY1" fmla="*/ 278607 h 330994"/>
              <a:gd name="connsiteX2" fmla="*/ 491001 w 669594"/>
              <a:gd name="connsiteY2" fmla="*/ 0 h 330994"/>
              <a:gd name="connsiteX3" fmla="*/ 335766 w 669594"/>
              <a:gd name="connsiteY3" fmla="*/ 95250 h 330994"/>
              <a:gd name="connsiteX4" fmla="*/ 177620 w 669594"/>
              <a:gd name="connsiteY4" fmla="*/ 2382 h 330994"/>
              <a:gd name="connsiteX5" fmla="*/ 463 w 669594"/>
              <a:gd name="connsiteY5" fmla="*/ 288132 h 330994"/>
              <a:gd name="connsiteX6" fmla="*/ 114763 w 669594"/>
              <a:gd name="connsiteY6" fmla="*/ 273844 h 330994"/>
              <a:gd name="connsiteX7" fmla="*/ 114763 w 669594"/>
              <a:gd name="connsiteY7" fmla="*/ 330994 h 330994"/>
              <a:gd name="connsiteX8" fmla="*/ 560056 w 669594"/>
              <a:gd name="connsiteY8" fmla="*/ 330994 h 330994"/>
              <a:gd name="connsiteX9" fmla="*/ 555294 w 669594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11012 w 665843"/>
              <a:gd name="connsiteY6" fmla="*/ 273844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20460 w 665843"/>
              <a:gd name="connsiteY6" fmla="*/ 260616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10067 w 665843"/>
              <a:gd name="connsiteY6" fmla="*/ 261561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5843" h="330994">
                <a:moveTo>
                  <a:pt x="551543" y="273844"/>
                </a:moveTo>
                <a:lnTo>
                  <a:pt x="665843" y="278607"/>
                </a:lnTo>
                <a:cubicBezTo>
                  <a:pt x="653936" y="120651"/>
                  <a:pt x="625362" y="72231"/>
                  <a:pt x="487250" y="0"/>
                </a:cubicBezTo>
                <a:cubicBezTo>
                  <a:pt x="484869" y="41275"/>
                  <a:pt x="384245" y="94853"/>
                  <a:pt x="332015" y="95250"/>
                </a:cubicBezTo>
                <a:cubicBezTo>
                  <a:pt x="279785" y="95647"/>
                  <a:pt x="210381" y="80170"/>
                  <a:pt x="173869" y="2382"/>
                </a:cubicBezTo>
                <a:cubicBezTo>
                  <a:pt x="49250" y="65882"/>
                  <a:pt x="-5859" y="145260"/>
                  <a:pt x="491" y="268291"/>
                </a:cubicBezTo>
                <a:lnTo>
                  <a:pt x="110067" y="261561"/>
                </a:lnTo>
                <a:lnTo>
                  <a:pt x="111012" y="330994"/>
                </a:lnTo>
                <a:lnTo>
                  <a:pt x="556305" y="330994"/>
                </a:lnTo>
                <a:lnTo>
                  <a:pt x="551543" y="2738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EA34CB6E-467E-4AC4-ACA4-59F6F66612E9}"/>
              </a:ext>
            </a:extLst>
          </p:cNvPr>
          <p:cNvSpPr/>
          <p:nvPr/>
        </p:nvSpPr>
        <p:spPr bwMode="auto">
          <a:xfrm>
            <a:off x="4189713" y="5402170"/>
            <a:ext cx="682659" cy="887834"/>
          </a:xfrm>
          <a:custGeom>
            <a:avLst/>
            <a:gdLst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0 w 442913"/>
              <a:gd name="connsiteY15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1431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5748"/>
              <a:gd name="connsiteY0" fmla="*/ 340519 h 583407"/>
              <a:gd name="connsiteX1" fmla="*/ 16669 w 445748"/>
              <a:gd name="connsiteY1" fmla="*/ 583407 h 583407"/>
              <a:gd name="connsiteX2" fmla="*/ 438150 w 445748"/>
              <a:gd name="connsiteY2" fmla="*/ 583407 h 583407"/>
              <a:gd name="connsiteX3" fmla="*/ 445748 w 445748"/>
              <a:gd name="connsiteY3" fmla="*/ 340519 h 583407"/>
              <a:gd name="connsiteX4" fmla="*/ 404813 w 445748"/>
              <a:gd name="connsiteY4" fmla="*/ 340519 h 583407"/>
              <a:gd name="connsiteX5" fmla="*/ 402431 w 445748"/>
              <a:gd name="connsiteY5" fmla="*/ 221457 h 583407"/>
              <a:gd name="connsiteX6" fmla="*/ 369094 w 445748"/>
              <a:gd name="connsiteY6" fmla="*/ 221457 h 583407"/>
              <a:gd name="connsiteX7" fmla="*/ 376238 w 445748"/>
              <a:gd name="connsiteY7" fmla="*/ 14288 h 583407"/>
              <a:gd name="connsiteX8" fmla="*/ 333375 w 445748"/>
              <a:gd name="connsiteY8" fmla="*/ 0 h 583407"/>
              <a:gd name="connsiteX9" fmla="*/ 335756 w 445748"/>
              <a:gd name="connsiteY9" fmla="*/ 228600 h 583407"/>
              <a:gd name="connsiteX10" fmla="*/ 111919 w 445748"/>
              <a:gd name="connsiteY10" fmla="*/ 228600 h 583407"/>
              <a:gd name="connsiteX11" fmla="*/ 107156 w 445748"/>
              <a:gd name="connsiteY11" fmla="*/ 7144 h 583407"/>
              <a:gd name="connsiteX12" fmla="*/ 64294 w 445748"/>
              <a:gd name="connsiteY12" fmla="*/ 19050 h 583407"/>
              <a:gd name="connsiteX13" fmla="*/ 64294 w 445748"/>
              <a:gd name="connsiteY13" fmla="*/ 223838 h 583407"/>
              <a:gd name="connsiteX14" fmla="*/ 33338 w 445748"/>
              <a:gd name="connsiteY14" fmla="*/ 223838 h 583407"/>
              <a:gd name="connsiteX15" fmla="*/ 28575 w 445748"/>
              <a:gd name="connsiteY15" fmla="*/ 340519 h 583407"/>
              <a:gd name="connsiteX16" fmla="*/ 0 w 445748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36173 w 448583"/>
              <a:gd name="connsiteY14" fmla="*/ 223838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36173 w 448583"/>
              <a:gd name="connsiteY14" fmla="*/ 223838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583" h="583407">
                <a:moveTo>
                  <a:pt x="0" y="340519"/>
                </a:moveTo>
                <a:lnTo>
                  <a:pt x="19504" y="583407"/>
                </a:lnTo>
                <a:lnTo>
                  <a:pt x="440985" y="583407"/>
                </a:lnTo>
                <a:cubicBezTo>
                  <a:pt x="442573" y="502444"/>
                  <a:pt x="446995" y="421482"/>
                  <a:pt x="448583" y="340519"/>
                </a:cubicBezTo>
                <a:lnTo>
                  <a:pt x="407648" y="340519"/>
                </a:lnTo>
                <a:lnTo>
                  <a:pt x="405266" y="221457"/>
                </a:lnTo>
                <a:lnTo>
                  <a:pt x="368150" y="229016"/>
                </a:lnTo>
                <a:lnTo>
                  <a:pt x="379073" y="14288"/>
                </a:lnTo>
                <a:lnTo>
                  <a:pt x="336210" y="0"/>
                </a:lnTo>
                <a:cubicBezTo>
                  <a:pt x="337004" y="76200"/>
                  <a:pt x="337797" y="152400"/>
                  <a:pt x="338591" y="228600"/>
                </a:cubicBezTo>
                <a:lnTo>
                  <a:pt x="114754" y="228600"/>
                </a:lnTo>
                <a:cubicBezTo>
                  <a:pt x="113166" y="154781"/>
                  <a:pt x="98351" y="88522"/>
                  <a:pt x="109991" y="7144"/>
                </a:cubicBezTo>
                <a:lnTo>
                  <a:pt x="67129" y="19050"/>
                </a:lnTo>
                <a:lnTo>
                  <a:pt x="66184" y="229507"/>
                </a:lnTo>
                <a:lnTo>
                  <a:pt x="29559" y="226672"/>
                </a:lnTo>
                <a:cubicBezTo>
                  <a:pt x="30427" y="263146"/>
                  <a:pt x="31448" y="303061"/>
                  <a:pt x="31410" y="340519"/>
                </a:cubicBezTo>
                <a:lnTo>
                  <a:pt x="0" y="340519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A4010062-F466-412A-AD04-A60584F9A467}"/>
              </a:ext>
            </a:extLst>
          </p:cNvPr>
          <p:cNvSpPr/>
          <p:nvPr/>
        </p:nvSpPr>
        <p:spPr bwMode="auto">
          <a:xfrm>
            <a:off x="4245059" y="4937408"/>
            <a:ext cx="565139" cy="518588"/>
          </a:xfrm>
          <a:custGeom>
            <a:avLst/>
            <a:gdLst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1676 h 221456"/>
              <a:gd name="connsiteX3" fmla="*/ 0 w 259556"/>
              <a:gd name="connsiteY3" fmla="*/ 0 h 221456"/>
              <a:gd name="connsiteX0" fmla="*/ 0 w 260390"/>
              <a:gd name="connsiteY0" fmla="*/ 0 h 221456"/>
              <a:gd name="connsiteX1" fmla="*/ 128587 w 260390"/>
              <a:gd name="connsiteY1" fmla="*/ 221456 h 221456"/>
              <a:gd name="connsiteX2" fmla="*/ 259556 w 260390"/>
              <a:gd name="connsiteY2" fmla="*/ 1676 h 221456"/>
              <a:gd name="connsiteX3" fmla="*/ 0 w 260390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30 w 260906"/>
              <a:gd name="connsiteY0" fmla="*/ 0 h 221456"/>
              <a:gd name="connsiteX1" fmla="*/ 128617 w 260906"/>
              <a:gd name="connsiteY1" fmla="*/ 221456 h 221456"/>
              <a:gd name="connsiteX2" fmla="*/ 259586 w 260906"/>
              <a:gd name="connsiteY2" fmla="*/ 1676 h 221456"/>
              <a:gd name="connsiteX3" fmla="*/ 30 w 260906"/>
              <a:gd name="connsiteY3" fmla="*/ 0 h 221456"/>
              <a:gd name="connsiteX0" fmla="*/ 30 w 297357"/>
              <a:gd name="connsiteY0" fmla="*/ 0 h 221456"/>
              <a:gd name="connsiteX1" fmla="*/ 128617 w 297357"/>
              <a:gd name="connsiteY1" fmla="*/ 221456 h 221456"/>
              <a:gd name="connsiteX2" fmla="*/ 296624 w 297357"/>
              <a:gd name="connsiteY2" fmla="*/ 1676 h 221456"/>
              <a:gd name="connsiteX3" fmla="*/ 30 w 297357"/>
              <a:gd name="connsiteY3" fmla="*/ 0 h 221456"/>
              <a:gd name="connsiteX0" fmla="*/ 12 w 342865"/>
              <a:gd name="connsiteY0" fmla="*/ 0 h 224542"/>
              <a:gd name="connsiteX1" fmla="*/ 174125 w 342865"/>
              <a:gd name="connsiteY1" fmla="*/ 224542 h 224542"/>
              <a:gd name="connsiteX2" fmla="*/ 342132 w 342865"/>
              <a:gd name="connsiteY2" fmla="*/ 4762 h 224542"/>
              <a:gd name="connsiteX3" fmla="*/ 12 w 342865"/>
              <a:gd name="connsiteY3" fmla="*/ 0 h 224542"/>
              <a:gd name="connsiteX0" fmla="*/ 11 w 346722"/>
              <a:gd name="connsiteY0" fmla="*/ 9127 h 219780"/>
              <a:gd name="connsiteX1" fmla="*/ 177982 w 346722"/>
              <a:gd name="connsiteY1" fmla="*/ 219780 h 219780"/>
              <a:gd name="connsiteX2" fmla="*/ 345989 w 346722"/>
              <a:gd name="connsiteY2" fmla="*/ 0 h 219780"/>
              <a:gd name="connsiteX3" fmla="*/ 11 w 346722"/>
              <a:gd name="connsiteY3" fmla="*/ 9127 h 219780"/>
              <a:gd name="connsiteX0" fmla="*/ 14 w 335922"/>
              <a:gd name="connsiteY0" fmla="*/ 0 h 222999"/>
              <a:gd name="connsiteX1" fmla="*/ 167182 w 335922"/>
              <a:gd name="connsiteY1" fmla="*/ 222999 h 222999"/>
              <a:gd name="connsiteX2" fmla="*/ 335189 w 335922"/>
              <a:gd name="connsiteY2" fmla="*/ 3219 h 222999"/>
              <a:gd name="connsiteX3" fmla="*/ 14 w 335922"/>
              <a:gd name="connsiteY3" fmla="*/ 0 h 22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22" h="222999">
                <a:moveTo>
                  <a:pt x="14" y="0"/>
                </a:moveTo>
                <a:cubicBezTo>
                  <a:pt x="-1107" y="138635"/>
                  <a:pt x="67221" y="211681"/>
                  <a:pt x="167182" y="222999"/>
                </a:cubicBezTo>
                <a:cubicBezTo>
                  <a:pt x="272567" y="208639"/>
                  <a:pt x="344003" y="125605"/>
                  <a:pt x="335189" y="3219"/>
                </a:cubicBezTo>
                <a:lnTo>
                  <a:pt x="14" y="0"/>
                </a:lnTo>
                <a:close/>
              </a:path>
            </a:pathLst>
          </a:custGeom>
          <a:gradFill>
            <a:gsLst>
              <a:gs pos="50000">
                <a:srgbClr val="E9C2A1"/>
              </a:gs>
              <a:gs pos="50000">
                <a:srgbClr val="EDCEB5"/>
              </a:gs>
            </a:gsLst>
            <a:lin ang="21594000" scaled="0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EF961CB-BEB3-43AA-9DD9-B2EA9683BE4C}"/>
              </a:ext>
            </a:extLst>
          </p:cNvPr>
          <p:cNvSpPr/>
          <p:nvPr/>
        </p:nvSpPr>
        <p:spPr bwMode="auto">
          <a:xfrm>
            <a:off x="4172524" y="4891396"/>
            <a:ext cx="706691" cy="65183"/>
          </a:xfrm>
          <a:prstGeom prst="rect">
            <a:avLst/>
          </a:prstGeom>
          <a:solidFill>
            <a:schemeClr val="accent2">
              <a:lumMod val="1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EBA7F5B-2C05-4D47-90AE-126B42670B4A}"/>
              </a:ext>
            </a:extLst>
          </p:cNvPr>
          <p:cNvSpPr/>
          <p:nvPr/>
        </p:nvSpPr>
        <p:spPr bwMode="auto">
          <a:xfrm>
            <a:off x="4269562" y="5800125"/>
            <a:ext cx="53680" cy="53680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1453570D-85EE-44F4-8649-C69CF54B0B20}"/>
              </a:ext>
            </a:extLst>
          </p:cNvPr>
          <p:cNvSpPr/>
          <p:nvPr/>
        </p:nvSpPr>
        <p:spPr bwMode="auto">
          <a:xfrm>
            <a:off x="4687501" y="5800125"/>
            <a:ext cx="53680" cy="53680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4" name="Partial Circle 73">
            <a:extLst>
              <a:ext uri="{FF2B5EF4-FFF2-40B4-BE49-F238E27FC236}">
                <a16:creationId xmlns:a16="http://schemas.microsoft.com/office/drawing/2014/main" id="{0F65B649-60C6-437B-BAA9-81E9E6DFD45E}"/>
              </a:ext>
            </a:extLst>
          </p:cNvPr>
          <p:cNvSpPr/>
          <p:nvPr/>
        </p:nvSpPr>
        <p:spPr bwMode="auto">
          <a:xfrm rot="10800000">
            <a:off x="4230987" y="4595030"/>
            <a:ext cx="594220" cy="594218"/>
          </a:xfrm>
          <a:prstGeom prst="pie">
            <a:avLst>
              <a:gd name="adj1" fmla="val 0"/>
              <a:gd name="adj2" fmla="val 10816010"/>
            </a:avLst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556EA6A-EE2C-4090-B808-E7A48186E94F}"/>
              </a:ext>
            </a:extLst>
          </p:cNvPr>
          <p:cNvGrpSpPr/>
          <p:nvPr/>
        </p:nvGrpSpPr>
        <p:grpSpPr>
          <a:xfrm>
            <a:off x="4305308" y="4660283"/>
            <a:ext cx="448279" cy="178055"/>
            <a:chOff x="3609976" y="1966913"/>
            <a:chExt cx="3057524" cy="1214437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69E99B0-D7C8-4732-BFC1-60E2843CB2B6}"/>
                </a:ext>
              </a:extLst>
            </p:cNvPr>
            <p:cNvSpPr/>
            <p:nvPr/>
          </p:nvSpPr>
          <p:spPr bwMode="auto">
            <a:xfrm>
              <a:off x="3609976" y="1966913"/>
              <a:ext cx="1508739" cy="1204912"/>
            </a:xfrm>
            <a:custGeom>
              <a:avLst/>
              <a:gdLst>
                <a:gd name="connsiteX0" fmla="*/ 0 w 895350"/>
                <a:gd name="connsiteY0" fmla="*/ 266700 h 1204912"/>
                <a:gd name="connsiteX1" fmla="*/ 252413 w 895350"/>
                <a:gd name="connsiteY1" fmla="*/ 0 h 1204912"/>
                <a:gd name="connsiteX2" fmla="*/ 895350 w 895350"/>
                <a:gd name="connsiteY2" fmla="*/ 1204912 h 1204912"/>
                <a:gd name="connsiteX3" fmla="*/ 0 w 895350"/>
                <a:gd name="connsiteY3" fmla="*/ 266700 h 1204912"/>
                <a:gd name="connsiteX0" fmla="*/ 0 w 901471"/>
                <a:gd name="connsiteY0" fmla="*/ 266700 h 1204912"/>
                <a:gd name="connsiteX1" fmla="*/ 252413 w 901471"/>
                <a:gd name="connsiteY1" fmla="*/ 0 h 1204912"/>
                <a:gd name="connsiteX2" fmla="*/ 895350 w 901471"/>
                <a:gd name="connsiteY2" fmla="*/ 1204912 h 1204912"/>
                <a:gd name="connsiteX3" fmla="*/ 0 w 901471"/>
                <a:gd name="connsiteY3" fmla="*/ 266700 h 1204912"/>
                <a:gd name="connsiteX0" fmla="*/ 0 w 901471"/>
                <a:gd name="connsiteY0" fmla="*/ 266700 h 1204912"/>
                <a:gd name="connsiteX1" fmla="*/ 252413 w 901471"/>
                <a:gd name="connsiteY1" fmla="*/ 0 h 1204912"/>
                <a:gd name="connsiteX2" fmla="*/ 895350 w 901471"/>
                <a:gd name="connsiteY2" fmla="*/ 1204912 h 1204912"/>
                <a:gd name="connsiteX3" fmla="*/ 0 w 901471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1518264"/>
                <a:gd name="connsiteY0" fmla="*/ 266700 h 1204912"/>
                <a:gd name="connsiteX1" fmla="*/ 252413 w 1518264"/>
                <a:gd name="connsiteY1" fmla="*/ 0 h 1204912"/>
                <a:gd name="connsiteX2" fmla="*/ 1514475 w 1518264"/>
                <a:gd name="connsiteY2" fmla="*/ 1204912 h 1204912"/>
                <a:gd name="connsiteX3" fmla="*/ 0 w 1518264"/>
                <a:gd name="connsiteY3" fmla="*/ 266700 h 1204912"/>
                <a:gd name="connsiteX0" fmla="*/ 0 w 1508739"/>
                <a:gd name="connsiteY0" fmla="*/ 257175 h 1204912"/>
                <a:gd name="connsiteX1" fmla="*/ 242888 w 1508739"/>
                <a:gd name="connsiteY1" fmla="*/ 0 h 1204912"/>
                <a:gd name="connsiteX2" fmla="*/ 1504950 w 1508739"/>
                <a:gd name="connsiteY2" fmla="*/ 1204912 h 1204912"/>
                <a:gd name="connsiteX3" fmla="*/ 0 w 1508739"/>
                <a:gd name="connsiteY3" fmla="*/ 257175 h 1204912"/>
                <a:gd name="connsiteX0" fmla="*/ 0 w 1508739"/>
                <a:gd name="connsiteY0" fmla="*/ 257175 h 1204912"/>
                <a:gd name="connsiteX1" fmla="*/ 242888 w 1508739"/>
                <a:gd name="connsiteY1" fmla="*/ 0 h 1204912"/>
                <a:gd name="connsiteX2" fmla="*/ 1504950 w 1508739"/>
                <a:gd name="connsiteY2" fmla="*/ 1204912 h 1204912"/>
                <a:gd name="connsiteX3" fmla="*/ 0 w 1508739"/>
                <a:gd name="connsiteY3" fmla="*/ 257175 h 1204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8739" h="1204912">
                  <a:moveTo>
                    <a:pt x="0" y="257175"/>
                  </a:moveTo>
                  <a:cubicBezTo>
                    <a:pt x="80963" y="138112"/>
                    <a:pt x="161925" y="85725"/>
                    <a:pt x="242888" y="0"/>
                  </a:cubicBezTo>
                  <a:cubicBezTo>
                    <a:pt x="742950" y="239712"/>
                    <a:pt x="1571626" y="655637"/>
                    <a:pt x="1504950" y="1204912"/>
                  </a:cubicBezTo>
                  <a:cubicBezTo>
                    <a:pt x="1382712" y="777875"/>
                    <a:pt x="617537" y="227012"/>
                    <a:pt x="0" y="257175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da-DK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39835A9-948E-4D7C-8F1D-5F6162586068}"/>
                </a:ext>
              </a:extLst>
            </p:cNvPr>
            <p:cNvSpPr/>
            <p:nvPr/>
          </p:nvSpPr>
          <p:spPr bwMode="auto">
            <a:xfrm flipH="1">
              <a:off x="5061565" y="1976438"/>
              <a:ext cx="1605935" cy="1204912"/>
            </a:xfrm>
            <a:custGeom>
              <a:avLst/>
              <a:gdLst>
                <a:gd name="connsiteX0" fmla="*/ 0 w 895350"/>
                <a:gd name="connsiteY0" fmla="*/ 266700 h 1204912"/>
                <a:gd name="connsiteX1" fmla="*/ 252413 w 895350"/>
                <a:gd name="connsiteY1" fmla="*/ 0 h 1204912"/>
                <a:gd name="connsiteX2" fmla="*/ 895350 w 895350"/>
                <a:gd name="connsiteY2" fmla="*/ 1204912 h 1204912"/>
                <a:gd name="connsiteX3" fmla="*/ 0 w 895350"/>
                <a:gd name="connsiteY3" fmla="*/ 266700 h 1204912"/>
                <a:gd name="connsiteX0" fmla="*/ 0 w 901471"/>
                <a:gd name="connsiteY0" fmla="*/ 266700 h 1204912"/>
                <a:gd name="connsiteX1" fmla="*/ 252413 w 901471"/>
                <a:gd name="connsiteY1" fmla="*/ 0 h 1204912"/>
                <a:gd name="connsiteX2" fmla="*/ 895350 w 901471"/>
                <a:gd name="connsiteY2" fmla="*/ 1204912 h 1204912"/>
                <a:gd name="connsiteX3" fmla="*/ 0 w 901471"/>
                <a:gd name="connsiteY3" fmla="*/ 266700 h 1204912"/>
                <a:gd name="connsiteX0" fmla="*/ 0 w 901471"/>
                <a:gd name="connsiteY0" fmla="*/ 266700 h 1204912"/>
                <a:gd name="connsiteX1" fmla="*/ 252413 w 901471"/>
                <a:gd name="connsiteY1" fmla="*/ 0 h 1204912"/>
                <a:gd name="connsiteX2" fmla="*/ 895350 w 901471"/>
                <a:gd name="connsiteY2" fmla="*/ 1204912 h 1204912"/>
                <a:gd name="connsiteX3" fmla="*/ 0 w 901471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1518264"/>
                <a:gd name="connsiteY0" fmla="*/ 266700 h 1204912"/>
                <a:gd name="connsiteX1" fmla="*/ 252413 w 1518264"/>
                <a:gd name="connsiteY1" fmla="*/ 0 h 1204912"/>
                <a:gd name="connsiteX2" fmla="*/ 1514475 w 1518264"/>
                <a:gd name="connsiteY2" fmla="*/ 1204912 h 1204912"/>
                <a:gd name="connsiteX3" fmla="*/ 0 w 1518264"/>
                <a:gd name="connsiteY3" fmla="*/ 266700 h 1204912"/>
                <a:gd name="connsiteX0" fmla="*/ 0 w 1508739"/>
                <a:gd name="connsiteY0" fmla="*/ 257175 h 1204912"/>
                <a:gd name="connsiteX1" fmla="*/ 242888 w 1508739"/>
                <a:gd name="connsiteY1" fmla="*/ 0 h 1204912"/>
                <a:gd name="connsiteX2" fmla="*/ 1504950 w 1508739"/>
                <a:gd name="connsiteY2" fmla="*/ 1204912 h 1204912"/>
                <a:gd name="connsiteX3" fmla="*/ 0 w 1508739"/>
                <a:gd name="connsiteY3" fmla="*/ 257175 h 1204912"/>
                <a:gd name="connsiteX0" fmla="*/ 0 w 1508739"/>
                <a:gd name="connsiteY0" fmla="*/ 257175 h 1204912"/>
                <a:gd name="connsiteX1" fmla="*/ 242888 w 1508739"/>
                <a:gd name="connsiteY1" fmla="*/ 0 h 1204912"/>
                <a:gd name="connsiteX2" fmla="*/ 1504950 w 1508739"/>
                <a:gd name="connsiteY2" fmla="*/ 1204912 h 1204912"/>
                <a:gd name="connsiteX3" fmla="*/ 0 w 1508739"/>
                <a:gd name="connsiteY3" fmla="*/ 257175 h 1204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8739" h="1204912">
                  <a:moveTo>
                    <a:pt x="0" y="257175"/>
                  </a:moveTo>
                  <a:cubicBezTo>
                    <a:pt x="80963" y="138112"/>
                    <a:pt x="161925" y="85725"/>
                    <a:pt x="242888" y="0"/>
                  </a:cubicBezTo>
                  <a:cubicBezTo>
                    <a:pt x="742950" y="239712"/>
                    <a:pt x="1571626" y="655637"/>
                    <a:pt x="1504950" y="1204912"/>
                  </a:cubicBezTo>
                  <a:cubicBezTo>
                    <a:pt x="1382712" y="777875"/>
                    <a:pt x="617537" y="227012"/>
                    <a:pt x="0" y="257175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da-DK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C97BC95E-A475-4400-8169-96F7EBC701BA}"/>
              </a:ext>
            </a:extLst>
          </p:cNvPr>
          <p:cNvCxnSpPr>
            <a:cxnSpLocks/>
          </p:cNvCxnSpPr>
          <p:nvPr/>
        </p:nvCxnSpPr>
        <p:spPr bwMode="auto">
          <a:xfrm>
            <a:off x="4953795" y="5143500"/>
            <a:ext cx="523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9" name="Oval 138">
            <a:extLst>
              <a:ext uri="{FF2B5EF4-FFF2-40B4-BE49-F238E27FC236}">
                <a16:creationId xmlns:a16="http://schemas.microsoft.com/office/drawing/2014/main" id="{5893D0A3-D07B-458F-BA1E-662FC9EF92B4}"/>
              </a:ext>
            </a:extLst>
          </p:cNvPr>
          <p:cNvSpPr/>
          <p:nvPr/>
        </p:nvSpPr>
        <p:spPr bwMode="auto">
          <a:xfrm>
            <a:off x="5463383" y="4948238"/>
            <a:ext cx="385762" cy="385762"/>
          </a:xfrm>
          <a:prstGeom prst="ellipse">
            <a:avLst/>
          </a:prstGeom>
          <a:noFill/>
          <a:ln w="28575">
            <a:solidFill>
              <a:schemeClr val="accent5"/>
            </a:solidFill>
            <a:round/>
            <a:headEnd/>
            <a:tailEnd/>
          </a:ln>
        </p:spPr>
        <p:txBody>
          <a:bodyPr wrap="square" lIns="0" tIns="72000" rIns="0" bIns="0" rtlCol="0" anchor="t">
            <a:noAutofit/>
          </a:bodyPr>
          <a:lstStyle/>
          <a:p>
            <a:endParaRPr lang="da-DK" sz="9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8535F09B-6ECC-4732-9159-602075F0117F}"/>
              </a:ext>
            </a:extLst>
          </p:cNvPr>
          <p:cNvSpPr/>
          <p:nvPr/>
        </p:nvSpPr>
        <p:spPr>
          <a:xfrm>
            <a:off x="5449094" y="5018009"/>
            <a:ext cx="43954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000" b="1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33%</a:t>
            </a:r>
          </a:p>
        </p:txBody>
      </p:sp>
      <p:pic>
        <p:nvPicPr>
          <p:cNvPr id="57" name="Graphic 56" descr="Puzzle">
            <a:extLst>
              <a:ext uri="{FF2B5EF4-FFF2-40B4-BE49-F238E27FC236}">
                <a16:creationId xmlns:a16="http://schemas.microsoft.com/office/drawing/2014/main" id="{36826A18-F59A-4E05-A743-A8BF601D01C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2715362">
            <a:off x="4311986" y="5938494"/>
            <a:ext cx="460350" cy="460350"/>
          </a:xfrm>
          <a:prstGeom prst="rect">
            <a:avLst/>
          </a:prstGeom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431B2784-EF0B-43F7-B033-002650CD474A}"/>
              </a:ext>
            </a:extLst>
          </p:cNvPr>
          <p:cNvSpPr/>
          <p:nvPr/>
        </p:nvSpPr>
        <p:spPr bwMode="auto">
          <a:xfrm>
            <a:off x="7118321" y="5374107"/>
            <a:ext cx="524821" cy="334885"/>
          </a:xfrm>
          <a:custGeom>
            <a:avLst/>
            <a:gdLst>
              <a:gd name="connsiteX0" fmla="*/ 0 w 250031"/>
              <a:gd name="connsiteY0" fmla="*/ 50006 h 159544"/>
              <a:gd name="connsiteX1" fmla="*/ 57150 w 250031"/>
              <a:gd name="connsiteY1" fmla="*/ 4762 h 159544"/>
              <a:gd name="connsiteX2" fmla="*/ 190500 w 250031"/>
              <a:gd name="connsiteY2" fmla="*/ 0 h 159544"/>
              <a:gd name="connsiteX3" fmla="*/ 250031 w 250031"/>
              <a:gd name="connsiteY3" fmla="*/ 80962 h 159544"/>
              <a:gd name="connsiteX4" fmla="*/ 192881 w 250031"/>
              <a:gd name="connsiteY4" fmla="*/ 159544 h 159544"/>
              <a:gd name="connsiteX5" fmla="*/ 9525 w 250031"/>
              <a:gd name="connsiteY5" fmla="*/ 135731 h 159544"/>
              <a:gd name="connsiteX6" fmla="*/ 0 w 250031"/>
              <a:gd name="connsiteY6" fmla="*/ 50006 h 15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031" h="159544">
                <a:moveTo>
                  <a:pt x="0" y="50006"/>
                </a:moveTo>
                <a:lnTo>
                  <a:pt x="57150" y="4762"/>
                </a:lnTo>
                <a:lnTo>
                  <a:pt x="190500" y="0"/>
                </a:lnTo>
                <a:lnTo>
                  <a:pt x="250031" y="80962"/>
                </a:lnTo>
                <a:lnTo>
                  <a:pt x="192881" y="159544"/>
                </a:lnTo>
                <a:lnTo>
                  <a:pt x="9525" y="135731"/>
                </a:lnTo>
                <a:lnTo>
                  <a:pt x="0" y="50006"/>
                </a:lnTo>
                <a:close/>
              </a:path>
            </a:pathLst>
          </a:custGeom>
          <a:gradFill>
            <a:gsLst>
              <a:gs pos="0">
                <a:srgbClr val="7C4848"/>
              </a:gs>
              <a:gs pos="100000">
                <a:srgbClr val="A56363"/>
              </a:gs>
            </a:gsLst>
            <a:lin ang="21594000" scaled="0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5F01CB1A-3FDB-4748-B5CE-E89F93B578FA}"/>
              </a:ext>
            </a:extLst>
          </p:cNvPr>
          <p:cNvSpPr/>
          <p:nvPr/>
        </p:nvSpPr>
        <p:spPr bwMode="auto">
          <a:xfrm>
            <a:off x="6870495" y="5427537"/>
            <a:ext cx="1013288" cy="503710"/>
          </a:xfrm>
          <a:custGeom>
            <a:avLst/>
            <a:gdLst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02 w 669602"/>
              <a:gd name="connsiteY0" fmla="*/ 271462 h 328612"/>
              <a:gd name="connsiteX1" fmla="*/ 669602 w 669602"/>
              <a:gd name="connsiteY1" fmla="*/ 276225 h 328612"/>
              <a:gd name="connsiteX2" fmla="*/ 505296 w 669602"/>
              <a:gd name="connsiteY2" fmla="*/ 9525 h 328612"/>
              <a:gd name="connsiteX3" fmla="*/ 348133 w 669602"/>
              <a:gd name="connsiteY3" fmla="*/ 92868 h 328612"/>
              <a:gd name="connsiteX4" fmla="*/ 176683 w 669602"/>
              <a:gd name="connsiteY4" fmla="*/ 0 h 328612"/>
              <a:gd name="connsiteX5" fmla="*/ 471 w 669602"/>
              <a:gd name="connsiteY5" fmla="*/ 285750 h 328612"/>
              <a:gd name="connsiteX6" fmla="*/ 114771 w 669602"/>
              <a:gd name="connsiteY6" fmla="*/ 271462 h 328612"/>
              <a:gd name="connsiteX7" fmla="*/ 114771 w 669602"/>
              <a:gd name="connsiteY7" fmla="*/ 328612 h 328612"/>
              <a:gd name="connsiteX8" fmla="*/ 560064 w 669602"/>
              <a:gd name="connsiteY8" fmla="*/ 328612 h 328612"/>
              <a:gd name="connsiteX9" fmla="*/ 555302 w 669602"/>
              <a:gd name="connsiteY9" fmla="*/ 271462 h 328612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81484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6227 w 669602"/>
              <a:gd name="connsiteY3" fmla="*/ 100012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259 w 669559"/>
              <a:gd name="connsiteY0" fmla="*/ 273844 h 330994"/>
              <a:gd name="connsiteX1" fmla="*/ 669559 w 669559"/>
              <a:gd name="connsiteY1" fmla="*/ 278607 h 330994"/>
              <a:gd name="connsiteX2" fmla="*/ 490966 w 669559"/>
              <a:gd name="connsiteY2" fmla="*/ 0 h 330994"/>
              <a:gd name="connsiteX3" fmla="*/ 338565 w 669559"/>
              <a:gd name="connsiteY3" fmla="*/ 95250 h 330994"/>
              <a:gd name="connsiteX4" fmla="*/ 183254 w 669559"/>
              <a:gd name="connsiteY4" fmla="*/ 2382 h 330994"/>
              <a:gd name="connsiteX5" fmla="*/ 428 w 669559"/>
              <a:gd name="connsiteY5" fmla="*/ 288132 h 330994"/>
              <a:gd name="connsiteX6" fmla="*/ 114728 w 669559"/>
              <a:gd name="connsiteY6" fmla="*/ 273844 h 330994"/>
              <a:gd name="connsiteX7" fmla="*/ 114728 w 669559"/>
              <a:gd name="connsiteY7" fmla="*/ 330994 h 330994"/>
              <a:gd name="connsiteX8" fmla="*/ 560021 w 669559"/>
              <a:gd name="connsiteY8" fmla="*/ 330994 h 330994"/>
              <a:gd name="connsiteX9" fmla="*/ 555259 w 669559"/>
              <a:gd name="connsiteY9" fmla="*/ 273844 h 330994"/>
              <a:gd name="connsiteX0" fmla="*/ 555294 w 669594"/>
              <a:gd name="connsiteY0" fmla="*/ 273844 h 330994"/>
              <a:gd name="connsiteX1" fmla="*/ 669594 w 669594"/>
              <a:gd name="connsiteY1" fmla="*/ 278607 h 330994"/>
              <a:gd name="connsiteX2" fmla="*/ 491001 w 669594"/>
              <a:gd name="connsiteY2" fmla="*/ 0 h 330994"/>
              <a:gd name="connsiteX3" fmla="*/ 338600 w 669594"/>
              <a:gd name="connsiteY3" fmla="*/ 95250 h 330994"/>
              <a:gd name="connsiteX4" fmla="*/ 177620 w 669594"/>
              <a:gd name="connsiteY4" fmla="*/ 2382 h 330994"/>
              <a:gd name="connsiteX5" fmla="*/ 463 w 669594"/>
              <a:gd name="connsiteY5" fmla="*/ 288132 h 330994"/>
              <a:gd name="connsiteX6" fmla="*/ 114763 w 669594"/>
              <a:gd name="connsiteY6" fmla="*/ 273844 h 330994"/>
              <a:gd name="connsiteX7" fmla="*/ 114763 w 669594"/>
              <a:gd name="connsiteY7" fmla="*/ 330994 h 330994"/>
              <a:gd name="connsiteX8" fmla="*/ 560056 w 669594"/>
              <a:gd name="connsiteY8" fmla="*/ 330994 h 330994"/>
              <a:gd name="connsiteX9" fmla="*/ 555294 w 669594"/>
              <a:gd name="connsiteY9" fmla="*/ 273844 h 330994"/>
              <a:gd name="connsiteX0" fmla="*/ 555294 w 669594"/>
              <a:gd name="connsiteY0" fmla="*/ 273844 h 330994"/>
              <a:gd name="connsiteX1" fmla="*/ 669594 w 669594"/>
              <a:gd name="connsiteY1" fmla="*/ 278607 h 330994"/>
              <a:gd name="connsiteX2" fmla="*/ 491001 w 669594"/>
              <a:gd name="connsiteY2" fmla="*/ 0 h 330994"/>
              <a:gd name="connsiteX3" fmla="*/ 335766 w 669594"/>
              <a:gd name="connsiteY3" fmla="*/ 95250 h 330994"/>
              <a:gd name="connsiteX4" fmla="*/ 177620 w 669594"/>
              <a:gd name="connsiteY4" fmla="*/ 2382 h 330994"/>
              <a:gd name="connsiteX5" fmla="*/ 463 w 669594"/>
              <a:gd name="connsiteY5" fmla="*/ 288132 h 330994"/>
              <a:gd name="connsiteX6" fmla="*/ 114763 w 669594"/>
              <a:gd name="connsiteY6" fmla="*/ 273844 h 330994"/>
              <a:gd name="connsiteX7" fmla="*/ 114763 w 669594"/>
              <a:gd name="connsiteY7" fmla="*/ 330994 h 330994"/>
              <a:gd name="connsiteX8" fmla="*/ 560056 w 669594"/>
              <a:gd name="connsiteY8" fmla="*/ 330994 h 330994"/>
              <a:gd name="connsiteX9" fmla="*/ 555294 w 669594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11012 w 665843"/>
              <a:gd name="connsiteY6" fmla="*/ 273844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20460 w 665843"/>
              <a:gd name="connsiteY6" fmla="*/ 260616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10067 w 665843"/>
              <a:gd name="connsiteY6" fmla="*/ 261561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5843" h="330994">
                <a:moveTo>
                  <a:pt x="551543" y="273844"/>
                </a:moveTo>
                <a:lnTo>
                  <a:pt x="665843" y="278607"/>
                </a:lnTo>
                <a:cubicBezTo>
                  <a:pt x="653936" y="120651"/>
                  <a:pt x="625362" y="72231"/>
                  <a:pt x="487250" y="0"/>
                </a:cubicBezTo>
                <a:cubicBezTo>
                  <a:pt x="484869" y="41275"/>
                  <a:pt x="384245" y="94853"/>
                  <a:pt x="332015" y="95250"/>
                </a:cubicBezTo>
                <a:cubicBezTo>
                  <a:pt x="279785" y="95647"/>
                  <a:pt x="210381" y="80170"/>
                  <a:pt x="173869" y="2382"/>
                </a:cubicBezTo>
                <a:cubicBezTo>
                  <a:pt x="49250" y="65882"/>
                  <a:pt x="-5859" y="145260"/>
                  <a:pt x="491" y="268291"/>
                </a:cubicBezTo>
                <a:lnTo>
                  <a:pt x="110067" y="261561"/>
                </a:lnTo>
                <a:lnTo>
                  <a:pt x="111012" y="330994"/>
                </a:lnTo>
                <a:lnTo>
                  <a:pt x="556305" y="330994"/>
                </a:lnTo>
                <a:lnTo>
                  <a:pt x="551543" y="2738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034CA781-8DF9-4544-8153-FF3A6DD0AF06}"/>
              </a:ext>
            </a:extLst>
          </p:cNvPr>
          <p:cNvSpPr/>
          <p:nvPr/>
        </p:nvSpPr>
        <p:spPr bwMode="auto">
          <a:xfrm>
            <a:off x="7035117" y="5402170"/>
            <a:ext cx="682659" cy="887834"/>
          </a:xfrm>
          <a:custGeom>
            <a:avLst/>
            <a:gdLst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0 w 442913"/>
              <a:gd name="connsiteY15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1431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5748"/>
              <a:gd name="connsiteY0" fmla="*/ 340519 h 583407"/>
              <a:gd name="connsiteX1" fmla="*/ 16669 w 445748"/>
              <a:gd name="connsiteY1" fmla="*/ 583407 h 583407"/>
              <a:gd name="connsiteX2" fmla="*/ 438150 w 445748"/>
              <a:gd name="connsiteY2" fmla="*/ 583407 h 583407"/>
              <a:gd name="connsiteX3" fmla="*/ 445748 w 445748"/>
              <a:gd name="connsiteY3" fmla="*/ 340519 h 583407"/>
              <a:gd name="connsiteX4" fmla="*/ 404813 w 445748"/>
              <a:gd name="connsiteY4" fmla="*/ 340519 h 583407"/>
              <a:gd name="connsiteX5" fmla="*/ 402431 w 445748"/>
              <a:gd name="connsiteY5" fmla="*/ 221457 h 583407"/>
              <a:gd name="connsiteX6" fmla="*/ 369094 w 445748"/>
              <a:gd name="connsiteY6" fmla="*/ 221457 h 583407"/>
              <a:gd name="connsiteX7" fmla="*/ 376238 w 445748"/>
              <a:gd name="connsiteY7" fmla="*/ 14288 h 583407"/>
              <a:gd name="connsiteX8" fmla="*/ 333375 w 445748"/>
              <a:gd name="connsiteY8" fmla="*/ 0 h 583407"/>
              <a:gd name="connsiteX9" fmla="*/ 335756 w 445748"/>
              <a:gd name="connsiteY9" fmla="*/ 228600 h 583407"/>
              <a:gd name="connsiteX10" fmla="*/ 111919 w 445748"/>
              <a:gd name="connsiteY10" fmla="*/ 228600 h 583407"/>
              <a:gd name="connsiteX11" fmla="*/ 107156 w 445748"/>
              <a:gd name="connsiteY11" fmla="*/ 7144 h 583407"/>
              <a:gd name="connsiteX12" fmla="*/ 64294 w 445748"/>
              <a:gd name="connsiteY12" fmla="*/ 19050 h 583407"/>
              <a:gd name="connsiteX13" fmla="*/ 64294 w 445748"/>
              <a:gd name="connsiteY13" fmla="*/ 223838 h 583407"/>
              <a:gd name="connsiteX14" fmla="*/ 33338 w 445748"/>
              <a:gd name="connsiteY14" fmla="*/ 223838 h 583407"/>
              <a:gd name="connsiteX15" fmla="*/ 28575 w 445748"/>
              <a:gd name="connsiteY15" fmla="*/ 340519 h 583407"/>
              <a:gd name="connsiteX16" fmla="*/ 0 w 445748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36173 w 448583"/>
              <a:gd name="connsiteY14" fmla="*/ 223838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36173 w 448583"/>
              <a:gd name="connsiteY14" fmla="*/ 223838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583" h="583407">
                <a:moveTo>
                  <a:pt x="0" y="340519"/>
                </a:moveTo>
                <a:lnTo>
                  <a:pt x="19504" y="583407"/>
                </a:lnTo>
                <a:lnTo>
                  <a:pt x="440985" y="583407"/>
                </a:lnTo>
                <a:cubicBezTo>
                  <a:pt x="442573" y="502444"/>
                  <a:pt x="446995" y="421482"/>
                  <a:pt x="448583" y="340519"/>
                </a:cubicBezTo>
                <a:lnTo>
                  <a:pt x="407648" y="340519"/>
                </a:lnTo>
                <a:lnTo>
                  <a:pt x="405266" y="221457"/>
                </a:lnTo>
                <a:lnTo>
                  <a:pt x="368150" y="229016"/>
                </a:lnTo>
                <a:lnTo>
                  <a:pt x="379073" y="14288"/>
                </a:lnTo>
                <a:lnTo>
                  <a:pt x="336210" y="0"/>
                </a:lnTo>
                <a:cubicBezTo>
                  <a:pt x="337004" y="76200"/>
                  <a:pt x="337797" y="152400"/>
                  <a:pt x="338591" y="228600"/>
                </a:cubicBezTo>
                <a:lnTo>
                  <a:pt x="114754" y="228600"/>
                </a:lnTo>
                <a:cubicBezTo>
                  <a:pt x="113166" y="154781"/>
                  <a:pt x="98351" y="88522"/>
                  <a:pt x="109991" y="7144"/>
                </a:cubicBezTo>
                <a:lnTo>
                  <a:pt x="67129" y="19050"/>
                </a:lnTo>
                <a:lnTo>
                  <a:pt x="66184" y="229507"/>
                </a:lnTo>
                <a:lnTo>
                  <a:pt x="29559" y="226672"/>
                </a:lnTo>
                <a:cubicBezTo>
                  <a:pt x="30427" y="263146"/>
                  <a:pt x="31448" y="303061"/>
                  <a:pt x="31410" y="340519"/>
                </a:cubicBezTo>
                <a:lnTo>
                  <a:pt x="0" y="340519"/>
                </a:lnTo>
                <a:close/>
              </a:path>
            </a:pathLst>
          </a:cu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AC3DD0A4-C4C4-43C7-9E13-232A1ED06EEE}"/>
              </a:ext>
            </a:extLst>
          </p:cNvPr>
          <p:cNvSpPr/>
          <p:nvPr/>
        </p:nvSpPr>
        <p:spPr bwMode="auto">
          <a:xfrm flipH="1">
            <a:off x="7437809" y="5844849"/>
            <a:ext cx="438081" cy="531615"/>
          </a:xfrm>
          <a:custGeom>
            <a:avLst/>
            <a:gdLst>
              <a:gd name="connsiteX0" fmla="*/ 28575 w 338138"/>
              <a:gd name="connsiteY0" fmla="*/ 19050 h 357187"/>
              <a:gd name="connsiteX1" fmla="*/ 0 w 338138"/>
              <a:gd name="connsiteY1" fmla="*/ 207168 h 357187"/>
              <a:gd name="connsiteX2" fmla="*/ 121444 w 338138"/>
              <a:gd name="connsiteY2" fmla="*/ 300037 h 357187"/>
              <a:gd name="connsiteX3" fmla="*/ 278607 w 338138"/>
              <a:gd name="connsiteY3" fmla="*/ 357187 h 357187"/>
              <a:gd name="connsiteX4" fmla="*/ 338138 w 338138"/>
              <a:gd name="connsiteY4" fmla="*/ 278606 h 357187"/>
              <a:gd name="connsiteX5" fmla="*/ 92869 w 338138"/>
              <a:gd name="connsiteY5" fmla="*/ 173831 h 357187"/>
              <a:gd name="connsiteX6" fmla="*/ 128588 w 338138"/>
              <a:gd name="connsiteY6" fmla="*/ 0 h 357187"/>
              <a:gd name="connsiteX7" fmla="*/ 28575 w 338138"/>
              <a:gd name="connsiteY7" fmla="*/ 19050 h 357187"/>
              <a:gd name="connsiteX0" fmla="*/ 28575 w 338138"/>
              <a:gd name="connsiteY0" fmla="*/ 4762 h 342899"/>
              <a:gd name="connsiteX1" fmla="*/ 0 w 338138"/>
              <a:gd name="connsiteY1" fmla="*/ 192880 h 342899"/>
              <a:gd name="connsiteX2" fmla="*/ 121444 w 338138"/>
              <a:gd name="connsiteY2" fmla="*/ 285749 h 342899"/>
              <a:gd name="connsiteX3" fmla="*/ 278607 w 338138"/>
              <a:gd name="connsiteY3" fmla="*/ 342899 h 342899"/>
              <a:gd name="connsiteX4" fmla="*/ 338138 w 338138"/>
              <a:gd name="connsiteY4" fmla="*/ 264318 h 342899"/>
              <a:gd name="connsiteX5" fmla="*/ 92869 w 338138"/>
              <a:gd name="connsiteY5" fmla="*/ 159543 h 342899"/>
              <a:gd name="connsiteX6" fmla="*/ 126207 w 338138"/>
              <a:gd name="connsiteY6" fmla="*/ 0 h 342899"/>
              <a:gd name="connsiteX7" fmla="*/ 28575 w 338138"/>
              <a:gd name="connsiteY7" fmla="*/ 4762 h 342899"/>
              <a:gd name="connsiteX0" fmla="*/ 28575 w 338138"/>
              <a:gd name="connsiteY0" fmla="*/ 9525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28575 w 338138"/>
              <a:gd name="connsiteY7" fmla="*/ 9525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76640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54734"/>
              <a:gd name="connsiteY0" fmla="*/ 7144 h 347662"/>
              <a:gd name="connsiteX1" fmla="*/ 0 w 354734"/>
              <a:gd name="connsiteY1" fmla="*/ 197643 h 347662"/>
              <a:gd name="connsiteX2" fmla="*/ 114300 w 354734"/>
              <a:gd name="connsiteY2" fmla="*/ 280987 h 347662"/>
              <a:gd name="connsiteX3" fmla="*/ 278607 w 354734"/>
              <a:gd name="connsiteY3" fmla="*/ 347662 h 347662"/>
              <a:gd name="connsiteX4" fmla="*/ 338138 w 354734"/>
              <a:gd name="connsiteY4" fmla="*/ 276640 h 347662"/>
              <a:gd name="connsiteX5" fmla="*/ 109537 w 354734"/>
              <a:gd name="connsiteY5" fmla="*/ 161925 h 347662"/>
              <a:gd name="connsiteX6" fmla="*/ 130970 w 354734"/>
              <a:gd name="connsiteY6" fmla="*/ 0 h 347662"/>
              <a:gd name="connsiteX7" fmla="*/ 30956 w 354734"/>
              <a:gd name="connsiteY7" fmla="*/ 7144 h 347662"/>
              <a:gd name="connsiteX0" fmla="*/ 30956 w 345861"/>
              <a:gd name="connsiteY0" fmla="*/ 7144 h 347662"/>
              <a:gd name="connsiteX1" fmla="*/ 0 w 345861"/>
              <a:gd name="connsiteY1" fmla="*/ 197643 h 347662"/>
              <a:gd name="connsiteX2" fmla="*/ 114300 w 345861"/>
              <a:gd name="connsiteY2" fmla="*/ 280987 h 347662"/>
              <a:gd name="connsiteX3" fmla="*/ 278607 w 345861"/>
              <a:gd name="connsiteY3" fmla="*/ 347662 h 347662"/>
              <a:gd name="connsiteX4" fmla="*/ 338138 w 345861"/>
              <a:gd name="connsiteY4" fmla="*/ 276640 h 347662"/>
              <a:gd name="connsiteX5" fmla="*/ 109537 w 345861"/>
              <a:gd name="connsiteY5" fmla="*/ 161925 h 347662"/>
              <a:gd name="connsiteX6" fmla="*/ 130970 w 345861"/>
              <a:gd name="connsiteY6" fmla="*/ 0 h 347662"/>
              <a:gd name="connsiteX7" fmla="*/ 30956 w 345861"/>
              <a:gd name="connsiteY7" fmla="*/ 7144 h 347662"/>
              <a:gd name="connsiteX0" fmla="*/ 30956 w 342311"/>
              <a:gd name="connsiteY0" fmla="*/ 7144 h 347662"/>
              <a:gd name="connsiteX1" fmla="*/ 0 w 342311"/>
              <a:gd name="connsiteY1" fmla="*/ 197643 h 347662"/>
              <a:gd name="connsiteX2" fmla="*/ 114300 w 342311"/>
              <a:gd name="connsiteY2" fmla="*/ 280987 h 347662"/>
              <a:gd name="connsiteX3" fmla="*/ 278607 w 342311"/>
              <a:gd name="connsiteY3" fmla="*/ 347662 h 347662"/>
              <a:gd name="connsiteX4" fmla="*/ 338138 w 342311"/>
              <a:gd name="connsiteY4" fmla="*/ 276640 h 347662"/>
              <a:gd name="connsiteX5" fmla="*/ 109537 w 342311"/>
              <a:gd name="connsiteY5" fmla="*/ 161925 h 347662"/>
              <a:gd name="connsiteX6" fmla="*/ 130970 w 342311"/>
              <a:gd name="connsiteY6" fmla="*/ 0 h 347662"/>
              <a:gd name="connsiteX7" fmla="*/ 30956 w 342311"/>
              <a:gd name="connsiteY7" fmla="*/ 7144 h 347662"/>
              <a:gd name="connsiteX0" fmla="*/ 30956 w 346077"/>
              <a:gd name="connsiteY0" fmla="*/ 7144 h 347662"/>
              <a:gd name="connsiteX1" fmla="*/ 0 w 346077"/>
              <a:gd name="connsiteY1" fmla="*/ 197643 h 347662"/>
              <a:gd name="connsiteX2" fmla="*/ 114300 w 346077"/>
              <a:gd name="connsiteY2" fmla="*/ 280987 h 347662"/>
              <a:gd name="connsiteX3" fmla="*/ 278607 w 346077"/>
              <a:gd name="connsiteY3" fmla="*/ 347662 h 347662"/>
              <a:gd name="connsiteX4" fmla="*/ 338138 w 346077"/>
              <a:gd name="connsiteY4" fmla="*/ 276640 h 347662"/>
              <a:gd name="connsiteX5" fmla="*/ 119930 w 346077"/>
              <a:gd name="connsiteY5" fmla="*/ 167594 h 347662"/>
              <a:gd name="connsiteX6" fmla="*/ 130970 w 346077"/>
              <a:gd name="connsiteY6" fmla="*/ 0 h 347662"/>
              <a:gd name="connsiteX7" fmla="*/ 30956 w 346077"/>
              <a:gd name="connsiteY7" fmla="*/ 7144 h 347662"/>
              <a:gd name="connsiteX0" fmla="*/ 30956 w 345219"/>
              <a:gd name="connsiteY0" fmla="*/ 7144 h 347662"/>
              <a:gd name="connsiteX1" fmla="*/ 0 w 345219"/>
              <a:gd name="connsiteY1" fmla="*/ 197643 h 347662"/>
              <a:gd name="connsiteX2" fmla="*/ 114300 w 345219"/>
              <a:gd name="connsiteY2" fmla="*/ 280987 h 347662"/>
              <a:gd name="connsiteX3" fmla="*/ 278607 w 345219"/>
              <a:gd name="connsiteY3" fmla="*/ 347662 h 347662"/>
              <a:gd name="connsiteX4" fmla="*/ 338138 w 345219"/>
              <a:gd name="connsiteY4" fmla="*/ 276640 h 347662"/>
              <a:gd name="connsiteX5" fmla="*/ 133157 w 345219"/>
              <a:gd name="connsiteY5" fmla="*/ 192160 h 347662"/>
              <a:gd name="connsiteX6" fmla="*/ 130970 w 345219"/>
              <a:gd name="connsiteY6" fmla="*/ 0 h 347662"/>
              <a:gd name="connsiteX7" fmla="*/ 30956 w 345219"/>
              <a:gd name="connsiteY7" fmla="*/ 7144 h 347662"/>
              <a:gd name="connsiteX0" fmla="*/ 30956 w 345401"/>
              <a:gd name="connsiteY0" fmla="*/ 7144 h 347662"/>
              <a:gd name="connsiteX1" fmla="*/ 0 w 345401"/>
              <a:gd name="connsiteY1" fmla="*/ 197643 h 347662"/>
              <a:gd name="connsiteX2" fmla="*/ 114300 w 345401"/>
              <a:gd name="connsiteY2" fmla="*/ 280987 h 347662"/>
              <a:gd name="connsiteX3" fmla="*/ 278607 w 345401"/>
              <a:gd name="connsiteY3" fmla="*/ 347662 h 347662"/>
              <a:gd name="connsiteX4" fmla="*/ 338138 w 345401"/>
              <a:gd name="connsiteY4" fmla="*/ 276640 h 347662"/>
              <a:gd name="connsiteX5" fmla="*/ 130323 w 345401"/>
              <a:gd name="connsiteY5" fmla="*/ 191215 h 347662"/>
              <a:gd name="connsiteX6" fmla="*/ 130970 w 345401"/>
              <a:gd name="connsiteY6" fmla="*/ 0 h 347662"/>
              <a:gd name="connsiteX7" fmla="*/ 30956 w 345401"/>
              <a:gd name="connsiteY7" fmla="*/ 7144 h 347662"/>
              <a:gd name="connsiteX0" fmla="*/ 30956 w 345524"/>
              <a:gd name="connsiteY0" fmla="*/ 7144 h 347662"/>
              <a:gd name="connsiteX1" fmla="*/ 0 w 345524"/>
              <a:gd name="connsiteY1" fmla="*/ 197643 h 347662"/>
              <a:gd name="connsiteX2" fmla="*/ 114300 w 345524"/>
              <a:gd name="connsiteY2" fmla="*/ 280987 h 347662"/>
              <a:gd name="connsiteX3" fmla="*/ 278607 w 345524"/>
              <a:gd name="connsiteY3" fmla="*/ 347662 h 347662"/>
              <a:gd name="connsiteX4" fmla="*/ 338138 w 345524"/>
              <a:gd name="connsiteY4" fmla="*/ 276640 h 347662"/>
              <a:gd name="connsiteX5" fmla="*/ 128433 w 345524"/>
              <a:gd name="connsiteY5" fmla="*/ 187435 h 347662"/>
              <a:gd name="connsiteX6" fmla="*/ 130970 w 345524"/>
              <a:gd name="connsiteY6" fmla="*/ 0 h 347662"/>
              <a:gd name="connsiteX7" fmla="*/ 30956 w 345524"/>
              <a:gd name="connsiteY7" fmla="*/ 7144 h 347662"/>
              <a:gd name="connsiteX0" fmla="*/ 13004 w 327572"/>
              <a:gd name="connsiteY0" fmla="*/ 7144 h 347662"/>
              <a:gd name="connsiteX1" fmla="*/ 0 w 327572"/>
              <a:gd name="connsiteY1" fmla="*/ 199533 h 347662"/>
              <a:gd name="connsiteX2" fmla="*/ 96348 w 327572"/>
              <a:gd name="connsiteY2" fmla="*/ 280987 h 347662"/>
              <a:gd name="connsiteX3" fmla="*/ 260655 w 327572"/>
              <a:gd name="connsiteY3" fmla="*/ 347662 h 347662"/>
              <a:gd name="connsiteX4" fmla="*/ 320186 w 327572"/>
              <a:gd name="connsiteY4" fmla="*/ 276640 h 347662"/>
              <a:gd name="connsiteX5" fmla="*/ 110481 w 327572"/>
              <a:gd name="connsiteY5" fmla="*/ 187435 h 347662"/>
              <a:gd name="connsiteX6" fmla="*/ 113018 w 327572"/>
              <a:gd name="connsiteY6" fmla="*/ 0 h 347662"/>
              <a:gd name="connsiteX7" fmla="*/ 13004 w 327572"/>
              <a:gd name="connsiteY7" fmla="*/ 7144 h 347662"/>
              <a:gd name="connsiteX0" fmla="*/ 20002 w 334570"/>
              <a:gd name="connsiteY0" fmla="*/ 7144 h 347662"/>
              <a:gd name="connsiteX1" fmla="*/ 6998 w 334570"/>
              <a:gd name="connsiteY1" fmla="*/ 199533 h 347662"/>
              <a:gd name="connsiteX2" fmla="*/ 103346 w 334570"/>
              <a:gd name="connsiteY2" fmla="*/ 280987 h 347662"/>
              <a:gd name="connsiteX3" fmla="*/ 267653 w 334570"/>
              <a:gd name="connsiteY3" fmla="*/ 347662 h 347662"/>
              <a:gd name="connsiteX4" fmla="*/ 327184 w 334570"/>
              <a:gd name="connsiteY4" fmla="*/ 276640 h 347662"/>
              <a:gd name="connsiteX5" fmla="*/ 117479 w 334570"/>
              <a:gd name="connsiteY5" fmla="*/ 187435 h 347662"/>
              <a:gd name="connsiteX6" fmla="*/ 120016 w 334570"/>
              <a:gd name="connsiteY6" fmla="*/ 0 h 347662"/>
              <a:gd name="connsiteX7" fmla="*/ 20002 w 334570"/>
              <a:gd name="connsiteY7" fmla="*/ 7144 h 347662"/>
              <a:gd name="connsiteX0" fmla="*/ 11083 w 325651"/>
              <a:gd name="connsiteY0" fmla="*/ 7144 h 347662"/>
              <a:gd name="connsiteX1" fmla="*/ 14142 w 325651"/>
              <a:gd name="connsiteY1" fmla="*/ 200478 h 347662"/>
              <a:gd name="connsiteX2" fmla="*/ 94427 w 325651"/>
              <a:gd name="connsiteY2" fmla="*/ 280987 h 347662"/>
              <a:gd name="connsiteX3" fmla="*/ 258734 w 325651"/>
              <a:gd name="connsiteY3" fmla="*/ 347662 h 347662"/>
              <a:gd name="connsiteX4" fmla="*/ 318265 w 325651"/>
              <a:gd name="connsiteY4" fmla="*/ 276640 h 347662"/>
              <a:gd name="connsiteX5" fmla="*/ 108560 w 325651"/>
              <a:gd name="connsiteY5" fmla="*/ 187435 h 347662"/>
              <a:gd name="connsiteX6" fmla="*/ 111097 w 325651"/>
              <a:gd name="connsiteY6" fmla="*/ 0 h 347662"/>
              <a:gd name="connsiteX7" fmla="*/ 11083 w 325651"/>
              <a:gd name="connsiteY7" fmla="*/ 7144 h 347662"/>
              <a:gd name="connsiteX0" fmla="*/ 8706 w 323274"/>
              <a:gd name="connsiteY0" fmla="*/ 7144 h 347662"/>
              <a:gd name="connsiteX1" fmla="*/ 19324 w 323274"/>
              <a:gd name="connsiteY1" fmla="*/ 204257 h 347662"/>
              <a:gd name="connsiteX2" fmla="*/ 92050 w 323274"/>
              <a:gd name="connsiteY2" fmla="*/ 280987 h 347662"/>
              <a:gd name="connsiteX3" fmla="*/ 256357 w 323274"/>
              <a:gd name="connsiteY3" fmla="*/ 347662 h 347662"/>
              <a:gd name="connsiteX4" fmla="*/ 315888 w 323274"/>
              <a:gd name="connsiteY4" fmla="*/ 276640 h 347662"/>
              <a:gd name="connsiteX5" fmla="*/ 106183 w 323274"/>
              <a:gd name="connsiteY5" fmla="*/ 187435 h 347662"/>
              <a:gd name="connsiteX6" fmla="*/ 108720 w 323274"/>
              <a:gd name="connsiteY6" fmla="*/ 0 h 347662"/>
              <a:gd name="connsiteX7" fmla="*/ 8706 w 323274"/>
              <a:gd name="connsiteY7" fmla="*/ 7144 h 347662"/>
              <a:gd name="connsiteX0" fmla="*/ 7261 w 321829"/>
              <a:gd name="connsiteY0" fmla="*/ 7144 h 347662"/>
              <a:gd name="connsiteX1" fmla="*/ 24493 w 321829"/>
              <a:gd name="connsiteY1" fmla="*/ 204257 h 347662"/>
              <a:gd name="connsiteX2" fmla="*/ 90605 w 321829"/>
              <a:gd name="connsiteY2" fmla="*/ 280987 h 347662"/>
              <a:gd name="connsiteX3" fmla="*/ 254912 w 321829"/>
              <a:gd name="connsiteY3" fmla="*/ 347662 h 347662"/>
              <a:gd name="connsiteX4" fmla="*/ 314443 w 321829"/>
              <a:gd name="connsiteY4" fmla="*/ 276640 h 347662"/>
              <a:gd name="connsiteX5" fmla="*/ 104738 w 321829"/>
              <a:gd name="connsiteY5" fmla="*/ 187435 h 347662"/>
              <a:gd name="connsiteX6" fmla="*/ 107275 w 321829"/>
              <a:gd name="connsiteY6" fmla="*/ 0 h 347662"/>
              <a:gd name="connsiteX7" fmla="*/ 7261 w 321829"/>
              <a:gd name="connsiteY7" fmla="*/ 7144 h 347662"/>
              <a:gd name="connsiteX0" fmla="*/ 8243 w 322811"/>
              <a:gd name="connsiteY0" fmla="*/ 7144 h 347662"/>
              <a:gd name="connsiteX1" fmla="*/ 20751 w 322811"/>
              <a:gd name="connsiteY1" fmla="*/ 204257 h 347662"/>
              <a:gd name="connsiteX2" fmla="*/ 91587 w 322811"/>
              <a:gd name="connsiteY2" fmla="*/ 280987 h 347662"/>
              <a:gd name="connsiteX3" fmla="*/ 255894 w 322811"/>
              <a:gd name="connsiteY3" fmla="*/ 347662 h 347662"/>
              <a:gd name="connsiteX4" fmla="*/ 315425 w 322811"/>
              <a:gd name="connsiteY4" fmla="*/ 276640 h 347662"/>
              <a:gd name="connsiteX5" fmla="*/ 105720 w 322811"/>
              <a:gd name="connsiteY5" fmla="*/ 187435 h 347662"/>
              <a:gd name="connsiteX6" fmla="*/ 108257 w 322811"/>
              <a:gd name="connsiteY6" fmla="*/ 0 h 347662"/>
              <a:gd name="connsiteX7" fmla="*/ 8243 w 322811"/>
              <a:gd name="connsiteY7" fmla="*/ 7144 h 347662"/>
              <a:gd name="connsiteX0" fmla="*/ 16298 w 331723"/>
              <a:gd name="connsiteY0" fmla="*/ 7144 h 349331"/>
              <a:gd name="connsiteX1" fmla="*/ 28806 w 331723"/>
              <a:gd name="connsiteY1" fmla="*/ 204257 h 349331"/>
              <a:gd name="connsiteX2" fmla="*/ 263949 w 331723"/>
              <a:gd name="connsiteY2" fmla="*/ 347662 h 349331"/>
              <a:gd name="connsiteX3" fmla="*/ 323480 w 331723"/>
              <a:gd name="connsiteY3" fmla="*/ 276640 h 349331"/>
              <a:gd name="connsiteX4" fmla="*/ 113775 w 331723"/>
              <a:gd name="connsiteY4" fmla="*/ 187435 h 349331"/>
              <a:gd name="connsiteX5" fmla="*/ 116312 w 331723"/>
              <a:gd name="connsiteY5" fmla="*/ 0 h 349331"/>
              <a:gd name="connsiteX6" fmla="*/ 16298 w 33172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9450 w 324875"/>
              <a:gd name="connsiteY0" fmla="*/ 7144 h 349331"/>
              <a:gd name="connsiteX1" fmla="*/ 21958 w 324875"/>
              <a:gd name="connsiteY1" fmla="*/ 204257 h 349331"/>
              <a:gd name="connsiteX2" fmla="*/ 257101 w 324875"/>
              <a:gd name="connsiteY2" fmla="*/ 347662 h 349331"/>
              <a:gd name="connsiteX3" fmla="*/ 316632 w 324875"/>
              <a:gd name="connsiteY3" fmla="*/ 276640 h 349331"/>
              <a:gd name="connsiteX4" fmla="*/ 106927 w 324875"/>
              <a:gd name="connsiteY4" fmla="*/ 187435 h 349331"/>
              <a:gd name="connsiteX5" fmla="*/ 109464 w 324875"/>
              <a:gd name="connsiteY5" fmla="*/ 0 h 349331"/>
              <a:gd name="connsiteX6" fmla="*/ 9450 w 324875"/>
              <a:gd name="connsiteY6" fmla="*/ 7144 h 349331"/>
              <a:gd name="connsiteX0" fmla="*/ 1117 w 316542"/>
              <a:gd name="connsiteY0" fmla="*/ 7144 h 349331"/>
              <a:gd name="connsiteX1" fmla="*/ 13625 w 316542"/>
              <a:gd name="connsiteY1" fmla="*/ 204257 h 349331"/>
              <a:gd name="connsiteX2" fmla="*/ 248768 w 316542"/>
              <a:gd name="connsiteY2" fmla="*/ 347662 h 349331"/>
              <a:gd name="connsiteX3" fmla="*/ 308299 w 316542"/>
              <a:gd name="connsiteY3" fmla="*/ 276640 h 349331"/>
              <a:gd name="connsiteX4" fmla="*/ 98594 w 316542"/>
              <a:gd name="connsiteY4" fmla="*/ 187435 h 349331"/>
              <a:gd name="connsiteX5" fmla="*/ 101131 w 316542"/>
              <a:gd name="connsiteY5" fmla="*/ 0 h 349331"/>
              <a:gd name="connsiteX6" fmla="*/ 1117 w 316542"/>
              <a:gd name="connsiteY6" fmla="*/ 7144 h 349331"/>
              <a:gd name="connsiteX0" fmla="*/ 520 w 315945"/>
              <a:gd name="connsiteY0" fmla="*/ 7144 h 349331"/>
              <a:gd name="connsiteX1" fmla="*/ 13028 w 315945"/>
              <a:gd name="connsiteY1" fmla="*/ 204257 h 349331"/>
              <a:gd name="connsiteX2" fmla="*/ 248171 w 315945"/>
              <a:gd name="connsiteY2" fmla="*/ 347662 h 349331"/>
              <a:gd name="connsiteX3" fmla="*/ 307702 w 315945"/>
              <a:gd name="connsiteY3" fmla="*/ 276640 h 349331"/>
              <a:gd name="connsiteX4" fmla="*/ 97997 w 315945"/>
              <a:gd name="connsiteY4" fmla="*/ 187435 h 349331"/>
              <a:gd name="connsiteX5" fmla="*/ 100534 w 315945"/>
              <a:gd name="connsiteY5" fmla="*/ 0 h 349331"/>
              <a:gd name="connsiteX6" fmla="*/ 520 w 31594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041"/>
              <a:gd name="connsiteY0" fmla="*/ 7144 h 349331"/>
              <a:gd name="connsiteX1" fmla="*/ 12508 w 315041"/>
              <a:gd name="connsiteY1" fmla="*/ 204257 h 349331"/>
              <a:gd name="connsiteX2" fmla="*/ 247651 w 315041"/>
              <a:gd name="connsiteY2" fmla="*/ 347662 h 349331"/>
              <a:gd name="connsiteX3" fmla="*/ 307182 w 315041"/>
              <a:gd name="connsiteY3" fmla="*/ 276640 h 349331"/>
              <a:gd name="connsiteX4" fmla="*/ 103146 w 315041"/>
              <a:gd name="connsiteY4" fmla="*/ 187435 h 349331"/>
              <a:gd name="connsiteX5" fmla="*/ 100014 w 315041"/>
              <a:gd name="connsiteY5" fmla="*/ 0 h 349331"/>
              <a:gd name="connsiteX6" fmla="*/ 0 w 315041"/>
              <a:gd name="connsiteY6" fmla="*/ 7144 h 349331"/>
              <a:gd name="connsiteX0" fmla="*/ 9449 w 324490"/>
              <a:gd name="connsiteY0" fmla="*/ 2420 h 349331"/>
              <a:gd name="connsiteX1" fmla="*/ 21957 w 324490"/>
              <a:gd name="connsiteY1" fmla="*/ 204257 h 349331"/>
              <a:gd name="connsiteX2" fmla="*/ 257100 w 324490"/>
              <a:gd name="connsiteY2" fmla="*/ 347662 h 349331"/>
              <a:gd name="connsiteX3" fmla="*/ 316631 w 324490"/>
              <a:gd name="connsiteY3" fmla="*/ 276640 h 349331"/>
              <a:gd name="connsiteX4" fmla="*/ 112595 w 324490"/>
              <a:gd name="connsiteY4" fmla="*/ 187435 h 349331"/>
              <a:gd name="connsiteX5" fmla="*/ 109463 w 324490"/>
              <a:gd name="connsiteY5" fmla="*/ 0 h 349331"/>
              <a:gd name="connsiteX6" fmla="*/ 9449 w 324490"/>
              <a:gd name="connsiteY6" fmla="*/ 2420 h 349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4490" h="349331">
                <a:moveTo>
                  <a:pt x="9449" y="2420"/>
                </a:moveTo>
                <a:cubicBezTo>
                  <a:pt x="10455" y="81972"/>
                  <a:pt x="-19318" y="146717"/>
                  <a:pt x="21957" y="204257"/>
                </a:cubicBezTo>
                <a:cubicBezTo>
                  <a:pt x="63232" y="261797"/>
                  <a:pt x="125787" y="291191"/>
                  <a:pt x="257100" y="347662"/>
                </a:cubicBezTo>
                <a:cubicBezTo>
                  <a:pt x="306212" y="359726"/>
                  <a:pt x="340715" y="303344"/>
                  <a:pt x="316631" y="276640"/>
                </a:cubicBezTo>
                <a:cubicBezTo>
                  <a:pt x="292547" y="249936"/>
                  <a:pt x="236420" y="282686"/>
                  <a:pt x="112595" y="187435"/>
                </a:cubicBezTo>
                <a:cubicBezTo>
                  <a:pt x="95927" y="131079"/>
                  <a:pt x="102319" y="53975"/>
                  <a:pt x="109463" y="0"/>
                </a:cubicBezTo>
                <a:lnTo>
                  <a:pt x="9449" y="2420"/>
                </a:lnTo>
                <a:close/>
              </a:path>
            </a:pathLst>
          </a:custGeom>
          <a:solidFill>
            <a:srgbClr val="A5636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DFED85C7-AC16-4ADE-9651-340455696676}"/>
              </a:ext>
            </a:extLst>
          </p:cNvPr>
          <p:cNvSpPr/>
          <p:nvPr/>
        </p:nvSpPr>
        <p:spPr bwMode="auto">
          <a:xfrm>
            <a:off x="7090463" y="4937408"/>
            <a:ext cx="565139" cy="518589"/>
          </a:xfrm>
          <a:custGeom>
            <a:avLst/>
            <a:gdLst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1676 h 221456"/>
              <a:gd name="connsiteX3" fmla="*/ 0 w 259556"/>
              <a:gd name="connsiteY3" fmla="*/ 0 h 221456"/>
              <a:gd name="connsiteX0" fmla="*/ 0 w 260390"/>
              <a:gd name="connsiteY0" fmla="*/ 0 h 221456"/>
              <a:gd name="connsiteX1" fmla="*/ 128587 w 260390"/>
              <a:gd name="connsiteY1" fmla="*/ 221456 h 221456"/>
              <a:gd name="connsiteX2" fmla="*/ 259556 w 260390"/>
              <a:gd name="connsiteY2" fmla="*/ 1676 h 221456"/>
              <a:gd name="connsiteX3" fmla="*/ 0 w 260390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30 w 260906"/>
              <a:gd name="connsiteY0" fmla="*/ 0 h 221456"/>
              <a:gd name="connsiteX1" fmla="*/ 128617 w 260906"/>
              <a:gd name="connsiteY1" fmla="*/ 221456 h 221456"/>
              <a:gd name="connsiteX2" fmla="*/ 259586 w 260906"/>
              <a:gd name="connsiteY2" fmla="*/ 1676 h 221456"/>
              <a:gd name="connsiteX3" fmla="*/ 30 w 260906"/>
              <a:gd name="connsiteY3" fmla="*/ 0 h 221456"/>
              <a:gd name="connsiteX0" fmla="*/ 30 w 297357"/>
              <a:gd name="connsiteY0" fmla="*/ 0 h 221456"/>
              <a:gd name="connsiteX1" fmla="*/ 128617 w 297357"/>
              <a:gd name="connsiteY1" fmla="*/ 221456 h 221456"/>
              <a:gd name="connsiteX2" fmla="*/ 296624 w 297357"/>
              <a:gd name="connsiteY2" fmla="*/ 1676 h 221456"/>
              <a:gd name="connsiteX3" fmla="*/ 30 w 297357"/>
              <a:gd name="connsiteY3" fmla="*/ 0 h 221456"/>
              <a:gd name="connsiteX0" fmla="*/ 12 w 342865"/>
              <a:gd name="connsiteY0" fmla="*/ 0 h 224542"/>
              <a:gd name="connsiteX1" fmla="*/ 174125 w 342865"/>
              <a:gd name="connsiteY1" fmla="*/ 224542 h 224542"/>
              <a:gd name="connsiteX2" fmla="*/ 342132 w 342865"/>
              <a:gd name="connsiteY2" fmla="*/ 4762 h 224542"/>
              <a:gd name="connsiteX3" fmla="*/ 12 w 342865"/>
              <a:gd name="connsiteY3" fmla="*/ 0 h 224542"/>
              <a:gd name="connsiteX0" fmla="*/ 11 w 346722"/>
              <a:gd name="connsiteY0" fmla="*/ 9127 h 219780"/>
              <a:gd name="connsiteX1" fmla="*/ 177982 w 346722"/>
              <a:gd name="connsiteY1" fmla="*/ 219780 h 219780"/>
              <a:gd name="connsiteX2" fmla="*/ 345989 w 346722"/>
              <a:gd name="connsiteY2" fmla="*/ 0 h 219780"/>
              <a:gd name="connsiteX3" fmla="*/ 11 w 346722"/>
              <a:gd name="connsiteY3" fmla="*/ 9127 h 219780"/>
              <a:gd name="connsiteX0" fmla="*/ 14 w 335922"/>
              <a:gd name="connsiteY0" fmla="*/ 0 h 222999"/>
              <a:gd name="connsiteX1" fmla="*/ 167182 w 335922"/>
              <a:gd name="connsiteY1" fmla="*/ 222999 h 222999"/>
              <a:gd name="connsiteX2" fmla="*/ 335189 w 335922"/>
              <a:gd name="connsiteY2" fmla="*/ 3219 h 222999"/>
              <a:gd name="connsiteX3" fmla="*/ 14 w 335922"/>
              <a:gd name="connsiteY3" fmla="*/ 0 h 22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22" h="222999">
                <a:moveTo>
                  <a:pt x="14" y="0"/>
                </a:moveTo>
                <a:cubicBezTo>
                  <a:pt x="-1107" y="138635"/>
                  <a:pt x="67221" y="211681"/>
                  <a:pt x="167182" y="222999"/>
                </a:cubicBezTo>
                <a:cubicBezTo>
                  <a:pt x="272567" y="208639"/>
                  <a:pt x="344003" y="125605"/>
                  <a:pt x="335189" y="3219"/>
                </a:cubicBezTo>
                <a:lnTo>
                  <a:pt x="14" y="0"/>
                </a:lnTo>
                <a:close/>
              </a:path>
            </a:pathLst>
          </a:custGeom>
          <a:gradFill>
            <a:gsLst>
              <a:gs pos="50000">
                <a:srgbClr val="7C4848"/>
              </a:gs>
              <a:gs pos="50000">
                <a:srgbClr val="A56363"/>
              </a:gs>
            </a:gsLst>
            <a:lin ang="21594000" scaled="0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3FE0E19-8DA1-40C1-B064-7CBE44DC5F5F}"/>
              </a:ext>
            </a:extLst>
          </p:cNvPr>
          <p:cNvSpPr/>
          <p:nvPr/>
        </p:nvSpPr>
        <p:spPr bwMode="auto">
          <a:xfrm>
            <a:off x="7114966" y="5800125"/>
            <a:ext cx="53680" cy="53680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C3259356-FA50-4866-A7ED-478E018AC055}"/>
              </a:ext>
            </a:extLst>
          </p:cNvPr>
          <p:cNvSpPr/>
          <p:nvPr/>
        </p:nvSpPr>
        <p:spPr bwMode="auto">
          <a:xfrm>
            <a:off x="7532905" y="5800125"/>
            <a:ext cx="53680" cy="53680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F8F1EB7-B92F-465C-95A5-537ACCB5269B}"/>
              </a:ext>
            </a:extLst>
          </p:cNvPr>
          <p:cNvSpPr/>
          <p:nvPr/>
        </p:nvSpPr>
        <p:spPr bwMode="auto">
          <a:xfrm>
            <a:off x="7017928" y="4891396"/>
            <a:ext cx="706691" cy="65183"/>
          </a:xfrm>
          <a:prstGeom prst="rect">
            <a:avLst/>
          </a:prstGeom>
          <a:solidFill>
            <a:schemeClr val="accent2">
              <a:lumMod val="1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Partial Circle 66">
            <a:extLst>
              <a:ext uri="{FF2B5EF4-FFF2-40B4-BE49-F238E27FC236}">
                <a16:creationId xmlns:a16="http://schemas.microsoft.com/office/drawing/2014/main" id="{83F3F436-5FD7-45AC-A9EC-E697B3A11368}"/>
              </a:ext>
            </a:extLst>
          </p:cNvPr>
          <p:cNvSpPr/>
          <p:nvPr/>
        </p:nvSpPr>
        <p:spPr bwMode="auto">
          <a:xfrm rot="10800000">
            <a:off x="7086335" y="4595030"/>
            <a:ext cx="594220" cy="594218"/>
          </a:xfrm>
          <a:prstGeom prst="pie">
            <a:avLst>
              <a:gd name="adj1" fmla="val 0"/>
              <a:gd name="adj2" fmla="val 10816010"/>
            </a:avLst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200B3CBD-FBA8-477C-A681-AE7C964EE4AD}"/>
              </a:ext>
            </a:extLst>
          </p:cNvPr>
          <p:cNvSpPr/>
          <p:nvPr/>
        </p:nvSpPr>
        <p:spPr bwMode="auto">
          <a:xfrm>
            <a:off x="7160656" y="4660283"/>
            <a:ext cx="221204" cy="176658"/>
          </a:xfrm>
          <a:custGeom>
            <a:avLst/>
            <a:gdLst>
              <a:gd name="connsiteX0" fmla="*/ 0 w 895350"/>
              <a:gd name="connsiteY0" fmla="*/ 266700 h 1204912"/>
              <a:gd name="connsiteX1" fmla="*/ 252413 w 895350"/>
              <a:gd name="connsiteY1" fmla="*/ 0 h 1204912"/>
              <a:gd name="connsiteX2" fmla="*/ 895350 w 895350"/>
              <a:gd name="connsiteY2" fmla="*/ 1204912 h 1204912"/>
              <a:gd name="connsiteX3" fmla="*/ 0 w 895350"/>
              <a:gd name="connsiteY3" fmla="*/ 266700 h 1204912"/>
              <a:gd name="connsiteX0" fmla="*/ 0 w 901471"/>
              <a:gd name="connsiteY0" fmla="*/ 266700 h 1204912"/>
              <a:gd name="connsiteX1" fmla="*/ 252413 w 901471"/>
              <a:gd name="connsiteY1" fmla="*/ 0 h 1204912"/>
              <a:gd name="connsiteX2" fmla="*/ 895350 w 901471"/>
              <a:gd name="connsiteY2" fmla="*/ 1204912 h 1204912"/>
              <a:gd name="connsiteX3" fmla="*/ 0 w 901471"/>
              <a:gd name="connsiteY3" fmla="*/ 266700 h 1204912"/>
              <a:gd name="connsiteX0" fmla="*/ 0 w 901471"/>
              <a:gd name="connsiteY0" fmla="*/ 266700 h 1204912"/>
              <a:gd name="connsiteX1" fmla="*/ 252413 w 901471"/>
              <a:gd name="connsiteY1" fmla="*/ 0 h 1204912"/>
              <a:gd name="connsiteX2" fmla="*/ 895350 w 901471"/>
              <a:gd name="connsiteY2" fmla="*/ 1204912 h 1204912"/>
              <a:gd name="connsiteX3" fmla="*/ 0 w 901471"/>
              <a:gd name="connsiteY3" fmla="*/ 266700 h 1204912"/>
              <a:gd name="connsiteX0" fmla="*/ 0 w 907395"/>
              <a:gd name="connsiteY0" fmla="*/ 266700 h 1204912"/>
              <a:gd name="connsiteX1" fmla="*/ 252413 w 907395"/>
              <a:gd name="connsiteY1" fmla="*/ 0 h 1204912"/>
              <a:gd name="connsiteX2" fmla="*/ 895350 w 907395"/>
              <a:gd name="connsiteY2" fmla="*/ 1204912 h 1204912"/>
              <a:gd name="connsiteX3" fmla="*/ 0 w 907395"/>
              <a:gd name="connsiteY3" fmla="*/ 266700 h 1204912"/>
              <a:gd name="connsiteX0" fmla="*/ 0 w 907395"/>
              <a:gd name="connsiteY0" fmla="*/ 266700 h 1204912"/>
              <a:gd name="connsiteX1" fmla="*/ 252413 w 907395"/>
              <a:gd name="connsiteY1" fmla="*/ 0 h 1204912"/>
              <a:gd name="connsiteX2" fmla="*/ 895350 w 907395"/>
              <a:gd name="connsiteY2" fmla="*/ 1204912 h 1204912"/>
              <a:gd name="connsiteX3" fmla="*/ 0 w 907395"/>
              <a:gd name="connsiteY3" fmla="*/ 266700 h 1204912"/>
              <a:gd name="connsiteX0" fmla="*/ 0 w 907395"/>
              <a:gd name="connsiteY0" fmla="*/ 266700 h 1204912"/>
              <a:gd name="connsiteX1" fmla="*/ 252413 w 907395"/>
              <a:gd name="connsiteY1" fmla="*/ 0 h 1204912"/>
              <a:gd name="connsiteX2" fmla="*/ 895350 w 907395"/>
              <a:gd name="connsiteY2" fmla="*/ 1204912 h 1204912"/>
              <a:gd name="connsiteX3" fmla="*/ 0 w 907395"/>
              <a:gd name="connsiteY3" fmla="*/ 266700 h 1204912"/>
              <a:gd name="connsiteX0" fmla="*/ 0 w 1518264"/>
              <a:gd name="connsiteY0" fmla="*/ 266700 h 1204912"/>
              <a:gd name="connsiteX1" fmla="*/ 252413 w 1518264"/>
              <a:gd name="connsiteY1" fmla="*/ 0 h 1204912"/>
              <a:gd name="connsiteX2" fmla="*/ 1514475 w 1518264"/>
              <a:gd name="connsiteY2" fmla="*/ 1204912 h 1204912"/>
              <a:gd name="connsiteX3" fmla="*/ 0 w 1518264"/>
              <a:gd name="connsiteY3" fmla="*/ 266700 h 1204912"/>
              <a:gd name="connsiteX0" fmla="*/ 0 w 1508739"/>
              <a:gd name="connsiteY0" fmla="*/ 257175 h 1204912"/>
              <a:gd name="connsiteX1" fmla="*/ 242888 w 1508739"/>
              <a:gd name="connsiteY1" fmla="*/ 0 h 1204912"/>
              <a:gd name="connsiteX2" fmla="*/ 1504950 w 1508739"/>
              <a:gd name="connsiteY2" fmla="*/ 1204912 h 1204912"/>
              <a:gd name="connsiteX3" fmla="*/ 0 w 1508739"/>
              <a:gd name="connsiteY3" fmla="*/ 257175 h 1204912"/>
              <a:gd name="connsiteX0" fmla="*/ 0 w 1508739"/>
              <a:gd name="connsiteY0" fmla="*/ 257175 h 1204912"/>
              <a:gd name="connsiteX1" fmla="*/ 242888 w 1508739"/>
              <a:gd name="connsiteY1" fmla="*/ 0 h 1204912"/>
              <a:gd name="connsiteX2" fmla="*/ 1504950 w 1508739"/>
              <a:gd name="connsiteY2" fmla="*/ 1204912 h 1204912"/>
              <a:gd name="connsiteX3" fmla="*/ 0 w 1508739"/>
              <a:gd name="connsiteY3" fmla="*/ 257175 h 120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739" h="1204912">
                <a:moveTo>
                  <a:pt x="0" y="257175"/>
                </a:moveTo>
                <a:cubicBezTo>
                  <a:pt x="80963" y="138112"/>
                  <a:pt x="161925" y="85725"/>
                  <a:pt x="242888" y="0"/>
                </a:cubicBezTo>
                <a:cubicBezTo>
                  <a:pt x="742950" y="239712"/>
                  <a:pt x="1571626" y="655637"/>
                  <a:pt x="1504950" y="1204912"/>
                </a:cubicBezTo>
                <a:cubicBezTo>
                  <a:pt x="1382712" y="777875"/>
                  <a:pt x="617537" y="227012"/>
                  <a:pt x="0" y="257175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DA18E3A1-0881-4B24-8E57-D437DE19A6D7}"/>
              </a:ext>
            </a:extLst>
          </p:cNvPr>
          <p:cNvSpPr/>
          <p:nvPr/>
        </p:nvSpPr>
        <p:spPr bwMode="auto">
          <a:xfrm flipH="1">
            <a:off x="7373481" y="4661680"/>
            <a:ext cx="235454" cy="176658"/>
          </a:xfrm>
          <a:custGeom>
            <a:avLst/>
            <a:gdLst>
              <a:gd name="connsiteX0" fmla="*/ 0 w 895350"/>
              <a:gd name="connsiteY0" fmla="*/ 266700 h 1204912"/>
              <a:gd name="connsiteX1" fmla="*/ 252413 w 895350"/>
              <a:gd name="connsiteY1" fmla="*/ 0 h 1204912"/>
              <a:gd name="connsiteX2" fmla="*/ 895350 w 895350"/>
              <a:gd name="connsiteY2" fmla="*/ 1204912 h 1204912"/>
              <a:gd name="connsiteX3" fmla="*/ 0 w 895350"/>
              <a:gd name="connsiteY3" fmla="*/ 266700 h 1204912"/>
              <a:gd name="connsiteX0" fmla="*/ 0 w 901471"/>
              <a:gd name="connsiteY0" fmla="*/ 266700 h 1204912"/>
              <a:gd name="connsiteX1" fmla="*/ 252413 w 901471"/>
              <a:gd name="connsiteY1" fmla="*/ 0 h 1204912"/>
              <a:gd name="connsiteX2" fmla="*/ 895350 w 901471"/>
              <a:gd name="connsiteY2" fmla="*/ 1204912 h 1204912"/>
              <a:gd name="connsiteX3" fmla="*/ 0 w 901471"/>
              <a:gd name="connsiteY3" fmla="*/ 266700 h 1204912"/>
              <a:gd name="connsiteX0" fmla="*/ 0 w 901471"/>
              <a:gd name="connsiteY0" fmla="*/ 266700 h 1204912"/>
              <a:gd name="connsiteX1" fmla="*/ 252413 w 901471"/>
              <a:gd name="connsiteY1" fmla="*/ 0 h 1204912"/>
              <a:gd name="connsiteX2" fmla="*/ 895350 w 901471"/>
              <a:gd name="connsiteY2" fmla="*/ 1204912 h 1204912"/>
              <a:gd name="connsiteX3" fmla="*/ 0 w 901471"/>
              <a:gd name="connsiteY3" fmla="*/ 266700 h 1204912"/>
              <a:gd name="connsiteX0" fmla="*/ 0 w 907395"/>
              <a:gd name="connsiteY0" fmla="*/ 266700 h 1204912"/>
              <a:gd name="connsiteX1" fmla="*/ 252413 w 907395"/>
              <a:gd name="connsiteY1" fmla="*/ 0 h 1204912"/>
              <a:gd name="connsiteX2" fmla="*/ 895350 w 907395"/>
              <a:gd name="connsiteY2" fmla="*/ 1204912 h 1204912"/>
              <a:gd name="connsiteX3" fmla="*/ 0 w 907395"/>
              <a:gd name="connsiteY3" fmla="*/ 266700 h 1204912"/>
              <a:gd name="connsiteX0" fmla="*/ 0 w 907395"/>
              <a:gd name="connsiteY0" fmla="*/ 266700 h 1204912"/>
              <a:gd name="connsiteX1" fmla="*/ 252413 w 907395"/>
              <a:gd name="connsiteY1" fmla="*/ 0 h 1204912"/>
              <a:gd name="connsiteX2" fmla="*/ 895350 w 907395"/>
              <a:gd name="connsiteY2" fmla="*/ 1204912 h 1204912"/>
              <a:gd name="connsiteX3" fmla="*/ 0 w 907395"/>
              <a:gd name="connsiteY3" fmla="*/ 266700 h 1204912"/>
              <a:gd name="connsiteX0" fmla="*/ 0 w 907395"/>
              <a:gd name="connsiteY0" fmla="*/ 266700 h 1204912"/>
              <a:gd name="connsiteX1" fmla="*/ 252413 w 907395"/>
              <a:gd name="connsiteY1" fmla="*/ 0 h 1204912"/>
              <a:gd name="connsiteX2" fmla="*/ 895350 w 907395"/>
              <a:gd name="connsiteY2" fmla="*/ 1204912 h 1204912"/>
              <a:gd name="connsiteX3" fmla="*/ 0 w 907395"/>
              <a:gd name="connsiteY3" fmla="*/ 266700 h 1204912"/>
              <a:gd name="connsiteX0" fmla="*/ 0 w 1518264"/>
              <a:gd name="connsiteY0" fmla="*/ 266700 h 1204912"/>
              <a:gd name="connsiteX1" fmla="*/ 252413 w 1518264"/>
              <a:gd name="connsiteY1" fmla="*/ 0 h 1204912"/>
              <a:gd name="connsiteX2" fmla="*/ 1514475 w 1518264"/>
              <a:gd name="connsiteY2" fmla="*/ 1204912 h 1204912"/>
              <a:gd name="connsiteX3" fmla="*/ 0 w 1518264"/>
              <a:gd name="connsiteY3" fmla="*/ 266700 h 1204912"/>
              <a:gd name="connsiteX0" fmla="*/ 0 w 1508739"/>
              <a:gd name="connsiteY0" fmla="*/ 257175 h 1204912"/>
              <a:gd name="connsiteX1" fmla="*/ 242888 w 1508739"/>
              <a:gd name="connsiteY1" fmla="*/ 0 h 1204912"/>
              <a:gd name="connsiteX2" fmla="*/ 1504950 w 1508739"/>
              <a:gd name="connsiteY2" fmla="*/ 1204912 h 1204912"/>
              <a:gd name="connsiteX3" fmla="*/ 0 w 1508739"/>
              <a:gd name="connsiteY3" fmla="*/ 257175 h 1204912"/>
              <a:gd name="connsiteX0" fmla="*/ 0 w 1508739"/>
              <a:gd name="connsiteY0" fmla="*/ 257175 h 1204912"/>
              <a:gd name="connsiteX1" fmla="*/ 242888 w 1508739"/>
              <a:gd name="connsiteY1" fmla="*/ 0 h 1204912"/>
              <a:gd name="connsiteX2" fmla="*/ 1504950 w 1508739"/>
              <a:gd name="connsiteY2" fmla="*/ 1204912 h 1204912"/>
              <a:gd name="connsiteX3" fmla="*/ 0 w 1508739"/>
              <a:gd name="connsiteY3" fmla="*/ 257175 h 120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8739" h="1204912">
                <a:moveTo>
                  <a:pt x="0" y="257175"/>
                </a:moveTo>
                <a:cubicBezTo>
                  <a:pt x="80963" y="138112"/>
                  <a:pt x="161925" y="85725"/>
                  <a:pt x="242888" y="0"/>
                </a:cubicBezTo>
                <a:cubicBezTo>
                  <a:pt x="742950" y="239712"/>
                  <a:pt x="1571626" y="655637"/>
                  <a:pt x="1504950" y="1204912"/>
                </a:cubicBezTo>
                <a:cubicBezTo>
                  <a:pt x="1382712" y="777875"/>
                  <a:pt x="617537" y="227012"/>
                  <a:pt x="0" y="257175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9B5C51AD-DE5D-43D9-9E30-6B5F91A138D6}"/>
              </a:ext>
            </a:extLst>
          </p:cNvPr>
          <p:cNvCxnSpPr>
            <a:cxnSpLocks/>
          </p:cNvCxnSpPr>
          <p:nvPr/>
        </p:nvCxnSpPr>
        <p:spPr bwMode="auto">
          <a:xfrm>
            <a:off x="7831432" y="5143500"/>
            <a:ext cx="523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4" name="Oval 123">
            <a:extLst>
              <a:ext uri="{FF2B5EF4-FFF2-40B4-BE49-F238E27FC236}">
                <a16:creationId xmlns:a16="http://schemas.microsoft.com/office/drawing/2014/main" id="{DBCE713A-81D7-4895-B080-4B71EE95FB27}"/>
              </a:ext>
            </a:extLst>
          </p:cNvPr>
          <p:cNvSpPr/>
          <p:nvPr/>
        </p:nvSpPr>
        <p:spPr bwMode="auto">
          <a:xfrm>
            <a:off x="8369148" y="4948238"/>
            <a:ext cx="385762" cy="385762"/>
          </a:xfrm>
          <a:prstGeom prst="ellipse">
            <a:avLst/>
          </a:prstGeom>
          <a:noFill/>
          <a:ln w="28575">
            <a:solidFill>
              <a:schemeClr val="accent5"/>
            </a:solidFill>
            <a:round/>
            <a:headEnd/>
            <a:tailEnd/>
          </a:ln>
        </p:spPr>
        <p:txBody>
          <a:bodyPr wrap="square" lIns="0" tIns="72000" rIns="0" bIns="0" rtlCol="0" anchor="t">
            <a:noAutofit/>
          </a:bodyPr>
          <a:lstStyle/>
          <a:p>
            <a:endParaRPr lang="da-DK" sz="9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28CCEA78-0730-431F-85B1-01D9B7EB66B4}"/>
              </a:ext>
            </a:extLst>
          </p:cNvPr>
          <p:cNvSpPr/>
          <p:nvPr/>
        </p:nvSpPr>
        <p:spPr>
          <a:xfrm>
            <a:off x="8342257" y="5018009"/>
            <a:ext cx="43954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000" b="1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33%</a:t>
            </a:r>
          </a:p>
        </p:txBody>
      </p:sp>
      <p:pic>
        <p:nvPicPr>
          <p:cNvPr id="71" name="Graphic 70" descr="Hammer">
            <a:extLst>
              <a:ext uri="{FF2B5EF4-FFF2-40B4-BE49-F238E27FC236}">
                <a16:creationId xmlns:a16="http://schemas.microsoft.com/office/drawing/2014/main" id="{ACFF92D4-9ADB-48CA-9392-270A96223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171707" y="5921913"/>
            <a:ext cx="530053" cy="530053"/>
          </a:xfrm>
          <a:prstGeom prst="rect">
            <a:avLst/>
          </a:prstGeom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14D8CFD6-7311-45F2-B358-7C669A9E5ACF}"/>
              </a:ext>
            </a:extLst>
          </p:cNvPr>
          <p:cNvSpPr/>
          <p:nvPr/>
        </p:nvSpPr>
        <p:spPr bwMode="auto">
          <a:xfrm>
            <a:off x="6883607" y="5826157"/>
            <a:ext cx="479433" cy="531615"/>
          </a:xfrm>
          <a:custGeom>
            <a:avLst/>
            <a:gdLst>
              <a:gd name="connsiteX0" fmla="*/ 28575 w 338138"/>
              <a:gd name="connsiteY0" fmla="*/ 19050 h 357187"/>
              <a:gd name="connsiteX1" fmla="*/ 0 w 338138"/>
              <a:gd name="connsiteY1" fmla="*/ 207168 h 357187"/>
              <a:gd name="connsiteX2" fmla="*/ 121444 w 338138"/>
              <a:gd name="connsiteY2" fmla="*/ 300037 h 357187"/>
              <a:gd name="connsiteX3" fmla="*/ 278607 w 338138"/>
              <a:gd name="connsiteY3" fmla="*/ 357187 h 357187"/>
              <a:gd name="connsiteX4" fmla="*/ 338138 w 338138"/>
              <a:gd name="connsiteY4" fmla="*/ 278606 h 357187"/>
              <a:gd name="connsiteX5" fmla="*/ 92869 w 338138"/>
              <a:gd name="connsiteY5" fmla="*/ 173831 h 357187"/>
              <a:gd name="connsiteX6" fmla="*/ 128588 w 338138"/>
              <a:gd name="connsiteY6" fmla="*/ 0 h 357187"/>
              <a:gd name="connsiteX7" fmla="*/ 28575 w 338138"/>
              <a:gd name="connsiteY7" fmla="*/ 19050 h 357187"/>
              <a:gd name="connsiteX0" fmla="*/ 28575 w 338138"/>
              <a:gd name="connsiteY0" fmla="*/ 4762 h 342899"/>
              <a:gd name="connsiteX1" fmla="*/ 0 w 338138"/>
              <a:gd name="connsiteY1" fmla="*/ 192880 h 342899"/>
              <a:gd name="connsiteX2" fmla="*/ 121444 w 338138"/>
              <a:gd name="connsiteY2" fmla="*/ 285749 h 342899"/>
              <a:gd name="connsiteX3" fmla="*/ 278607 w 338138"/>
              <a:gd name="connsiteY3" fmla="*/ 342899 h 342899"/>
              <a:gd name="connsiteX4" fmla="*/ 338138 w 338138"/>
              <a:gd name="connsiteY4" fmla="*/ 264318 h 342899"/>
              <a:gd name="connsiteX5" fmla="*/ 92869 w 338138"/>
              <a:gd name="connsiteY5" fmla="*/ 159543 h 342899"/>
              <a:gd name="connsiteX6" fmla="*/ 126207 w 338138"/>
              <a:gd name="connsiteY6" fmla="*/ 0 h 342899"/>
              <a:gd name="connsiteX7" fmla="*/ 28575 w 338138"/>
              <a:gd name="connsiteY7" fmla="*/ 4762 h 342899"/>
              <a:gd name="connsiteX0" fmla="*/ 28575 w 338138"/>
              <a:gd name="connsiteY0" fmla="*/ 9525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28575 w 338138"/>
              <a:gd name="connsiteY7" fmla="*/ 9525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76640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54734"/>
              <a:gd name="connsiteY0" fmla="*/ 7144 h 347662"/>
              <a:gd name="connsiteX1" fmla="*/ 0 w 354734"/>
              <a:gd name="connsiteY1" fmla="*/ 197643 h 347662"/>
              <a:gd name="connsiteX2" fmla="*/ 114300 w 354734"/>
              <a:gd name="connsiteY2" fmla="*/ 280987 h 347662"/>
              <a:gd name="connsiteX3" fmla="*/ 278607 w 354734"/>
              <a:gd name="connsiteY3" fmla="*/ 347662 h 347662"/>
              <a:gd name="connsiteX4" fmla="*/ 338138 w 354734"/>
              <a:gd name="connsiteY4" fmla="*/ 276640 h 347662"/>
              <a:gd name="connsiteX5" fmla="*/ 109537 w 354734"/>
              <a:gd name="connsiteY5" fmla="*/ 161925 h 347662"/>
              <a:gd name="connsiteX6" fmla="*/ 130970 w 354734"/>
              <a:gd name="connsiteY6" fmla="*/ 0 h 347662"/>
              <a:gd name="connsiteX7" fmla="*/ 30956 w 354734"/>
              <a:gd name="connsiteY7" fmla="*/ 7144 h 347662"/>
              <a:gd name="connsiteX0" fmla="*/ 30956 w 345861"/>
              <a:gd name="connsiteY0" fmla="*/ 7144 h 347662"/>
              <a:gd name="connsiteX1" fmla="*/ 0 w 345861"/>
              <a:gd name="connsiteY1" fmla="*/ 197643 h 347662"/>
              <a:gd name="connsiteX2" fmla="*/ 114300 w 345861"/>
              <a:gd name="connsiteY2" fmla="*/ 280987 h 347662"/>
              <a:gd name="connsiteX3" fmla="*/ 278607 w 345861"/>
              <a:gd name="connsiteY3" fmla="*/ 347662 h 347662"/>
              <a:gd name="connsiteX4" fmla="*/ 338138 w 345861"/>
              <a:gd name="connsiteY4" fmla="*/ 276640 h 347662"/>
              <a:gd name="connsiteX5" fmla="*/ 109537 w 345861"/>
              <a:gd name="connsiteY5" fmla="*/ 161925 h 347662"/>
              <a:gd name="connsiteX6" fmla="*/ 130970 w 345861"/>
              <a:gd name="connsiteY6" fmla="*/ 0 h 347662"/>
              <a:gd name="connsiteX7" fmla="*/ 30956 w 345861"/>
              <a:gd name="connsiteY7" fmla="*/ 7144 h 347662"/>
              <a:gd name="connsiteX0" fmla="*/ 30956 w 342311"/>
              <a:gd name="connsiteY0" fmla="*/ 7144 h 347662"/>
              <a:gd name="connsiteX1" fmla="*/ 0 w 342311"/>
              <a:gd name="connsiteY1" fmla="*/ 197643 h 347662"/>
              <a:gd name="connsiteX2" fmla="*/ 114300 w 342311"/>
              <a:gd name="connsiteY2" fmla="*/ 280987 h 347662"/>
              <a:gd name="connsiteX3" fmla="*/ 278607 w 342311"/>
              <a:gd name="connsiteY3" fmla="*/ 347662 h 347662"/>
              <a:gd name="connsiteX4" fmla="*/ 338138 w 342311"/>
              <a:gd name="connsiteY4" fmla="*/ 276640 h 347662"/>
              <a:gd name="connsiteX5" fmla="*/ 109537 w 342311"/>
              <a:gd name="connsiteY5" fmla="*/ 161925 h 347662"/>
              <a:gd name="connsiteX6" fmla="*/ 130970 w 342311"/>
              <a:gd name="connsiteY6" fmla="*/ 0 h 347662"/>
              <a:gd name="connsiteX7" fmla="*/ 30956 w 342311"/>
              <a:gd name="connsiteY7" fmla="*/ 7144 h 347662"/>
              <a:gd name="connsiteX0" fmla="*/ 30956 w 346077"/>
              <a:gd name="connsiteY0" fmla="*/ 7144 h 347662"/>
              <a:gd name="connsiteX1" fmla="*/ 0 w 346077"/>
              <a:gd name="connsiteY1" fmla="*/ 197643 h 347662"/>
              <a:gd name="connsiteX2" fmla="*/ 114300 w 346077"/>
              <a:gd name="connsiteY2" fmla="*/ 280987 h 347662"/>
              <a:gd name="connsiteX3" fmla="*/ 278607 w 346077"/>
              <a:gd name="connsiteY3" fmla="*/ 347662 h 347662"/>
              <a:gd name="connsiteX4" fmla="*/ 338138 w 346077"/>
              <a:gd name="connsiteY4" fmla="*/ 276640 h 347662"/>
              <a:gd name="connsiteX5" fmla="*/ 119930 w 346077"/>
              <a:gd name="connsiteY5" fmla="*/ 167594 h 347662"/>
              <a:gd name="connsiteX6" fmla="*/ 130970 w 346077"/>
              <a:gd name="connsiteY6" fmla="*/ 0 h 347662"/>
              <a:gd name="connsiteX7" fmla="*/ 30956 w 346077"/>
              <a:gd name="connsiteY7" fmla="*/ 7144 h 347662"/>
              <a:gd name="connsiteX0" fmla="*/ 30956 w 345219"/>
              <a:gd name="connsiteY0" fmla="*/ 7144 h 347662"/>
              <a:gd name="connsiteX1" fmla="*/ 0 w 345219"/>
              <a:gd name="connsiteY1" fmla="*/ 197643 h 347662"/>
              <a:gd name="connsiteX2" fmla="*/ 114300 w 345219"/>
              <a:gd name="connsiteY2" fmla="*/ 280987 h 347662"/>
              <a:gd name="connsiteX3" fmla="*/ 278607 w 345219"/>
              <a:gd name="connsiteY3" fmla="*/ 347662 h 347662"/>
              <a:gd name="connsiteX4" fmla="*/ 338138 w 345219"/>
              <a:gd name="connsiteY4" fmla="*/ 276640 h 347662"/>
              <a:gd name="connsiteX5" fmla="*/ 133157 w 345219"/>
              <a:gd name="connsiteY5" fmla="*/ 192160 h 347662"/>
              <a:gd name="connsiteX6" fmla="*/ 130970 w 345219"/>
              <a:gd name="connsiteY6" fmla="*/ 0 h 347662"/>
              <a:gd name="connsiteX7" fmla="*/ 30956 w 345219"/>
              <a:gd name="connsiteY7" fmla="*/ 7144 h 347662"/>
              <a:gd name="connsiteX0" fmla="*/ 30956 w 345401"/>
              <a:gd name="connsiteY0" fmla="*/ 7144 h 347662"/>
              <a:gd name="connsiteX1" fmla="*/ 0 w 345401"/>
              <a:gd name="connsiteY1" fmla="*/ 197643 h 347662"/>
              <a:gd name="connsiteX2" fmla="*/ 114300 w 345401"/>
              <a:gd name="connsiteY2" fmla="*/ 280987 h 347662"/>
              <a:gd name="connsiteX3" fmla="*/ 278607 w 345401"/>
              <a:gd name="connsiteY3" fmla="*/ 347662 h 347662"/>
              <a:gd name="connsiteX4" fmla="*/ 338138 w 345401"/>
              <a:gd name="connsiteY4" fmla="*/ 276640 h 347662"/>
              <a:gd name="connsiteX5" fmla="*/ 130323 w 345401"/>
              <a:gd name="connsiteY5" fmla="*/ 191215 h 347662"/>
              <a:gd name="connsiteX6" fmla="*/ 130970 w 345401"/>
              <a:gd name="connsiteY6" fmla="*/ 0 h 347662"/>
              <a:gd name="connsiteX7" fmla="*/ 30956 w 345401"/>
              <a:gd name="connsiteY7" fmla="*/ 7144 h 347662"/>
              <a:gd name="connsiteX0" fmla="*/ 30956 w 345524"/>
              <a:gd name="connsiteY0" fmla="*/ 7144 h 347662"/>
              <a:gd name="connsiteX1" fmla="*/ 0 w 345524"/>
              <a:gd name="connsiteY1" fmla="*/ 197643 h 347662"/>
              <a:gd name="connsiteX2" fmla="*/ 114300 w 345524"/>
              <a:gd name="connsiteY2" fmla="*/ 280987 h 347662"/>
              <a:gd name="connsiteX3" fmla="*/ 278607 w 345524"/>
              <a:gd name="connsiteY3" fmla="*/ 347662 h 347662"/>
              <a:gd name="connsiteX4" fmla="*/ 338138 w 345524"/>
              <a:gd name="connsiteY4" fmla="*/ 276640 h 347662"/>
              <a:gd name="connsiteX5" fmla="*/ 128433 w 345524"/>
              <a:gd name="connsiteY5" fmla="*/ 187435 h 347662"/>
              <a:gd name="connsiteX6" fmla="*/ 130970 w 345524"/>
              <a:gd name="connsiteY6" fmla="*/ 0 h 347662"/>
              <a:gd name="connsiteX7" fmla="*/ 30956 w 345524"/>
              <a:gd name="connsiteY7" fmla="*/ 7144 h 347662"/>
              <a:gd name="connsiteX0" fmla="*/ 13004 w 327572"/>
              <a:gd name="connsiteY0" fmla="*/ 7144 h 347662"/>
              <a:gd name="connsiteX1" fmla="*/ 0 w 327572"/>
              <a:gd name="connsiteY1" fmla="*/ 199533 h 347662"/>
              <a:gd name="connsiteX2" fmla="*/ 96348 w 327572"/>
              <a:gd name="connsiteY2" fmla="*/ 280987 h 347662"/>
              <a:gd name="connsiteX3" fmla="*/ 260655 w 327572"/>
              <a:gd name="connsiteY3" fmla="*/ 347662 h 347662"/>
              <a:gd name="connsiteX4" fmla="*/ 320186 w 327572"/>
              <a:gd name="connsiteY4" fmla="*/ 276640 h 347662"/>
              <a:gd name="connsiteX5" fmla="*/ 110481 w 327572"/>
              <a:gd name="connsiteY5" fmla="*/ 187435 h 347662"/>
              <a:gd name="connsiteX6" fmla="*/ 113018 w 327572"/>
              <a:gd name="connsiteY6" fmla="*/ 0 h 347662"/>
              <a:gd name="connsiteX7" fmla="*/ 13004 w 327572"/>
              <a:gd name="connsiteY7" fmla="*/ 7144 h 347662"/>
              <a:gd name="connsiteX0" fmla="*/ 20002 w 334570"/>
              <a:gd name="connsiteY0" fmla="*/ 7144 h 347662"/>
              <a:gd name="connsiteX1" fmla="*/ 6998 w 334570"/>
              <a:gd name="connsiteY1" fmla="*/ 199533 h 347662"/>
              <a:gd name="connsiteX2" fmla="*/ 103346 w 334570"/>
              <a:gd name="connsiteY2" fmla="*/ 280987 h 347662"/>
              <a:gd name="connsiteX3" fmla="*/ 267653 w 334570"/>
              <a:gd name="connsiteY3" fmla="*/ 347662 h 347662"/>
              <a:gd name="connsiteX4" fmla="*/ 327184 w 334570"/>
              <a:gd name="connsiteY4" fmla="*/ 276640 h 347662"/>
              <a:gd name="connsiteX5" fmla="*/ 117479 w 334570"/>
              <a:gd name="connsiteY5" fmla="*/ 187435 h 347662"/>
              <a:gd name="connsiteX6" fmla="*/ 120016 w 334570"/>
              <a:gd name="connsiteY6" fmla="*/ 0 h 347662"/>
              <a:gd name="connsiteX7" fmla="*/ 20002 w 334570"/>
              <a:gd name="connsiteY7" fmla="*/ 7144 h 347662"/>
              <a:gd name="connsiteX0" fmla="*/ 11083 w 325651"/>
              <a:gd name="connsiteY0" fmla="*/ 7144 h 347662"/>
              <a:gd name="connsiteX1" fmla="*/ 14142 w 325651"/>
              <a:gd name="connsiteY1" fmla="*/ 200478 h 347662"/>
              <a:gd name="connsiteX2" fmla="*/ 94427 w 325651"/>
              <a:gd name="connsiteY2" fmla="*/ 280987 h 347662"/>
              <a:gd name="connsiteX3" fmla="*/ 258734 w 325651"/>
              <a:gd name="connsiteY3" fmla="*/ 347662 h 347662"/>
              <a:gd name="connsiteX4" fmla="*/ 318265 w 325651"/>
              <a:gd name="connsiteY4" fmla="*/ 276640 h 347662"/>
              <a:gd name="connsiteX5" fmla="*/ 108560 w 325651"/>
              <a:gd name="connsiteY5" fmla="*/ 187435 h 347662"/>
              <a:gd name="connsiteX6" fmla="*/ 111097 w 325651"/>
              <a:gd name="connsiteY6" fmla="*/ 0 h 347662"/>
              <a:gd name="connsiteX7" fmla="*/ 11083 w 325651"/>
              <a:gd name="connsiteY7" fmla="*/ 7144 h 347662"/>
              <a:gd name="connsiteX0" fmla="*/ 8706 w 323274"/>
              <a:gd name="connsiteY0" fmla="*/ 7144 h 347662"/>
              <a:gd name="connsiteX1" fmla="*/ 19324 w 323274"/>
              <a:gd name="connsiteY1" fmla="*/ 204257 h 347662"/>
              <a:gd name="connsiteX2" fmla="*/ 92050 w 323274"/>
              <a:gd name="connsiteY2" fmla="*/ 280987 h 347662"/>
              <a:gd name="connsiteX3" fmla="*/ 256357 w 323274"/>
              <a:gd name="connsiteY3" fmla="*/ 347662 h 347662"/>
              <a:gd name="connsiteX4" fmla="*/ 315888 w 323274"/>
              <a:gd name="connsiteY4" fmla="*/ 276640 h 347662"/>
              <a:gd name="connsiteX5" fmla="*/ 106183 w 323274"/>
              <a:gd name="connsiteY5" fmla="*/ 187435 h 347662"/>
              <a:gd name="connsiteX6" fmla="*/ 108720 w 323274"/>
              <a:gd name="connsiteY6" fmla="*/ 0 h 347662"/>
              <a:gd name="connsiteX7" fmla="*/ 8706 w 323274"/>
              <a:gd name="connsiteY7" fmla="*/ 7144 h 347662"/>
              <a:gd name="connsiteX0" fmla="*/ 7261 w 321829"/>
              <a:gd name="connsiteY0" fmla="*/ 7144 h 347662"/>
              <a:gd name="connsiteX1" fmla="*/ 24493 w 321829"/>
              <a:gd name="connsiteY1" fmla="*/ 204257 h 347662"/>
              <a:gd name="connsiteX2" fmla="*/ 90605 w 321829"/>
              <a:gd name="connsiteY2" fmla="*/ 280987 h 347662"/>
              <a:gd name="connsiteX3" fmla="*/ 254912 w 321829"/>
              <a:gd name="connsiteY3" fmla="*/ 347662 h 347662"/>
              <a:gd name="connsiteX4" fmla="*/ 314443 w 321829"/>
              <a:gd name="connsiteY4" fmla="*/ 276640 h 347662"/>
              <a:gd name="connsiteX5" fmla="*/ 104738 w 321829"/>
              <a:gd name="connsiteY5" fmla="*/ 187435 h 347662"/>
              <a:gd name="connsiteX6" fmla="*/ 107275 w 321829"/>
              <a:gd name="connsiteY6" fmla="*/ 0 h 347662"/>
              <a:gd name="connsiteX7" fmla="*/ 7261 w 321829"/>
              <a:gd name="connsiteY7" fmla="*/ 7144 h 347662"/>
              <a:gd name="connsiteX0" fmla="*/ 8243 w 322811"/>
              <a:gd name="connsiteY0" fmla="*/ 7144 h 347662"/>
              <a:gd name="connsiteX1" fmla="*/ 20751 w 322811"/>
              <a:gd name="connsiteY1" fmla="*/ 204257 h 347662"/>
              <a:gd name="connsiteX2" fmla="*/ 91587 w 322811"/>
              <a:gd name="connsiteY2" fmla="*/ 280987 h 347662"/>
              <a:gd name="connsiteX3" fmla="*/ 255894 w 322811"/>
              <a:gd name="connsiteY3" fmla="*/ 347662 h 347662"/>
              <a:gd name="connsiteX4" fmla="*/ 315425 w 322811"/>
              <a:gd name="connsiteY4" fmla="*/ 276640 h 347662"/>
              <a:gd name="connsiteX5" fmla="*/ 105720 w 322811"/>
              <a:gd name="connsiteY5" fmla="*/ 187435 h 347662"/>
              <a:gd name="connsiteX6" fmla="*/ 108257 w 322811"/>
              <a:gd name="connsiteY6" fmla="*/ 0 h 347662"/>
              <a:gd name="connsiteX7" fmla="*/ 8243 w 322811"/>
              <a:gd name="connsiteY7" fmla="*/ 7144 h 347662"/>
              <a:gd name="connsiteX0" fmla="*/ 16298 w 331723"/>
              <a:gd name="connsiteY0" fmla="*/ 7144 h 349331"/>
              <a:gd name="connsiteX1" fmla="*/ 28806 w 331723"/>
              <a:gd name="connsiteY1" fmla="*/ 204257 h 349331"/>
              <a:gd name="connsiteX2" fmla="*/ 263949 w 331723"/>
              <a:gd name="connsiteY2" fmla="*/ 347662 h 349331"/>
              <a:gd name="connsiteX3" fmla="*/ 323480 w 331723"/>
              <a:gd name="connsiteY3" fmla="*/ 276640 h 349331"/>
              <a:gd name="connsiteX4" fmla="*/ 113775 w 331723"/>
              <a:gd name="connsiteY4" fmla="*/ 187435 h 349331"/>
              <a:gd name="connsiteX5" fmla="*/ 116312 w 331723"/>
              <a:gd name="connsiteY5" fmla="*/ 0 h 349331"/>
              <a:gd name="connsiteX6" fmla="*/ 16298 w 33172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9450 w 324875"/>
              <a:gd name="connsiteY0" fmla="*/ 7144 h 349331"/>
              <a:gd name="connsiteX1" fmla="*/ 21958 w 324875"/>
              <a:gd name="connsiteY1" fmla="*/ 204257 h 349331"/>
              <a:gd name="connsiteX2" fmla="*/ 257101 w 324875"/>
              <a:gd name="connsiteY2" fmla="*/ 347662 h 349331"/>
              <a:gd name="connsiteX3" fmla="*/ 316632 w 324875"/>
              <a:gd name="connsiteY3" fmla="*/ 276640 h 349331"/>
              <a:gd name="connsiteX4" fmla="*/ 106927 w 324875"/>
              <a:gd name="connsiteY4" fmla="*/ 187435 h 349331"/>
              <a:gd name="connsiteX5" fmla="*/ 109464 w 324875"/>
              <a:gd name="connsiteY5" fmla="*/ 0 h 349331"/>
              <a:gd name="connsiteX6" fmla="*/ 9450 w 324875"/>
              <a:gd name="connsiteY6" fmla="*/ 7144 h 349331"/>
              <a:gd name="connsiteX0" fmla="*/ 1117 w 316542"/>
              <a:gd name="connsiteY0" fmla="*/ 7144 h 349331"/>
              <a:gd name="connsiteX1" fmla="*/ 13625 w 316542"/>
              <a:gd name="connsiteY1" fmla="*/ 204257 h 349331"/>
              <a:gd name="connsiteX2" fmla="*/ 248768 w 316542"/>
              <a:gd name="connsiteY2" fmla="*/ 347662 h 349331"/>
              <a:gd name="connsiteX3" fmla="*/ 308299 w 316542"/>
              <a:gd name="connsiteY3" fmla="*/ 276640 h 349331"/>
              <a:gd name="connsiteX4" fmla="*/ 98594 w 316542"/>
              <a:gd name="connsiteY4" fmla="*/ 187435 h 349331"/>
              <a:gd name="connsiteX5" fmla="*/ 101131 w 316542"/>
              <a:gd name="connsiteY5" fmla="*/ 0 h 349331"/>
              <a:gd name="connsiteX6" fmla="*/ 1117 w 316542"/>
              <a:gd name="connsiteY6" fmla="*/ 7144 h 349331"/>
              <a:gd name="connsiteX0" fmla="*/ 520 w 315945"/>
              <a:gd name="connsiteY0" fmla="*/ 7144 h 349331"/>
              <a:gd name="connsiteX1" fmla="*/ 13028 w 315945"/>
              <a:gd name="connsiteY1" fmla="*/ 204257 h 349331"/>
              <a:gd name="connsiteX2" fmla="*/ 248171 w 315945"/>
              <a:gd name="connsiteY2" fmla="*/ 347662 h 349331"/>
              <a:gd name="connsiteX3" fmla="*/ 307702 w 315945"/>
              <a:gd name="connsiteY3" fmla="*/ 276640 h 349331"/>
              <a:gd name="connsiteX4" fmla="*/ 97997 w 315945"/>
              <a:gd name="connsiteY4" fmla="*/ 187435 h 349331"/>
              <a:gd name="connsiteX5" fmla="*/ 100534 w 315945"/>
              <a:gd name="connsiteY5" fmla="*/ 0 h 349331"/>
              <a:gd name="connsiteX6" fmla="*/ 520 w 31594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041"/>
              <a:gd name="connsiteY0" fmla="*/ 7144 h 349331"/>
              <a:gd name="connsiteX1" fmla="*/ 12508 w 315041"/>
              <a:gd name="connsiteY1" fmla="*/ 204257 h 349331"/>
              <a:gd name="connsiteX2" fmla="*/ 247651 w 315041"/>
              <a:gd name="connsiteY2" fmla="*/ 347662 h 349331"/>
              <a:gd name="connsiteX3" fmla="*/ 307182 w 315041"/>
              <a:gd name="connsiteY3" fmla="*/ 276640 h 349331"/>
              <a:gd name="connsiteX4" fmla="*/ 103146 w 315041"/>
              <a:gd name="connsiteY4" fmla="*/ 187435 h 349331"/>
              <a:gd name="connsiteX5" fmla="*/ 100014 w 315041"/>
              <a:gd name="connsiteY5" fmla="*/ 0 h 349331"/>
              <a:gd name="connsiteX6" fmla="*/ 0 w 315041"/>
              <a:gd name="connsiteY6" fmla="*/ 7144 h 349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041" h="349331">
                <a:moveTo>
                  <a:pt x="0" y="7144"/>
                </a:moveTo>
                <a:cubicBezTo>
                  <a:pt x="1006" y="86696"/>
                  <a:pt x="2413" y="178683"/>
                  <a:pt x="12508" y="204257"/>
                </a:cubicBezTo>
                <a:cubicBezTo>
                  <a:pt x="22603" y="229831"/>
                  <a:pt x="116338" y="291191"/>
                  <a:pt x="247651" y="347662"/>
                </a:cubicBezTo>
                <a:cubicBezTo>
                  <a:pt x="296763" y="359726"/>
                  <a:pt x="331266" y="303344"/>
                  <a:pt x="307182" y="276640"/>
                </a:cubicBezTo>
                <a:cubicBezTo>
                  <a:pt x="283098" y="249936"/>
                  <a:pt x="226971" y="282686"/>
                  <a:pt x="103146" y="187435"/>
                </a:cubicBezTo>
                <a:cubicBezTo>
                  <a:pt x="86478" y="131079"/>
                  <a:pt x="92870" y="53975"/>
                  <a:pt x="100014" y="0"/>
                </a:cubicBezTo>
                <a:lnTo>
                  <a:pt x="0" y="7144"/>
                </a:lnTo>
                <a:close/>
              </a:path>
            </a:pathLst>
          </a:custGeom>
          <a:solidFill>
            <a:srgbClr val="A5636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21F0A38-B4D9-407F-9733-46473F9E05DE}"/>
              </a:ext>
            </a:extLst>
          </p:cNvPr>
          <p:cNvSpPr/>
          <p:nvPr/>
        </p:nvSpPr>
        <p:spPr bwMode="auto">
          <a:xfrm>
            <a:off x="1386901" y="5374107"/>
            <a:ext cx="524821" cy="334885"/>
          </a:xfrm>
          <a:custGeom>
            <a:avLst/>
            <a:gdLst>
              <a:gd name="connsiteX0" fmla="*/ 0 w 250031"/>
              <a:gd name="connsiteY0" fmla="*/ 50006 h 159544"/>
              <a:gd name="connsiteX1" fmla="*/ 57150 w 250031"/>
              <a:gd name="connsiteY1" fmla="*/ 4762 h 159544"/>
              <a:gd name="connsiteX2" fmla="*/ 190500 w 250031"/>
              <a:gd name="connsiteY2" fmla="*/ 0 h 159544"/>
              <a:gd name="connsiteX3" fmla="*/ 250031 w 250031"/>
              <a:gd name="connsiteY3" fmla="*/ 80962 h 159544"/>
              <a:gd name="connsiteX4" fmla="*/ 192881 w 250031"/>
              <a:gd name="connsiteY4" fmla="*/ 159544 h 159544"/>
              <a:gd name="connsiteX5" fmla="*/ 9525 w 250031"/>
              <a:gd name="connsiteY5" fmla="*/ 135731 h 159544"/>
              <a:gd name="connsiteX6" fmla="*/ 0 w 250031"/>
              <a:gd name="connsiteY6" fmla="*/ 50006 h 15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031" h="159544">
                <a:moveTo>
                  <a:pt x="0" y="50006"/>
                </a:moveTo>
                <a:lnTo>
                  <a:pt x="57150" y="4762"/>
                </a:lnTo>
                <a:lnTo>
                  <a:pt x="190500" y="0"/>
                </a:lnTo>
                <a:lnTo>
                  <a:pt x="250031" y="80962"/>
                </a:lnTo>
                <a:lnTo>
                  <a:pt x="192881" y="159544"/>
                </a:lnTo>
                <a:lnTo>
                  <a:pt x="9525" y="135731"/>
                </a:lnTo>
                <a:lnTo>
                  <a:pt x="0" y="50006"/>
                </a:lnTo>
                <a:close/>
              </a:path>
            </a:pathLst>
          </a:custGeom>
          <a:solidFill>
            <a:srgbClr val="DFD5A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13D3C64-B335-462D-8F07-A743D7CD8480}"/>
              </a:ext>
            </a:extLst>
          </p:cNvPr>
          <p:cNvSpPr/>
          <p:nvPr/>
        </p:nvSpPr>
        <p:spPr bwMode="auto">
          <a:xfrm>
            <a:off x="1139075" y="5427540"/>
            <a:ext cx="1013288" cy="503710"/>
          </a:xfrm>
          <a:custGeom>
            <a:avLst/>
            <a:gdLst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4831 w 669131"/>
              <a:gd name="connsiteY0" fmla="*/ 261937 h 319087"/>
              <a:gd name="connsiteX1" fmla="*/ 669131 w 669131"/>
              <a:gd name="connsiteY1" fmla="*/ 266700 h 319087"/>
              <a:gd name="connsiteX2" fmla="*/ 504825 w 669131"/>
              <a:gd name="connsiteY2" fmla="*/ 0 h 319087"/>
              <a:gd name="connsiteX3" fmla="*/ 347662 w 669131"/>
              <a:gd name="connsiteY3" fmla="*/ 83343 h 319087"/>
              <a:gd name="connsiteX4" fmla="*/ 166687 w 669131"/>
              <a:gd name="connsiteY4" fmla="*/ 0 h 319087"/>
              <a:gd name="connsiteX5" fmla="*/ 0 w 669131"/>
              <a:gd name="connsiteY5" fmla="*/ 276225 h 319087"/>
              <a:gd name="connsiteX6" fmla="*/ 114300 w 669131"/>
              <a:gd name="connsiteY6" fmla="*/ 261937 h 319087"/>
              <a:gd name="connsiteX7" fmla="*/ 114300 w 669131"/>
              <a:gd name="connsiteY7" fmla="*/ 319087 h 319087"/>
              <a:gd name="connsiteX8" fmla="*/ 559593 w 669131"/>
              <a:gd name="connsiteY8" fmla="*/ 319087 h 319087"/>
              <a:gd name="connsiteX9" fmla="*/ 554831 w 669131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79 w 669679"/>
              <a:gd name="connsiteY0" fmla="*/ 261937 h 319087"/>
              <a:gd name="connsiteX1" fmla="*/ 669679 w 669679"/>
              <a:gd name="connsiteY1" fmla="*/ 266700 h 319087"/>
              <a:gd name="connsiteX2" fmla="*/ 505373 w 669679"/>
              <a:gd name="connsiteY2" fmla="*/ 0 h 319087"/>
              <a:gd name="connsiteX3" fmla="*/ 348210 w 669679"/>
              <a:gd name="connsiteY3" fmla="*/ 83343 h 319087"/>
              <a:gd name="connsiteX4" fmla="*/ 167235 w 669679"/>
              <a:gd name="connsiteY4" fmla="*/ 0 h 319087"/>
              <a:gd name="connsiteX5" fmla="*/ 548 w 669679"/>
              <a:gd name="connsiteY5" fmla="*/ 276225 h 319087"/>
              <a:gd name="connsiteX6" fmla="*/ 114848 w 669679"/>
              <a:gd name="connsiteY6" fmla="*/ 261937 h 319087"/>
              <a:gd name="connsiteX7" fmla="*/ 114848 w 669679"/>
              <a:gd name="connsiteY7" fmla="*/ 319087 h 319087"/>
              <a:gd name="connsiteX8" fmla="*/ 560141 w 669679"/>
              <a:gd name="connsiteY8" fmla="*/ 319087 h 319087"/>
              <a:gd name="connsiteX9" fmla="*/ 555379 w 669679"/>
              <a:gd name="connsiteY9" fmla="*/ 261937 h 319087"/>
              <a:gd name="connsiteX0" fmla="*/ 555302 w 669602"/>
              <a:gd name="connsiteY0" fmla="*/ 271462 h 328612"/>
              <a:gd name="connsiteX1" fmla="*/ 669602 w 669602"/>
              <a:gd name="connsiteY1" fmla="*/ 276225 h 328612"/>
              <a:gd name="connsiteX2" fmla="*/ 505296 w 669602"/>
              <a:gd name="connsiteY2" fmla="*/ 9525 h 328612"/>
              <a:gd name="connsiteX3" fmla="*/ 348133 w 669602"/>
              <a:gd name="connsiteY3" fmla="*/ 92868 h 328612"/>
              <a:gd name="connsiteX4" fmla="*/ 176683 w 669602"/>
              <a:gd name="connsiteY4" fmla="*/ 0 h 328612"/>
              <a:gd name="connsiteX5" fmla="*/ 471 w 669602"/>
              <a:gd name="connsiteY5" fmla="*/ 285750 h 328612"/>
              <a:gd name="connsiteX6" fmla="*/ 114771 w 669602"/>
              <a:gd name="connsiteY6" fmla="*/ 271462 h 328612"/>
              <a:gd name="connsiteX7" fmla="*/ 114771 w 669602"/>
              <a:gd name="connsiteY7" fmla="*/ 328612 h 328612"/>
              <a:gd name="connsiteX8" fmla="*/ 560064 w 669602"/>
              <a:gd name="connsiteY8" fmla="*/ 328612 h 328612"/>
              <a:gd name="connsiteX9" fmla="*/ 555302 w 669602"/>
              <a:gd name="connsiteY9" fmla="*/ 271462 h 328612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81484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48133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104775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29083 w 669602"/>
              <a:gd name="connsiteY3" fmla="*/ 109537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6227 w 669602"/>
              <a:gd name="connsiteY3" fmla="*/ 100012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302 w 669602"/>
              <a:gd name="connsiteY0" fmla="*/ 273844 h 330994"/>
              <a:gd name="connsiteX1" fmla="*/ 669602 w 669602"/>
              <a:gd name="connsiteY1" fmla="*/ 278607 h 330994"/>
              <a:gd name="connsiteX2" fmla="*/ 491009 w 669602"/>
              <a:gd name="connsiteY2" fmla="*/ 0 h 330994"/>
              <a:gd name="connsiteX3" fmla="*/ 338608 w 669602"/>
              <a:gd name="connsiteY3" fmla="*/ 95250 h 330994"/>
              <a:gd name="connsiteX4" fmla="*/ 176683 w 669602"/>
              <a:gd name="connsiteY4" fmla="*/ 2382 h 330994"/>
              <a:gd name="connsiteX5" fmla="*/ 471 w 669602"/>
              <a:gd name="connsiteY5" fmla="*/ 288132 h 330994"/>
              <a:gd name="connsiteX6" fmla="*/ 114771 w 669602"/>
              <a:gd name="connsiteY6" fmla="*/ 273844 h 330994"/>
              <a:gd name="connsiteX7" fmla="*/ 114771 w 669602"/>
              <a:gd name="connsiteY7" fmla="*/ 330994 h 330994"/>
              <a:gd name="connsiteX8" fmla="*/ 560064 w 669602"/>
              <a:gd name="connsiteY8" fmla="*/ 330994 h 330994"/>
              <a:gd name="connsiteX9" fmla="*/ 555302 w 669602"/>
              <a:gd name="connsiteY9" fmla="*/ 273844 h 330994"/>
              <a:gd name="connsiteX0" fmla="*/ 555259 w 669559"/>
              <a:gd name="connsiteY0" fmla="*/ 273844 h 330994"/>
              <a:gd name="connsiteX1" fmla="*/ 669559 w 669559"/>
              <a:gd name="connsiteY1" fmla="*/ 278607 h 330994"/>
              <a:gd name="connsiteX2" fmla="*/ 490966 w 669559"/>
              <a:gd name="connsiteY2" fmla="*/ 0 h 330994"/>
              <a:gd name="connsiteX3" fmla="*/ 338565 w 669559"/>
              <a:gd name="connsiteY3" fmla="*/ 95250 h 330994"/>
              <a:gd name="connsiteX4" fmla="*/ 183254 w 669559"/>
              <a:gd name="connsiteY4" fmla="*/ 2382 h 330994"/>
              <a:gd name="connsiteX5" fmla="*/ 428 w 669559"/>
              <a:gd name="connsiteY5" fmla="*/ 288132 h 330994"/>
              <a:gd name="connsiteX6" fmla="*/ 114728 w 669559"/>
              <a:gd name="connsiteY6" fmla="*/ 273844 h 330994"/>
              <a:gd name="connsiteX7" fmla="*/ 114728 w 669559"/>
              <a:gd name="connsiteY7" fmla="*/ 330994 h 330994"/>
              <a:gd name="connsiteX8" fmla="*/ 560021 w 669559"/>
              <a:gd name="connsiteY8" fmla="*/ 330994 h 330994"/>
              <a:gd name="connsiteX9" fmla="*/ 555259 w 669559"/>
              <a:gd name="connsiteY9" fmla="*/ 273844 h 330994"/>
              <a:gd name="connsiteX0" fmla="*/ 555294 w 669594"/>
              <a:gd name="connsiteY0" fmla="*/ 273844 h 330994"/>
              <a:gd name="connsiteX1" fmla="*/ 669594 w 669594"/>
              <a:gd name="connsiteY1" fmla="*/ 278607 h 330994"/>
              <a:gd name="connsiteX2" fmla="*/ 491001 w 669594"/>
              <a:gd name="connsiteY2" fmla="*/ 0 h 330994"/>
              <a:gd name="connsiteX3" fmla="*/ 338600 w 669594"/>
              <a:gd name="connsiteY3" fmla="*/ 95250 h 330994"/>
              <a:gd name="connsiteX4" fmla="*/ 177620 w 669594"/>
              <a:gd name="connsiteY4" fmla="*/ 2382 h 330994"/>
              <a:gd name="connsiteX5" fmla="*/ 463 w 669594"/>
              <a:gd name="connsiteY5" fmla="*/ 288132 h 330994"/>
              <a:gd name="connsiteX6" fmla="*/ 114763 w 669594"/>
              <a:gd name="connsiteY6" fmla="*/ 273844 h 330994"/>
              <a:gd name="connsiteX7" fmla="*/ 114763 w 669594"/>
              <a:gd name="connsiteY7" fmla="*/ 330994 h 330994"/>
              <a:gd name="connsiteX8" fmla="*/ 560056 w 669594"/>
              <a:gd name="connsiteY8" fmla="*/ 330994 h 330994"/>
              <a:gd name="connsiteX9" fmla="*/ 555294 w 669594"/>
              <a:gd name="connsiteY9" fmla="*/ 273844 h 330994"/>
              <a:gd name="connsiteX0" fmla="*/ 555294 w 669594"/>
              <a:gd name="connsiteY0" fmla="*/ 273844 h 330994"/>
              <a:gd name="connsiteX1" fmla="*/ 669594 w 669594"/>
              <a:gd name="connsiteY1" fmla="*/ 278607 h 330994"/>
              <a:gd name="connsiteX2" fmla="*/ 491001 w 669594"/>
              <a:gd name="connsiteY2" fmla="*/ 0 h 330994"/>
              <a:gd name="connsiteX3" fmla="*/ 335766 w 669594"/>
              <a:gd name="connsiteY3" fmla="*/ 95250 h 330994"/>
              <a:gd name="connsiteX4" fmla="*/ 177620 w 669594"/>
              <a:gd name="connsiteY4" fmla="*/ 2382 h 330994"/>
              <a:gd name="connsiteX5" fmla="*/ 463 w 669594"/>
              <a:gd name="connsiteY5" fmla="*/ 288132 h 330994"/>
              <a:gd name="connsiteX6" fmla="*/ 114763 w 669594"/>
              <a:gd name="connsiteY6" fmla="*/ 273844 h 330994"/>
              <a:gd name="connsiteX7" fmla="*/ 114763 w 669594"/>
              <a:gd name="connsiteY7" fmla="*/ 330994 h 330994"/>
              <a:gd name="connsiteX8" fmla="*/ 560056 w 669594"/>
              <a:gd name="connsiteY8" fmla="*/ 330994 h 330994"/>
              <a:gd name="connsiteX9" fmla="*/ 555294 w 669594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11012 w 665843"/>
              <a:gd name="connsiteY6" fmla="*/ 273844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20460 w 665843"/>
              <a:gd name="connsiteY6" fmla="*/ 260616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  <a:gd name="connsiteX0" fmla="*/ 551543 w 665843"/>
              <a:gd name="connsiteY0" fmla="*/ 273844 h 330994"/>
              <a:gd name="connsiteX1" fmla="*/ 665843 w 665843"/>
              <a:gd name="connsiteY1" fmla="*/ 278607 h 330994"/>
              <a:gd name="connsiteX2" fmla="*/ 487250 w 665843"/>
              <a:gd name="connsiteY2" fmla="*/ 0 h 330994"/>
              <a:gd name="connsiteX3" fmla="*/ 332015 w 665843"/>
              <a:gd name="connsiteY3" fmla="*/ 95250 h 330994"/>
              <a:gd name="connsiteX4" fmla="*/ 173869 w 665843"/>
              <a:gd name="connsiteY4" fmla="*/ 2382 h 330994"/>
              <a:gd name="connsiteX5" fmla="*/ 491 w 665843"/>
              <a:gd name="connsiteY5" fmla="*/ 268291 h 330994"/>
              <a:gd name="connsiteX6" fmla="*/ 110067 w 665843"/>
              <a:gd name="connsiteY6" fmla="*/ 261561 h 330994"/>
              <a:gd name="connsiteX7" fmla="*/ 111012 w 665843"/>
              <a:gd name="connsiteY7" fmla="*/ 330994 h 330994"/>
              <a:gd name="connsiteX8" fmla="*/ 556305 w 665843"/>
              <a:gd name="connsiteY8" fmla="*/ 330994 h 330994"/>
              <a:gd name="connsiteX9" fmla="*/ 551543 w 665843"/>
              <a:gd name="connsiteY9" fmla="*/ 273844 h 33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5843" h="330994">
                <a:moveTo>
                  <a:pt x="551543" y="273844"/>
                </a:moveTo>
                <a:lnTo>
                  <a:pt x="665843" y="278607"/>
                </a:lnTo>
                <a:cubicBezTo>
                  <a:pt x="653936" y="120651"/>
                  <a:pt x="625362" y="72231"/>
                  <a:pt x="487250" y="0"/>
                </a:cubicBezTo>
                <a:cubicBezTo>
                  <a:pt x="484869" y="41275"/>
                  <a:pt x="384245" y="94853"/>
                  <a:pt x="332015" y="95250"/>
                </a:cubicBezTo>
                <a:cubicBezTo>
                  <a:pt x="279785" y="95647"/>
                  <a:pt x="210381" y="80170"/>
                  <a:pt x="173869" y="2382"/>
                </a:cubicBezTo>
                <a:cubicBezTo>
                  <a:pt x="49250" y="65882"/>
                  <a:pt x="-5859" y="145260"/>
                  <a:pt x="491" y="268291"/>
                </a:cubicBezTo>
                <a:lnTo>
                  <a:pt x="110067" y="261561"/>
                </a:lnTo>
                <a:lnTo>
                  <a:pt x="111012" y="330994"/>
                </a:lnTo>
                <a:lnTo>
                  <a:pt x="556305" y="330994"/>
                </a:lnTo>
                <a:lnTo>
                  <a:pt x="551543" y="2738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7EF0BB6-48A0-44C2-8DFE-D017F30D6795}"/>
              </a:ext>
            </a:extLst>
          </p:cNvPr>
          <p:cNvSpPr/>
          <p:nvPr/>
        </p:nvSpPr>
        <p:spPr bwMode="auto">
          <a:xfrm>
            <a:off x="1303697" y="5402171"/>
            <a:ext cx="682659" cy="883071"/>
          </a:xfrm>
          <a:custGeom>
            <a:avLst/>
            <a:gdLst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0 w 442913"/>
              <a:gd name="connsiteY15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1431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2913"/>
              <a:gd name="connsiteY0" fmla="*/ 340519 h 583407"/>
              <a:gd name="connsiteX1" fmla="*/ 16669 w 442913"/>
              <a:gd name="connsiteY1" fmla="*/ 583407 h 583407"/>
              <a:gd name="connsiteX2" fmla="*/ 438150 w 442913"/>
              <a:gd name="connsiteY2" fmla="*/ 583407 h 583407"/>
              <a:gd name="connsiteX3" fmla="*/ 442913 w 442913"/>
              <a:gd name="connsiteY3" fmla="*/ 340519 h 583407"/>
              <a:gd name="connsiteX4" fmla="*/ 404813 w 442913"/>
              <a:gd name="connsiteY4" fmla="*/ 340519 h 583407"/>
              <a:gd name="connsiteX5" fmla="*/ 402431 w 442913"/>
              <a:gd name="connsiteY5" fmla="*/ 221457 h 583407"/>
              <a:gd name="connsiteX6" fmla="*/ 369094 w 442913"/>
              <a:gd name="connsiteY6" fmla="*/ 221457 h 583407"/>
              <a:gd name="connsiteX7" fmla="*/ 376238 w 442913"/>
              <a:gd name="connsiteY7" fmla="*/ 14288 h 583407"/>
              <a:gd name="connsiteX8" fmla="*/ 333375 w 442913"/>
              <a:gd name="connsiteY8" fmla="*/ 0 h 583407"/>
              <a:gd name="connsiteX9" fmla="*/ 335756 w 442913"/>
              <a:gd name="connsiteY9" fmla="*/ 228600 h 583407"/>
              <a:gd name="connsiteX10" fmla="*/ 111919 w 442913"/>
              <a:gd name="connsiteY10" fmla="*/ 228600 h 583407"/>
              <a:gd name="connsiteX11" fmla="*/ 107156 w 442913"/>
              <a:gd name="connsiteY11" fmla="*/ 7144 h 583407"/>
              <a:gd name="connsiteX12" fmla="*/ 64294 w 442913"/>
              <a:gd name="connsiteY12" fmla="*/ 19050 h 583407"/>
              <a:gd name="connsiteX13" fmla="*/ 64294 w 442913"/>
              <a:gd name="connsiteY13" fmla="*/ 223838 h 583407"/>
              <a:gd name="connsiteX14" fmla="*/ 33338 w 442913"/>
              <a:gd name="connsiteY14" fmla="*/ 223838 h 583407"/>
              <a:gd name="connsiteX15" fmla="*/ 28575 w 442913"/>
              <a:gd name="connsiteY15" fmla="*/ 340519 h 583407"/>
              <a:gd name="connsiteX16" fmla="*/ 0 w 442913"/>
              <a:gd name="connsiteY16" fmla="*/ 340519 h 583407"/>
              <a:gd name="connsiteX0" fmla="*/ 0 w 445748"/>
              <a:gd name="connsiteY0" fmla="*/ 340519 h 583407"/>
              <a:gd name="connsiteX1" fmla="*/ 16669 w 445748"/>
              <a:gd name="connsiteY1" fmla="*/ 583407 h 583407"/>
              <a:gd name="connsiteX2" fmla="*/ 438150 w 445748"/>
              <a:gd name="connsiteY2" fmla="*/ 583407 h 583407"/>
              <a:gd name="connsiteX3" fmla="*/ 445748 w 445748"/>
              <a:gd name="connsiteY3" fmla="*/ 340519 h 583407"/>
              <a:gd name="connsiteX4" fmla="*/ 404813 w 445748"/>
              <a:gd name="connsiteY4" fmla="*/ 340519 h 583407"/>
              <a:gd name="connsiteX5" fmla="*/ 402431 w 445748"/>
              <a:gd name="connsiteY5" fmla="*/ 221457 h 583407"/>
              <a:gd name="connsiteX6" fmla="*/ 369094 w 445748"/>
              <a:gd name="connsiteY6" fmla="*/ 221457 h 583407"/>
              <a:gd name="connsiteX7" fmla="*/ 376238 w 445748"/>
              <a:gd name="connsiteY7" fmla="*/ 14288 h 583407"/>
              <a:gd name="connsiteX8" fmla="*/ 333375 w 445748"/>
              <a:gd name="connsiteY8" fmla="*/ 0 h 583407"/>
              <a:gd name="connsiteX9" fmla="*/ 335756 w 445748"/>
              <a:gd name="connsiteY9" fmla="*/ 228600 h 583407"/>
              <a:gd name="connsiteX10" fmla="*/ 111919 w 445748"/>
              <a:gd name="connsiteY10" fmla="*/ 228600 h 583407"/>
              <a:gd name="connsiteX11" fmla="*/ 107156 w 445748"/>
              <a:gd name="connsiteY11" fmla="*/ 7144 h 583407"/>
              <a:gd name="connsiteX12" fmla="*/ 64294 w 445748"/>
              <a:gd name="connsiteY12" fmla="*/ 19050 h 583407"/>
              <a:gd name="connsiteX13" fmla="*/ 64294 w 445748"/>
              <a:gd name="connsiteY13" fmla="*/ 223838 h 583407"/>
              <a:gd name="connsiteX14" fmla="*/ 33338 w 445748"/>
              <a:gd name="connsiteY14" fmla="*/ 223838 h 583407"/>
              <a:gd name="connsiteX15" fmla="*/ 28575 w 445748"/>
              <a:gd name="connsiteY15" fmla="*/ 340519 h 583407"/>
              <a:gd name="connsiteX16" fmla="*/ 0 w 445748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36173 w 448583"/>
              <a:gd name="connsiteY14" fmla="*/ 223838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36173 w 448583"/>
              <a:gd name="connsiteY14" fmla="*/ 223838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7129 w 448583"/>
              <a:gd name="connsiteY13" fmla="*/ 223838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71929 w 448583"/>
              <a:gd name="connsiteY6" fmla="*/ 221457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19504 w 448583"/>
              <a:gd name="connsiteY1" fmla="*/ 583407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3407"/>
              <a:gd name="connsiteX1" fmla="*/ 32022 w 448583"/>
              <a:gd name="connsiteY1" fmla="*/ 563065 h 583407"/>
              <a:gd name="connsiteX2" fmla="*/ 440985 w 448583"/>
              <a:gd name="connsiteY2" fmla="*/ 583407 h 583407"/>
              <a:gd name="connsiteX3" fmla="*/ 448583 w 448583"/>
              <a:gd name="connsiteY3" fmla="*/ 340519 h 583407"/>
              <a:gd name="connsiteX4" fmla="*/ 407648 w 448583"/>
              <a:gd name="connsiteY4" fmla="*/ 340519 h 583407"/>
              <a:gd name="connsiteX5" fmla="*/ 405266 w 448583"/>
              <a:gd name="connsiteY5" fmla="*/ 221457 h 583407"/>
              <a:gd name="connsiteX6" fmla="*/ 368150 w 448583"/>
              <a:gd name="connsiteY6" fmla="*/ 229016 h 583407"/>
              <a:gd name="connsiteX7" fmla="*/ 379073 w 448583"/>
              <a:gd name="connsiteY7" fmla="*/ 14288 h 583407"/>
              <a:gd name="connsiteX8" fmla="*/ 336210 w 448583"/>
              <a:gd name="connsiteY8" fmla="*/ 0 h 583407"/>
              <a:gd name="connsiteX9" fmla="*/ 338591 w 448583"/>
              <a:gd name="connsiteY9" fmla="*/ 228600 h 583407"/>
              <a:gd name="connsiteX10" fmla="*/ 114754 w 448583"/>
              <a:gd name="connsiteY10" fmla="*/ 228600 h 583407"/>
              <a:gd name="connsiteX11" fmla="*/ 109991 w 448583"/>
              <a:gd name="connsiteY11" fmla="*/ 7144 h 583407"/>
              <a:gd name="connsiteX12" fmla="*/ 67129 w 448583"/>
              <a:gd name="connsiteY12" fmla="*/ 19050 h 583407"/>
              <a:gd name="connsiteX13" fmla="*/ 66184 w 448583"/>
              <a:gd name="connsiteY13" fmla="*/ 229507 h 583407"/>
              <a:gd name="connsiteX14" fmla="*/ 29559 w 448583"/>
              <a:gd name="connsiteY14" fmla="*/ 226672 h 583407"/>
              <a:gd name="connsiteX15" fmla="*/ 31410 w 448583"/>
              <a:gd name="connsiteY15" fmla="*/ 340519 h 583407"/>
              <a:gd name="connsiteX16" fmla="*/ 0 w 448583"/>
              <a:gd name="connsiteY16" fmla="*/ 340519 h 583407"/>
              <a:gd name="connsiteX0" fmla="*/ 0 w 448583"/>
              <a:gd name="connsiteY0" fmla="*/ 340519 h 580277"/>
              <a:gd name="connsiteX1" fmla="*/ 32022 w 448583"/>
              <a:gd name="connsiteY1" fmla="*/ 563065 h 580277"/>
              <a:gd name="connsiteX2" fmla="*/ 430031 w 448583"/>
              <a:gd name="connsiteY2" fmla="*/ 580277 h 580277"/>
              <a:gd name="connsiteX3" fmla="*/ 448583 w 448583"/>
              <a:gd name="connsiteY3" fmla="*/ 340519 h 580277"/>
              <a:gd name="connsiteX4" fmla="*/ 407648 w 448583"/>
              <a:gd name="connsiteY4" fmla="*/ 340519 h 580277"/>
              <a:gd name="connsiteX5" fmla="*/ 405266 w 448583"/>
              <a:gd name="connsiteY5" fmla="*/ 221457 h 580277"/>
              <a:gd name="connsiteX6" fmla="*/ 368150 w 448583"/>
              <a:gd name="connsiteY6" fmla="*/ 229016 h 580277"/>
              <a:gd name="connsiteX7" fmla="*/ 379073 w 448583"/>
              <a:gd name="connsiteY7" fmla="*/ 14288 h 580277"/>
              <a:gd name="connsiteX8" fmla="*/ 336210 w 448583"/>
              <a:gd name="connsiteY8" fmla="*/ 0 h 580277"/>
              <a:gd name="connsiteX9" fmla="*/ 338591 w 448583"/>
              <a:gd name="connsiteY9" fmla="*/ 228600 h 580277"/>
              <a:gd name="connsiteX10" fmla="*/ 114754 w 448583"/>
              <a:gd name="connsiteY10" fmla="*/ 228600 h 580277"/>
              <a:gd name="connsiteX11" fmla="*/ 109991 w 448583"/>
              <a:gd name="connsiteY11" fmla="*/ 7144 h 580277"/>
              <a:gd name="connsiteX12" fmla="*/ 67129 w 448583"/>
              <a:gd name="connsiteY12" fmla="*/ 19050 h 580277"/>
              <a:gd name="connsiteX13" fmla="*/ 66184 w 448583"/>
              <a:gd name="connsiteY13" fmla="*/ 229507 h 580277"/>
              <a:gd name="connsiteX14" fmla="*/ 29559 w 448583"/>
              <a:gd name="connsiteY14" fmla="*/ 226672 h 580277"/>
              <a:gd name="connsiteX15" fmla="*/ 31410 w 448583"/>
              <a:gd name="connsiteY15" fmla="*/ 340519 h 580277"/>
              <a:gd name="connsiteX16" fmla="*/ 0 w 448583"/>
              <a:gd name="connsiteY16" fmla="*/ 340519 h 58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583" h="580277">
                <a:moveTo>
                  <a:pt x="0" y="340519"/>
                </a:moveTo>
                <a:lnTo>
                  <a:pt x="32022" y="563065"/>
                </a:lnTo>
                <a:lnTo>
                  <a:pt x="430031" y="580277"/>
                </a:lnTo>
                <a:cubicBezTo>
                  <a:pt x="431619" y="499314"/>
                  <a:pt x="446995" y="421482"/>
                  <a:pt x="448583" y="340519"/>
                </a:cubicBezTo>
                <a:lnTo>
                  <a:pt x="407648" y="340519"/>
                </a:lnTo>
                <a:lnTo>
                  <a:pt x="405266" y="221457"/>
                </a:lnTo>
                <a:lnTo>
                  <a:pt x="368150" y="229016"/>
                </a:lnTo>
                <a:lnTo>
                  <a:pt x="379073" y="14288"/>
                </a:lnTo>
                <a:lnTo>
                  <a:pt x="336210" y="0"/>
                </a:lnTo>
                <a:cubicBezTo>
                  <a:pt x="337004" y="76200"/>
                  <a:pt x="337797" y="152400"/>
                  <a:pt x="338591" y="228600"/>
                </a:cubicBezTo>
                <a:lnTo>
                  <a:pt x="114754" y="228600"/>
                </a:lnTo>
                <a:cubicBezTo>
                  <a:pt x="113166" y="154781"/>
                  <a:pt x="98351" y="88522"/>
                  <a:pt x="109991" y="7144"/>
                </a:cubicBezTo>
                <a:lnTo>
                  <a:pt x="67129" y="19050"/>
                </a:lnTo>
                <a:lnTo>
                  <a:pt x="66184" y="229507"/>
                </a:lnTo>
                <a:lnTo>
                  <a:pt x="29559" y="226672"/>
                </a:lnTo>
                <a:cubicBezTo>
                  <a:pt x="30427" y="263146"/>
                  <a:pt x="31448" y="303061"/>
                  <a:pt x="31410" y="340519"/>
                </a:cubicBezTo>
                <a:lnTo>
                  <a:pt x="0" y="34051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5A0BB53-8EFF-458C-B27C-C68F5D4C624C}"/>
              </a:ext>
            </a:extLst>
          </p:cNvPr>
          <p:cNvSpPr/>
          <p:nvPr/>
        </p:nvSpPr>
        <p:spPr bwMode="auto">
          <a:xfrm flipH="1">
            <a:off x="1706389" y="5844849"/>
            <a:ext cx="438081" cy="531615"/>
          </a:xfrm>
          <a:custGeom>
            <a:avLst/>
            <a:gdLst>
              <a:gd name="connsiteX0" fmla="*/ 28575 w 338138"/>
              <a:gd name="connsiteY0" fmla="*/ 19050 h 357187"/>
              <a:gd name="connsiteX1" fmla="*/ 0 w 338138"/>
              <a:gd name="connsiteY1" fmla="*/ 207168 h 357187"/>
              <a:gd name="connsiteX2" fmla="*/ 121444 w 338138"/>
              <a:gd name="connsiteY2" fmla="*/ 300037 h 357187"/>
              <a:gd name="connsiteX3" fmla="*/ 278607 w 338138"/>
              <a:gd name="connsiteY3" fmla="*/ 357187 h 357187"/>
              <a:gd name="connsiteX4" fmla="*/ 338138 w 338138"/>
              <a:gd name="connsiteY4" fmla="*/ 278606 h 357187"/>
              <a:gd name="connsiteX5" fmla="*/ 92869 w 338138"/>
              <a:gd name="connsiteY5" fmla="*/ 173831 h 357187"/>
              <a:gd name="connsiteX6" fmla="*/ 128588 w 338138"/>
              <a:gd name="connsiteY6" fmla="*/ 0 h 357187"/>
              <a:gd name="connsiteX7" fmla="*/ 28575 w 338138"/>
              <a:gd name="connsiteY7" fmla="*/ 19050 h 357187"/>
              <a:gd name="connsiteX0" fmla="*/ 28575 w 338138"/>
              <a:gd name="connsiteY0" fmla="*/ 4762 h 342899"/>
              <a:gd name="connsiteX1" fmla="*/ 0 w 338138"/>
              <a:gd name="connsiteY1" fmla="*/ 192880 h 342899"/>
              <a:gd name="connsiteX2" fmla="*/ 121444 w 338138"/>
              <a:gd name="connsiteY2" fmla="*/ 285749 h 342899"/>
              <a:gd name="connsiteX3" fmla="*/ 278607 w 338138"/>
              <a:gd name="connsiteY3" fmla="*/ 342899 h 342899"/>
              <a:gd name="connsiteX4" fmla="*/ 338138 w 338138"/>
              <a:gd name="connsiteY4" fmla="*/ 264318 h 342899"/>
              <a:gd name="connsiteX5" fmla="*/ 92869 w 338138"/>
              <a:gd name="connsiteY5" fmla="*/ 159543 h 342899"/>
              <a:gd name="connsiteX6" fmla="*/ 126207 w 338138"/>
              <a:gd name="connsiteY6" fmla="*/ 0 h 342899"/>
              <a:gd name="connsiteX7" fmla="*/ 28575 w 338138"/>
              <a:gd name="connsiteY7" fmla="*/ 4762 h 342899"/>
              <a:gd name="connsiteX0" fmla="*/ 28575 w 338138"/>
              <a:gd name="connsiteY0" fmla="*/ 9525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28575 w 338138"/>
              <a:gd name="connsiteY7" fmla="*/ 9525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76640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54734"/>
              <a:gd name="connsiteY0" fmla="*/ 7144 h 347662"/>
              <a:gd name="connsiteX1" fmla="*/ 0 w 354734"/>
              <a:gd name="connsiteY1" fmla="*/ 197643 h 347662"/>
              <a:gd name="connsiteX2" fmla="*/ 114300 w 354734"/>
              <a:gd name="connsiteY2" fmla="*/ 280987 h 347662"/>
              <a:gd name="connsiteX3" fmla="*/ 278607 w 354734"/>
              <a:gd name="connsiteY3" fmla="*/ 347662 h 347662"/>
              <a:gd name="connsiteX4" fmla="*/ 338138 w 354734"/>
              <a:gd name="connsiteY4" fmla="*/ 276640 h 347662"/>
              <a:gd name="connsiteX5" fmla="*/ 109537 w 354734"/>
              <a:gd name="connsiteY5" fmla="*/ 161925 h 347662"/>
              <a:gd name="connsiteX6" fmla="*/ 130970 w 354734"/>
              <a:gd name="connsiteY6" fmla="*/ 0 h 347662"/>
              <a:gd name="connsiteX7" fmla="*/ 30956 w 354734"/>
              <a:gd name="connsiteY7" fmla="*/ 7144 h 347662"/>
              <a:gd name="connsiteX0" fmla="*/ 30956 w 345861"/>
              <a:gd name="connsiteY0" fmla="*/ 7144 h 347662"/>
              <a:gd name="connsiteX1" fmla="*/ 0 w 345861"/>
              <a:gd name="connsiteY1" fmla="*/ 197643 h 347662"/>
              <a:gd name="connsiteX2" fmla="*/ 114300 w 345861"/>
              <a:gd name="connsiteY2" fmla="*/ 280987 h 347662"/>
              <a:gd name="connsiteX3" fmla="*/ 278607 w 345861"/>
              <a:gd name="connsiteY3" fmla="*/ 347662 h 347662"/>
              <a:gd name="connsiteX4" fmla="*/ 338138 w 345861"/>
              <a:gd name="connsiteY4" fmla="*/ 276640 h 347662"/>
              <a:gd name="connsiteX5" fmla="*/ 109537 w 345861"/>
              <a:gd name="connsiteY5" fmla="*/ 161925 h 347662"/>
              <a:gd name="connsiteX6" fmla="*/ 130970 w 345861"/>
              <a:gd name="connsiteY6" fmla="*/ 0 h 347662"/>
              <a:gd name="connsiteX7" fmla="*/ 30956 w 345861"/>
              <a:gd name="connsiteY7" fmla="*/ 7144 h 347662"/>
              <a:gd name="connsiteX0" fmla="*/ 30956 w 342311"/>
              <a:gd name="connsiteY0" fmla="*/ 7144 h 347662"/>
              <a:gd name="connsiteX1" fmla="*/ 0 w 342311"/>
              <a:gd name="connsiteY1" fmla="*/ 197643 h 347662"/>
              <a:gd name="connsiteX2" fmla="*/ 114300 w 342311"/>
              <a:gd name="connsiteY2" fmla="*/ 280987 h 347662"/>
              <a:gd name="connsiteX3" fmla="*/ 278607 w 342311"/>
              <a:gd name="connsiteY3" fmla="*/ 347662 h 347662"/>
              <a:gd name="connsiteX4" fmla="*/ 338138 w 342311"/>
              <a:gd name="connsiteY4" fmla="*/ 276640 h 347662"/>
              <a:gd name="connsiteX5" fmla="*/ 109537 w 342311"/>
              <a:gd name="connsiteY5" fmla="*/ 161925 h 347662"/>
              <a:gd name="connsiteX6" fmla="*/ 130970 w 342311"/>
              <a:gd name="connsiteY6" fmla="*/ 0 h 347662"/>
              <a:gd name="connsiteX7" fmla="*/ 30956 w 342311"/>
              <a:gd name="connsiteY7" fmla="*/ 7144 h 347662"/>
              <a:gd name="connsiteX0" fmla="*/ 30956 w 346077"/>
              <a:gd name="connsiteY0" fmla="*/ 7144 h 347662"/>
              <a:gd name="connsiteX1" fmla="*/ 0 w 346077"/>
              <a:gd name="connsiteY1" fmla="*/ 197643 h 347662"/>
              <a:gd name="connsiteX2" fmla="*/ 114300 w 346077"/>
              <a:gd name="connsiteY2" fmla="*/ 280987 h 347662"/>
              <a:gd name="connsiteX3" fmla="*/ 278607 w 346077"/>
              <a:gd name="connsiteY3" fmla="*/ 347662 h 347662"/>
              <a:gd name="connsiteX4" fmla="*/ 338138 w 346077"/>
              <a:gd name="connsiteY4" fmla="*/ 276640 h 347662"/>
              <a:gd name="connsiteX5" fmla="*/ 119930 w 346077"/>
              <a:gd name="connsiteY5" fmla="*/ 167594 h 347662"/>
              <a:gd name="connsiteX6" fmla="*/ 130970 w 346077"/>
              <a:gd name="connsiteY6" fmla="*/ 0 h 347662"/>
              <a:gd name="connsiteX7" fmla="*/ 30956 w 346077"/>
              <a:gd name="connsiteY7" fmla="*/ 7144 h 347662"/>
              <a:gd name="connsiteX0" fmla="*/ 30956 w 345219"/>
              <a:gd name="connsiteY0" fmla="*/ 7144 h 347662"/>
              <a:gd name="connsiteX1" fmla="*/ 0 w 345219"/>
              <a:gd name="connsiteY1" fmla="*/ 197643 h 347662"/>
              <a:gd name="connsiteX2" fmla="*/ 114300 w 345219"/>
              <a:gd name="connsiteY2" fmla="*/ 280987 h 347662"/>
              <a:gd name="connsiteX3" fmla="*/ 278607 w 345219"/>
              <a:gd name="connsiteY3" fmla="*/ 347662 h 347662"/>
              <a:gd name="connsiteX4" fmla="*/ 338138 w 345219"/>
              <a:gd name="connsiteY4" fmla="*/ 276640 h 347662"/>
              <a:gd name="connsiteX5" fmla="*/ 133157 w 345219"/>
              <a:gd name="connsiteY5" fmla="*/ 192160 h 347662"/>
              <a:gd name="connsiteX6" fmla="*/ 130970 w 345219"/>
              <a:gd name="connsiteY6" fmla="*/ 0 h 347662"/>
              <a:gd name="connsiteX7" fmla="*/ 30956 w 345219"/>
              <a:gd name="connsiteY7" fmla="*/ 7144 h 347662"/>
              <a:gd name="connsiteX0" fmla="*/ 30956 w 345401"/>
              <a:gd name="connsiteY0" fmla="*/ 7144 h 347662"/>
              <a:gd name="connsiteX1" fmla="*/ 0 w 345401"/>
              <a:gd name="connsiteY1" fmla="*/ 197643 h 347662"/>
              <a:gd name="connsiteX2" fmla="*/ 114300 w 345401"/>
              <a:gd name="connsiteY2" fmla="*/ 280987 h 347662"/>
              <a:gd name="connsiteX3" fmla="*/ 278607 w 345401"/>
              <a:gd name="connsiteY3" fmla="*/ 347662 h 347662"/>
              <a:gd name="connsiteX4" fmla="*/ 338138 w 345401"/>
              <a:gd name="connsiteY4" fmla="*/ 276640 h 347662"/>
              <a:gd name="connsiteX5" fmla="*/ 130323 w 345401"/>
              <a:gd name="connsiteY5" fmla="*/ 191215 h 347662"/>
              <a:gd name="connsiteX6" fmla="*/ 130970 w 345401"/>
              <a:gd name="connsiteY6" fmla="*/ 0 h 347662"/>
              <a:gd name="connsiteX7" fmla="*/ 30956 w 345401"/>
              <a:gd name="connsiteY7" fmla="*/ 7144 h 347662"/>
              <a:gd name="connsiteX0" fmla="*/ 30956 w 345524"/>
              <a:gd name="connsiteY0" fmla="*/ 7144 h 347662"/>
              <a:gd name="connsiteX1" fmla="*/ 0 w 345524"/>
              <a:gd name="connsiteY1" fmla="*/ 197643 h 347662"/>
              <a:gd name="connsiteX2" fmla="*/ 114300 w 345524"/>
              <a:gd name="connsiteY2" fmla="*/ 280987 h 347662"/>
              <a:gd name="connsiteX3" fmla="*/ 278607 w 345524"/>
              <a:gd name="connsiteY3" fmla="*/ 347662 h 347662"/>
              <a:gd name="connsiteX4" fmla="*/ 338138 w 345524"/>
              <a:gd name="connsiteY4" fmla="*/ 276640 h 347662"/>
              <a:gd name="connsiteX5" fmla="*/ 128433 w 345524"/>
              <a:gd name="connsiteY5" fmla="*/ 187435 h 347662"/>
              <a:gd name="connsiteX6" fmla="*/ 130970 w 345524"/>
              <a:gd name="connsiteY6" fmla="*/ 0 h 347662"/>
              <a:gd name="connsiteX7" fmla="*/ 30956 w 345524"/>
              <a:gd name="connsiteY7" fmla="*/ 7144 h 347662"/>
              <a:gd name="connsiteX0" fmla="*/ 13004 w 327572"/>
              <a:gd name="connsiteY0" fmla="*/ 7144 h 347662"/>
              <a:gd name="connsiteX1" fmla="*/ 0 w 327572"/>
              <a:gd name="connsiteY1" fmla="*/ 199533 h 347662"/>
              <a:gd name="connsiteX2" fmla="*/ 96348 w 327572"/>
              <a:gd name="connsiteY2" fmla="*/ 280987 h 347662"/>
              <a:gd name="connsiteX3" fmla="*/ 260655 w 327572"/>
              <a:gd name="connsiteY3" fmla="*/ 347662 h 347662"/>
              <a:gd name="connsiteX4" fmla="*/ 320186 w 327572"/>
              <a:gd name="connsiteY4" fmla="*/ 276640 h 347662"/>
              <a:gd name="connsiteX5" fmla="*/ 110481 w 327572"/>
              <a:gd name="connsiteY5" fmla="*/ 187435 h 347662"/>
              <a:gd name="connsiteX6" fmla="*/ 113018 w 327572"/>
              <a:gd name="connsiteY6" fmla="*/ 0 h 347662"/>
              <a:gd name="connsiteX7" fmla="*/ 13004 w 327572"/>
              <a:gd name="connsiteY7" fmla="*/ 7144 h 347662"/>
              <a:gd name="connsiteX0" fmla="*/ 20002 w 334570"/>
              <a:gd name="connsiteY0" fmla="*/ 7144 h 347662"/>
              <a:gd name="connsiteX1" fmla="*/ 6998 w 334570"/>
              <a:gd name="connsiteY1" fmla="*/ 199533 h 347662"/>
              <a:gd name="connsiteX2" fmla="*/ 103346 w 334570"/>
              <a:gd name="connsiteY2" fmla="*/ 280987 h 347662"/>
              <a:gd name="connsiteX3" fmla="*/ 267653 w 334570"/>
              <a:gd name="connsiteY3" fmla="*/ 347662 h 347662"/>
              <a:gd name="connsiteX4" fmla="*/ 327184 w 334570"/>
              <a:gd name="connsiteY4" fmla="*/ 276640 h 347662"/>
              <a:gd name="connsiteX5" fmla="*/ 117479 w 334570"/>
              <a:gd name="connsiteY5" fmla="*/ 187435 h 347662"/>
              <a:gd name="connsiteX6" fmla="*/ 120016 w 334570"/>
              <a:gd name="connsiteY6" fmla="*/ 0 h 347662"/>
              <a:gd name="connsiteX7" fmla="*/ 20002 w 334570"/>
              <a:gd name="connsiteY7" fmla="*/ 7144 h 347662"/>
              <a:gd name="connsiteX0" fmla="*/ 11083 w 325651"/>
              <a:gd name="connsiteY0" fmla="*/ 7144 h 347662"/>
              <a:gd name="connsiteX1" fmla="*/ 14142 w 325651"/>
              <a:gd name="connsiteY1" fmla="*/ 200478 h 347662"/>
              <a:gd name="connsiteX2" fmla="*/ 94427 w 325651"/>
              <a:gd name="connsiteY2" fmla="*/ 280987 h 347662"/>
              <a:gd name="connsiteX3" fmla="*/ 258734 w 325651"/>
              <a:gd name="connsiteY3" fmla="*/ 347662 h 347662"/>
              <a:gd name="connsiteX4" fmla="*/ 318265 w 325651"/>
              <a:gd name="connsiteY4" fmla="*/ 276640 h 347662"/>
              <a:gd name="connsiteX5" fmla="*/ 108560 w 325651"/>
              <a:gd name="connsiteY5" fmla="*/ 187435 h 347662"/>
              <a:gd name="connsiteX6" fmla="*/ 111097 w 325651"/>
              <a:gd name="connsiteY6" fmla="*/ 0 h 347662"/>
              <a:gd name="connsiteX7" fmla="*/ 11083 w 325651"/>
              <a:gd name="connsiteY7" fmla="*/ 7144 h 347662"/>
              <a:gd name="connsiteX0" fmla="*/ 8706 w 323274"/>
              <a:gd name="connsiteY0" fmla="*/ 7144 h 347662"/>
              <a:gd name="connsiteX1" fmla="*/ 19324 w 323274"/>
              <a:gd name="connsiteY1" fmla="*/ 204257 h 347662"/>
              <a:gd name="connsiteX2" fmla="*/ 92050 w 323274"/>
              <a:gd name="connsiteY2" fmla="*/ 280987 h 347662"/>
              <a:gd name="connsiteX3" fmla="*/ 256357 w 323274"/>
              <a:gd name="connsiteY3" fmla="*/ 347662 h 347662"/>
              <a:gd name="connsiteX4" fmla="*/ 315888 w 323274"/>
              <a:gd name="connsiteY4" fmla="*/ 276640 h 347662"/>
              <a:gd name="connsiteX5" fmla="*/ 106183 w 323274"/>
              <a:gd name="connsiteY5" fmla="*/ 187435 h 347662"/>
              <a:gd name="connsiteX6" fmla="*/ 108720 w 323274"/>
              <a:gd name="connsiteY6" fmla="*/ 0 h 347662"/>
              <a:gd name="connsiteX7" fmla="*/ 8706 w 323274"/>
              <a:gd name="connsiteY7" fmla="*/ 7144 h 347662"/>
              <a:gd name="connsiteX0" fmla="*/ 7261 w 321829"/>
              <a:gd name="connsiteY0" fmla="*/ 7144 h 347662"/>
              <a:gd name="connsiteX1" fmla="*/ 24493 w 321829"/>
              <a:gd name="connsiteY1" fmla="*/ 204257 h 347662"/>
              <a:gd name="connsiteX2" fmla="*/ 90605 w 321829"/>
              <a:gd name="connsiteY2" fmla="*/ 280987 h 347662"/>
              <a:gd name="connsiteX3" fmla="*/ 254912 w 321829"/>
              <a:gd name="connsiteY3" fmla="*/ 347662 h 347662"/>
              <a:gd name="connsiteX4" fmla="*/ 314443 w 321829"/>
              <a:gd name="connsiteY4" fmla="*/ 276640 h 347662"/>
              <a:gd name="connsiteX5" fmla="*/ 104738 w 321829"/>
              <a:gd name="connsiteY5" fmla="*/ 187435 h 347662"/>
              <a:gd name="connsiteX6" fmla="*/ 107275 w 321829"/>
              <a:gd name="connsiteY6" fmla="*/ 0 h 347662"/>
              <a:gd name="connsiteX7" fmla="*/ 7261 w 321829"/>
              <a:gd name="connsiteY7" fmla="*/ 7144 h 347662"/>
              <a:gd name="connsiteX0" fmla="*/ 8243 w 322811"/>
              <a:gd name="connsiteY0" fmla="*/ 7144 h 347662"/>
              <a:gd name="connsiteX1" fmla="*/ 20751 w 322811"/>
              <a:gd name="connsiteY1" fmla="*/ 204257 h 347662"/>
              <a:gd name="connsiteX2" fmla="*/ 91587 w 322811"/>
              <a:gd name="connsiteY2" fmla="*/ 280987 h 347662"/>
              <a:gd name="connsiteX3" fmla="*/ 255894 w 322811"/>
              <a:gd name="connsiteY3" fmla="*/ 347662 h 347662"/>
              <a:gd name="connsiteX4" fmla="*/ 315425 w 322811"/>
              <a:gd name="connsiteY4" fmla="*/ 276640 h 347662"/>
              <a:gd name="connsiteX5" fmla="*/ 105720 w 322811"/>
              <a:gd name="connsiteY5" fmla="*/ 187435 h 347662"/>
              <a:gd name="connsiteX6" fmla="*/ 108257 w 322811"/>
              <a:gd name="connsiteY6" fmla="*/ 0 h 347662"/>
              <a:gd name="connsiteX7" fmla="*/ 8243 w 322811"/>
              <a:gd name="connsiteY7" fmla="*/ 7144 h 347662"/>
              <a:gd name="connsiteX0" fmla="*/ 16298 w 331723"/>
              <a:gd name="connsiteY0" fmla="*/ 7144 h 349331"/>
              <a:gd name="connsiteX1" fmla="*/ 28806 w 331723"/>
              <a:gd name="connsiteY1" fmla="*/ 204257 h 349331"/>
              <a:gd name="connsiteX2" fmla="*/ 263949 w 331723"/>
              <a:gd name="connsiteY2" fmla="*/ 347662 h 349331"/>
              <a:gd name="connsiteX3" fmla="*/ 323480 w 331723"/>
              <a:gd name="connsiteY3" fmla="*/ 276640 h 349331"/>
              <a:gd name="connsiteX4" fmla="*/ 113775 w 331723"/>
              <a:gd name="connsiteY4" fmla="*/ 187435 h 349331"/>
              <a:gd name="connsiteX5" fmla="*/ 116312 w 331723"/>
              <a:gd name="connsiteY5" fmla="*/ 0 h 349331"/>
              <a:gd name="connsiteX6" fmla="*/ 16298 w 33172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9450 w 324875"/>
              <a:gd name="connsiteY0" fmla="*/ 7144 h 349331"/>
              <a:gd name="connsiteX1" fmla="*/ 21958 w 324875"/>
              <a:gd name="connsiteY1" fmla="*/ 204257 h 349331"/>
              <a:gd name="connsiteX2" fmla="*/ 257101 w 324875"/>
              <a:gd name="connsiteY2" fmla="*/ 347662 h 349331"/>
              <a:gd name="connsiteX3" fmla="*/ 316632 w 324875"/>
              <a:gd name="connsiteY3" fmla="*/ 276640 h 349331"/>
              <a:gd name="connsiteX4" fmla="*/ 106927 w 324875"/>
              <a:gd name="connsiteY4" fmla="*/ 187435 h 349331"/>
              <a:gd name="connsiteX5" fmla="*/ 109464 w 324875"/>
              <a:gd name="connsiteY5" fmla="*/ 0 h 349331"/>
              <a:gd name="connsiteX6" fmla="*/ 9450 w 324875"/>
              <a:gd name="connsiteY6" fmla="*/ 7144 h 349331"/>
              <a:gd name="connsiteX0" fmla="*/ 1117 w 316542"/>
              <a:gd name="connsiteY0" fmla="*/ 7144 h 349331"/>
              <a:gd name="connsiteX1" fmla="*/ 13625 w 316542"/>
              <a:gd name="connsiteY1" fmla="*/ 204257 h 349331"/>
              <a:gd name="connsiteX2" fmla="*/ 248768 w 316542"/>
              <a:gd name="connsiteY2" fmla="*/ 347662 h 349331"/>
              <a:gd name="connsiteX3" fmla="*/ 308299 w 316542"/>
              <a:gd name="connsiteY3" fmla="*/ 276640 h 349331"/>
              <a:gd name="connsiteX4" fmla="*/ 98594 w 316542"/>
              <a:gd name="connsiteY4" fmla="*/ 187435 h 349331"/>
              <a:gd name="connsiteX5" fmla="*/ 101131 w 316542"/>
              <a:gd name="connsiteY5" fmla="*/ 0 h 349331"/>
              <a:gd name="connsiteX6" fmla="*/ 1117 w 316542"/>
              <a:gd name="connsiteY6" fmla="*/ 7144 h 349331"/>
              <a:gd name="connsiteX0" fmla="*/ 520 w 315945"/>
              <a:gd name="connsiteY0" fmla="*/ 7144 h 349331"/>
              <a:gd name="connsiteX1" fmla="*/ 13028 w 315945"/>
              <a:gd name="connsiteY1" fmla="*/ 204257 h 349331"/>
              <a:gd name="connsiteX2" fmla="*/ 248171 w 315945"/>
              <a:gd name="connsiteY2" fmla="*/ 347662 h 349331"/>
              <a:gd name="connsiteX3" fmla="*/ 307702 w 315945"/>
              <a:gd name="connsiteY3" fmla="*/ 276640 h 349331"/>
              <a:gd name="connsiteX4" fmla="*/ 97997 w 315945"/>
              <a:gd name="connsiteY4" fmla="*/ 187435 h 349331"/>
              <a:gd name="connsiteX5" fmla="*/ 100534 w 315945"/>
              <a:gd name="connsiteY5" fmla="*/ 0 h 349331"/>
              <a:gd name="connsiteX6" fmla="*/ 520 w 31594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041"/>
              <a:gd name="connsiteY0" fmla="*/ 7144 h 349331"/>
              <a:gd name="connsiteX1" fmla="*/ 12508 w 315041"/>
              <a:gd name="connsiteY1" fmla="*/ 204257 h 349331"/>
              <a:gd name="connsiteX2" fmla="*/ 247651 w 315041"/>
              <a:gd name="connsiteY2" fmla="*/ 347662 h 349331"/>
              <a:gd name="connsiteX3" fmla="*/ 307182 w 315041"/>
              <a:gd name="connsiteY3" fmla="*/ 276640 h 349331"/>
              <a:gd name="connsiteX4" fmla="*/ 103146 w 315041"/>
              <a:gd name="connsiteY4" fmla="*/ 187435 h 349331"/>
              <a:gd name="connsiteX5" fmla="*/ 100014 w 315041"/>
              <a:gd name="connsiteY5" fmla="*/ 0 h 349331"/>
              <a:gd name="connsiteX6" fmla="*/ 0 w 315041"/>
              <a:gd name="connsiteY6" fmla="*/ 7144 h 349331"/>
              <a:gd name="connsiteX0" fmla="*/ 9449 w 324490"/>
              <a:gd name="connsiteY0" fmla="*/ 2420 h 349331"/>
              <a:gd name="connsiteX1" fmla="*/ 21957 w 324490"/>
              <a:gd name="connsiteY1" fmla="*/ 204257 h 349331"/>
              <a:gd name="connsiteX2" fmla="*/ 257100 w 324490"/>
              <a:gd name="connsiteY2" fmla="*/ 347662 h 349331"/>
              <a:gd name="connsiteX3" fmla="*/ 316631 w 324490"/>
              <a:gd name="connsiteY3" fmla="*/ 276640 h 349331"/>
              <a:gd name="connsiteX4" fmla="*/ 112595 w 324490"/>
              <a:gd name="connsiteY4" fmla="*/ 187435 h 349331"/>
              <a:gd name="connsiteX5" fmla="*/ 109463 w 324490"/>
              <a:gd name="connsiteY5" fmla="*/ 0 h 349331"/>
              <a:gd name="connsiteX6" fmla="*/ 9449 w 324490"/>
              <a:gd name="connsiteY6" fmla="*/ 2420 h 349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4490" h="349331">
                <a:moveTo>
                  <a:pt x="9449" y="2420"/>
                </a:moveTo>
                <a:cubicBezTo>
                  <a:pt x="10455" y="81972"/>
                  <a:pt x="-19318" y="146717"/>
                  <a:pt x="21957" y="204257"/>
                </a:cubicBezTo>
                <a:cubicBezTo>
                  <a:pt x="63232" y="261797"/>
                  <a:pt x="125787" y="291191"/>
                  <a:pt x="257100" y="347662"/>
                </a:cubicBezTo>
                <a:cubicBezTo>
                  <a:pt x="306212" y="359726"/>
                  <a:pt x="340715" y="303344"/>
                  <a:pt x="316631" y="276640"/>
                </a:cubicBezTo>
                <a:cubicBezTo>
                  <a:pt x="292547" y="249936"/>
                  <a:pt x="236420" y="282686"/>
                  <a:pt x="112595" y="187435"/>
                </a:cubicBezTo>
                <a:cubicBezTo>
                  <a:pt x="95927" y="131079"/>
                  <a:pt x="102319" y="53975"/>
                  <a:pt x="109463" y="0"/>
                </a:cubicBezTo>
                <a:lnTo>
                  <a:pt x="9449" y="2420"/>
                </a:lnTo>
                <a:close/>
              </a:path>
            </a:pathLst>
          </a:custGeom>
          <a:solidFill>
            <a:srgbClr val="DFD5A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3298020-D6D3-49C6-ADF7-50007249F8B0}"/>
              </a:ext>
            </a:extLst>
          </p:cNvPr>
          <p:cNvSpPr/>
          <p:nvPr/>
        </p:nvSpPr>
        <p:spPr bwMode="auto">
          <a:xfrm>
            <a:off x="1359043" y="4937408"/>
            <a:ext cx="565139" cy="518588"/>
          </a:xfrm>
          <a:custGeom>
            <a:avLst/>
            <a:gdLst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4762 h 221456"/>
              <a:gd name="connsiteX3" fmla="*/ 0 w 259556"/>
              <a:gd name="connsiteY3" fmla="*/ 0 h 221456"/>
              <a:gd name="connsiteX0" fmla="*/ 0 w 259556"/>
              <a:gd name="connsiteY0" fmla="*/ 0 h 221456"/>
              <a:gd name="connsiteX1" fmla="*/ 128587 w 259556"/>
              <a:gd name="connsiteY1" fmla="*/ 221456 h 221456"/>
              <a:gd name="connsiteX2" fmla="*/ 259556 w 259556"/>
              <a:gd name="connsiteY2" fmla="*/ 1676 h 221456"/>
              <a:gd name="connsiteX3" fmla="*/ 0 w 259556"/>
              <a:gd name="connsiteY3" fmla="*/ 0 h 221456"/>
              <a:gd name="connsiteX0" fmla="*/ 0 w 260390"/>
              <a:gd name="connsiteY0" fmla="*/ 0 h 221456"/>
              <a:gd name="connsiteX1" fmla="*/ 128587 w 260390"/>
              <a:gd name="connsiteY1" fmla="*/ 221456 h 221456"/>
              <a:gd name="connsiteX2" fmla="*/ 259556 w 260390"/>
              <a:gd name="connsiteY2" fmla="*/ 1676 h 221456"/>
              <a:gd name="connsiteX3" fmla="*/ 0 w 260390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0 w 260876"/>
              <a:gd name="connsiteY0" fmla="*/ 0 h 221456"/>
              <a:gd name="connsiteX1" fmla="*/ 128587 w 260876"/>
              <a:gd name="connsiteY1" fmla="*/ 221456 h 221456"/>
              <a:gd name="connsiteX2" fmla="*/ 259556 w 260876"/>
              <a:gd name="connsiteY2" fmla="*/ 1676 h 221456"/>
              <a:gd name="connsiteX3" fmla="*/ 0 w 260876"/>
              <a:gd name="connsiteY3" fmla="*/ 0 h 221456"/>
              <a:gd name="connsiteX0" fmla="*/ 30 w 260906"/>
              <a:gd name="connsiteY0" fmla="*/ 0 h 221456"/>
              <a:gd name="connsiteX1" fmla="*/ 128617 w 260906"/>
              <a:gd name="connsiteY1" fmla="*/ 221456 h 221456"/>
              <a:gd name="connsiteX2" fmla="*/ 259586 w 260906"/>
              <a:gd name="connsiteY2" fmla="*/ 1676 h 221456"/>
              <a:gd name="connsiteX3" fmla="*/ 30 w 260906"/>
              <a:gd name="connsiteY3" fmla="*/ 0 h 221456"/>
              <a:gd name="connsiteX0" fmla="*/ 30 w 297357"/>
              <a:gd name="connsiteY0" fmla="*/ 0 h 221456"/>
              <a:gd name="connsiteX1" fmla="*/ 128617 w 297357"/>
              <a:gd name="connsiteY1" fmla="*/ 221456 h 221456"/>
              <a:gd name="connsiteX2" fmla="*/ 296624 w 297357"/>
              <a:gd name="connsiteY2" fmla="*/ 1676 h 221456"/>
              <a:gd name="connsiteX3" fmla="*/ 30 w 297357"/>
              <a:gd name="connsiteY3" fmla="*/ 0 h 221456"/>
              <a:gd name="connsiteX0" fmla="*/ 12 w 342865"/>
              <a:gd name="connsiteY0" fmla="*/ 0 h 224542"/>
              <a:gd name="connsiteX1" fmla="*/ 174125 w 342865"/>
              <a:gd name="connsiteY1" fmla="*/ 224542 h 224542"/>
              <a:gd name="connsiteX2" fmla="*/ 342132 w 342865"/>
              <a:gd name="connsiteY2" fmla="*/ 4762 h 224542"/>
              <a:gd name="connsiteX3" fmla="*/ 12 w 342865"/>
              <a:gd name="connsiteY3" fmla="*/ 0 h 224542"/>
              <a:gd name="connsiteX0" fmla="*/ 11 w 346722"/>
              <a:gd name="connsiteY0" fmla="*/ 9127 h 219780"/>
              <a:gd name="connsiteX1" fmla="*/ 177982 w 346722"/>
              <a:gd name="connsiteY1" fmla="*/ 219780 h 219780"/>
              <a:gd name="connsiteX2" fmla="*/ 345989 w 346722"/>
              <a:gd name="connsiteY2" fmla="*/ 0 h 219780"/>
              <a:gd name="connsiteX3" fmla="*/ 11 w 346722"/>
              <a:gd name="connsiteY3" fmla="*/ 9127 h 219780"/>
              <a:gd name="connsiteX0" fmla="*/ 14 w 335922"/>
              <a:gd name="connsiteY0" fmla="*/ 0 h 222999"/>
              <a:gd name="connsiteX1" fmla="*/ 167182 w 335922"/>
              <a:gd name="connsiteY1" fmla="*/ 222999 h 222999"/>
              <a:gd name="connsiteX2" fmla="*/ 335189 w 335922"/>
              <a:gd name="connsiteY2" fmla="*/ 3219 h 222999"/>
              <a:gd name="connsiteX3" fmla="*/ 14 w 335922"/>
              <a:gd name="connsiteY3" fmla="*/ 0 h 22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22" h="222999">
                <a:moveTo>
                  <a:pt x="14" y="0"/>
                </a:moveTo>
                <a:cubicBezTo>
                  <a:pt x="-1107" y="138635"/>
                  <a:pt x="67221" y="211681"/>
                  <a:pt x="167182" y="222999"/>
                </a:cubicBezTo>
                <a:cubicBezTo>
                  <a:pt x="272567" y="208639"/>
                  <a:pt x="344003" y="125605"/>
                  <a:pt x="335189" y="3219"/>
                </a:cubicBezTo>
                <a:lnTo>
                  <a:pt x="14" y="0"/>
                </a:lnTo>
                <a:close/>
              </a:path>
            </a:pathLst>
          </a:custGeom>
          <a:gradFill>
            <a:gsLst>
              <a:gs pos="50000">
                <a:srgbClr val="DFD5A3"/>
              </a:gs>
              <a:gs pos="50000">
                <a:srgbClr val="E6DEB8"/>
              </a:gs>
            </a:gsLst>
            <a:lin ang="21594000" scaled="0"/>
          </a:gra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7B7C80-A518-4B28-A54F-49352554D7A0}"/>
              </a:ext>
            </a:extLst>
          </p:cNvPr>
          <p:cNvSpPr/>
          <p:nvPr/>
        </p:nvSpPr>
        <p:spPr bwMode="auto">
          <a:xfrm>
            <a:off x="1286508" y="4891396"/>
            <a:ext cx="706691" cy="65183"/>
          </a:xfrm>
          <a:prstGeom prst="rect">
            <a:avLst/>
          </a:prstGeom>
          <a:solidFill>
            <a:schemeClr val="accent2">
              <a:lumMod val="1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EFBFDD-A081-4E11-A787-EF6950F67980}"/>
              </a:ext>
            </a:extLst>
          </p:cNvPr>
          <p:cNvSpPr/>
          <p:nvPr/>
        </p:nvSpPr>
        <p:spPr bwMode="auto">
          <a:xfrm>
            <a:off x="1383546" y="5800125"/>
            <a:ext cx="53680" cy="53680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09149CC-2249-4F4B-9161-87BC53F860BF}"/>
              </a:ext>
            </a:extLst>
          </p:cNvPr>
          <p:cNvSpPr/>
          <p:nvPr/>
        </p:nvSpPr>
        <p:spPr bwMode="auto">
          <a:xfrm>
            <a:off x="1801485" y="5800125"/>
            <a:ext cx="53680" cy="53680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ADCF663-7FBC-454F-988C-D21F0890FE3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46656" y="5967276"/>
            <a:ext cx="487434" cy="487433"/>
          </a:xfrm>
          <a:prstGeom prst="rect">
            <a:avLst/>
          </a:prstGeom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9" name="Partial Circle 78">
            <a:extLst>
              <a:ext uri="{FF2B5EF4-FFF2-40B4-BE49-F238E27FC236}">
                <a16:creationId xmlns:a16="http://schemas.microsoft.com/office/drawing/2014/main" id="{08E249E4-A29B-49F4-BB83-431DDF708656}"/>
              </a:ext>
            </a:extLst>
          </p:cNvPr>
          <p:cNvSpPr/>
          <p:nvPr/>
        </p:nvSpPr>
        <p:spPr bwMode="auto">
          <a:xfrm rot="10800000">
            <a:off x="1342833" y="4595030"/>
            <a:ext cx="594220" cy="594218"/>
          </a:xfrm>
          <a:prstGeom prst="pie">
            <a:avLst>
              <a:gd name="adj1" fmla="val 0"/>
              <a:gd name="adj2" fmla="val 10816010"/>
            </a:avLst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B250D8ED-B1C8-4C01-A9E7-DDBDB4DFD796}"/>
              </a:ext>
            </a:extLst>
          </p:cNvPr>
          <p:cNvGrpSpPr/>
          <p:nvPr/>
        </p:nvGrpSpPr>
        <p:grpSpPr>
          <a:xfrm>
            <a:off x="1417154" y="4660283"/>
            <a:ext cx="448279" cy="178055"/>
            <a:chOff x="3609976" y="1966913"/>
            <a:chExt cx="3057524" cy="1214437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D8FC785F-ACC1-43F6-A67C-72DFC7F5C2E3}"/>
                </a:ext>
              </a:extLst>
            </p:cNvPr>
            <p:cNvSpPr/>
            <p:nvPr/>
          </p:nvSpPr>
          <p:spPr bwMode="auto">
            <a:xfrm>
              <a:off x="3609976" y="1966913"/>
              <a:ext cx="1508739" cy="1204912"/>
            </a:xfrm>
            <a:custGeom>
              <a:avLst/>
              <a:gdLst>
                <a:gd name="connsiteX0" fmla="*/ 0 w 895350"/>
                <a:gd name="connsiteY0" fmla="*/ 266700 h 1204912"/>
                <a:gd name="connsiteX1" fmla="*/ 252413 w 895350"/>
                <a:gd name="connsiteY1" fmla="*/ 0 h 1204912"/>
                <a:gd name="connsiteX2" fmla="*/ 895350 w 895350"/>
                <a:gd name="connsiteY2" fmla="*/ 1204912 h 1204912"/>
                <a:gd name="connsiteX3" fmla="*/ 0 w 895350"/>
                <a:gd name="connsiteY3" fmla="*/ 266700 h 1204912"/>
                <a:gd name="connsiteX0" fmla="*/ 0 w 901471"/>
                <a:gd name="connsiteY0" fmla="*/ 266700 h 1204912"/>
                <a:gd name="connsiteX1" fmla="*/ 252413 w 901471"/>
                <a:gd name="connsiteY1" fmla="*/ 0 h 1204912"/>
                <a:gd name="connsiteX2" fmla="*/ 895350 w 901471"/>
                <a:gd name="connsiteY2" fmla="*/ 1204912 h 1204912"/>
                <a:gd name="connsiteX3" fmla="*/ 0 w 901471"/>
                <a:gd name="connsiteY3" fmla="*/ 266700 h 1204912"/>
                <a:gd name="connsiteX0" fmla="*/ 0 w 901471"/>
                <a:gd name="connsiteY0" fmla="*/ 266700 h 1204912"/>
                <a:gd name="connsiteX1" fmla="*/ 252413 w 901471"/>
                <a:gd name="connsiteY1" fmla="*/ 0 h 1204912"/>
                <a:gd name="connsiteX2" fmla="*/ 895350 w 901471"/>
                <a:gd name="connsiteY2" fmla="*/ 1204912 h 1204912"/>
                <a:gd name="connsiteX3" fmla="*/ 0 w 901471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1518264"/>
                <a:gd name="connsiteY0" fmla="*/ 266700 h 1204912"/>
                <a:gd name="connsiteX1" fmla="*/ 252413 w 1518264"/>
                <a:gd name="connsiteY1" fmla="*/ 0 h 1204912"/>
                <a:gd name="connsiteX2" fmla="*/ 1514475 w 1518264"/>
                <a:gd name="connsiteY2" fmla="*/ 1204912 h 1204912"/>
                <a:gd name="connsiteX3" fmla="*/ 0 w 1518264"/>
                <a:gd name="connsiteY3" fmla="*/ 266700 h 1204912"/>
                <a:gd name="connsiteX0" fmla="*/ 0 w 1508739"/>
                <a:gd name="connsiteY0" fmla="*/ 257175 h 1204912"/>
                <a:gd name="connsiteX1" fmla="*/ 242888 w 1508739"/>
                <a:gd name="connsiteY1" fmla="*/ 0 h 1204912"/>
                <a:gd name="connsiteX2" fmla="*/ 1504950 w 1508739"/>
                <a:gd name="connsiteY2" fmla="*/ 1204912 h 1204912"/>
                <a:gd name="connsiteX3" fmla="*/ 0 w 1508739"/>
                <a:gd name="connsiteY3" fmla="*/ 257175 h 1204912"/>
                <a:gd name="connsiteX0" fmla="*/ 0 w 1508739"/>
                <a:gd name="connsiteY0" fmla="*/ 257175 h 1204912"/>
                <a:gd name="connsiteX1" fmla="*/ 242888 w 1508739"/>
                <a:gd name="connsiteY1" fmla="*/ 0 h 1204912"/>
                <a:gd name="connsiteX2" fmla="*/ 1504950 w 1508739"/>
                <a:gd name="connsiteY2" fmla="*/ 1204912 h 1204912"/>
                <a:gd name="connsiteX3" fmla="*/ 0 w 1508739"/>
                <a:gd name="connsiteY3" fmla="*/ 257175 h 1204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8739" h="1204912">
                  <a:moveTo>
                    <a:pt x="0" y="257175"/>
                  </a:moveTo>
                  <a:cubicBezTo>
                    <a:pt x="80963" y="138112"/>
                    <a:pt x="161925" y="85725"/>
                    <a:pt x="242888" y="0"/>
                  </a:cubicBezTo>
                  <a:cubicBezTo>
                    <a:pt x="742950" y="239712"/>
                    <a:pt x="1571626" y="655637"/>
                    <a:pt x="1504950" y="1204912"/>
                  </a:cubicBezTo>
                  <a:cubicBezTo>
                    <a:pt x="1382712" y="777875"/>
                    <a:pt x="617537" y="227012"/>
                    <a:pt x="0" y="257175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da-DK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D74D10B-3141-4911-AD14-15E266E2F7E6}"/>
                </a:ext>
              </a:extLst>
            </p:cNvPr>
            <p:cNvSpPr/>
            <p:nvPr/>
          </p:nvSpPr>
          <p:spPr bwMode="auto">
            <a:xfrm flipH="1">
              <a:off x="5061565" y="1976438"/>
              <a:ext cx="1605935" cy="1204912"/>
            </a:xfrm>
            <a:custGeom>
              <a:avLst/>
              <a:gdLst>
                <a:gd name="connsiteX0" fmla="*/ 0 w 895350"/>
                <a:gd name="connsiteY0" fmla="*/ 266700 h 1204912"/>
                <a:gd name="connsiteX1" fmla="*/ 252413 w 895350"/>
                <a:gd name="connsiteY1" fmla="*/ 0 h 1204912"/>
                <a:gd name="connsiteX2" fmla="*/ 895350 w 895350"/>
                <a:gd name="connsiteY2" fmla="*/ 1204912 h 1204912"/>
                <a:gd name="connsiteX3" fmla="*/ 0 w 895350"/>
                <a:gd name="connsiteY3" fmla="*/ 266700 h 1204912"/>
                <a:gd name="connsiteX0" fmla="*/ 0 w 901471"/>
                <a:gd name="connsiteY0" fmla="*/ 266700 h 1204912"/>
                <a:gd name="connsiteX1" fmla="*/ 252413 w 901471"/>
                <a:gd name="connsiteY1" fmla="*/ 0 h 1204912"/>
                <a:gd name="connsiteX2" fmla="*/ 895350 w 901471"/>
                <a:gd name="connsiteY2" fmla="*/ 1204912 h 1204912"/>
                <a:gd name="connsiteX3" fmla="*/ 0 w 901471"/>
                <a:gd name="connsiteY3" fmla="*/ 266700 h 1204912"/>
                <a:gd name="connsiteX0" fmla="*/ 0 w 901471"/>
                <a:gd name="connsiteY0" fmla="*/ 266700 h 1204912"/>
                <a:gd name="connsiteX1" fmla="*/ 252413 w 901471"/>
                <a:gd name="connsiteY1" fmla="*/ 0 h 1204912"/>
                <a:gd name="connsiteX2" fmla="*/ 895350 w 901471"/>
                <a:gd name="connsiteY2" fmla="*/ 1204912 h 1204912"/>
                <a:gd name="connsiteX3" fmla="*/ 0 w 901471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907395"/>
                <a:gd name="connsiteY0" fmla="*/ 266700 h 1204912"/>
                <a:gd name="connsiteX1" fmla="*/ 252413 w 907395"/>
                <a:gd name="connsiteY1" fmla="*/ 0 h 1204912"/>
                <a:gd name="connsiteX2" fmla="*/ 895350 w 907395"/>
                <a:gd name="connsiteY2" fmla="*/ 1204912 h 1204912"/>
                <a:gd name="connsiteX3" fmla="*/ 0 w 907395"/>
                <a:gd name="connsiteY3" fmla="*/ 266700 h 1204912"/>
                <a:gd name="connsiteX0" fmla="*/ 0 w 1518264"/>
                <a:gd name="connsiteY0" fmla="*/ 266700 h 1204912"/>
                <a:gd name="connsiteX1" fmla="*/ 252413 w 1518264"/>
                <a:gd name="connsiteY1" fmla="*/ 0 h 1204912"/>
                <a:gd name="connsiteX2" fmla="*/ 1514475 w 1518264"/>
                <a:gd name="connsiteY2" fmla="*/ 1204912 h 1204912"/>
                <a:gd name="connsiteX3" fmla="*/ 0 w 1518264"/>
                <a:gd name="connsiteY3" fmla="*/ 266700 h 1204912"/>
                <a:gd name="connsiteX0" fmla="*/ 0 w 1508739"/>
                <a:gd name="connsiteY0" fmla="*/ 257175 h 1204912"/>
                <a:gd name="connsiteX1" fmla="*/ 242888 w 1508739"/>
                <a:gd name="connsiteY1" fmla="*/ 0 h 1204912"/>
                <a:gd name="connsiteX2" fmla="*/ 1504950 w 1508739"/>
                <a:gd name="connsiteY2" fmla="*/ 1204912 h 1204912"/>
                <a:gd name="connsiteX3" fmla="*/ 0 w 1508739"/>
                <a:gd name="connsiteY3" fmla="*/ 257175 h 1204912"/>
                <a:gd name="connsiteX0" fmla="*/ 0 w 1508739"/>
                <a:gd name="connsiteY0" fmla="*/ 257175 h 1204912"/>
                <a:gd name="connsiteX1" fmla="*/ 242888 w 1508739"/>
                <a:gd name="connsiteY1" fmla="*/ 0 h 1204912"/>
                <a:gd name="connsiteX2" fmla="*/ 1504950 w 1508739"/>
                <a:gd name="connsiteY2" fmla="*/ 1204912 h 1204912"/>
                <a:gd name="connsiteX3" fmla="*/ 0 w 1508739"/>
                <a:gd name="connsiteY3" fmla="*/ 257175 h 1204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8739" h="1204912">
                  <a:moveTo>
                    <a:pt x="0" y="257175"/>
                  </a:moveTo>
                  <a:cubicBezTo>
                    <a:pt x="80963" y="138112"/>
                    <a:pt x="161925" y="85725"/>
                    <a:pt x="242888" y="0"/>
                  </a:cubicBezTo>
                  <a:cubicBezTo>
                    <a:pt x="742950" y="239712"/>
                    <a:pt x="1571626" y="655637"/>
                    <a:pt x="1504950" y="1204912"/>
                  </a:cubicBezTo>
                  <a:cubicBezTo>
                    <a:pt x="1382712" y="777875"/>
                    <a:pt x="617537" y="227012"/>
                    <a:pt x="0" y="257175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da-DK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C7E6725-5FCA-40D4-ABEA-64572A8BB179}"/>
              </a:ext>
            </a:extLst>
          </p:cNvPr>
          <p:cNvCxnSpPr>
            <a:cxnSpLocks/>
          </p:cNvCxnSpPr>
          <p:nvPr/>
        </p:nvCxnSpPr>
        <p:spPr bwMode="auto">
          <a:xfrm>
            <a:off x="2060878" y="5143500"/>
            <a:ext cx="523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7" name="Oval 136">
            <a:extLst>
              <a:ext uri="{FF2B5EF4-FFF2-40B4-BE49-F238E27FC236}">
                <a16:creationId xmlns:a16="http://schemas.microsoft.com/office/drawing/2014/main" id="{FD563E1A-7BB0-4593-BFDA-163004BB2BD1}"/>
              </a:ext>
            </a:extLst>
          </p:cNvPr>
          <p:cNvSpPr/>
          <p:nvPr/>
        </p:nvSpPr>
        <p:spPr bwMode="auto">
          <a:xfrm>
            <a:off x="2570466" y="4948238"/>
            <a:ext cx="385762" cy="385762"/>
          </a:xfrm>
          <a:prstGeom prst="ellipse">
            <a:avLst/>
          </a:prstGeom>
          <a:noFill/>
          <a:ln w="28575">
            <a:solidFill>
              <a:schemeClr val="accent5"/>
            </a:solidFill>
            <a:round/>
            <a:headEnd/>
            <a:tailEnd/>
          </a:ln>
        </p:spPr>
        <p:txBody>
          <a:bodyPr wrap="square" lIns="0" tIns="72000" rIns="0" bIns="0" rtlCol="0" anchor="t">
            <a:noAutofit/>
          </a:bodyPr>
          <a:lstStyle/>
          <a:p>
            <a:endParaRPr lang="da-DK" sz="9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29244DC-CC61-4AA9-8710-0630418CC67F}"/>
              </a:ext>
            </a:extLst>
          </p:cNvPr>
          <p:cNvSpPr/>
          <p:nvPr/>
        </p:nvSpPr>
        <p:spPr>
          <a:xfrm>
            <a:off x="2555133" y="5018009"/>
            <a:ext cx="43954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000" b="1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33%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679B3CE-2CF4-4BF4-8F21-9ED98C025004}"/>
              </a:ext>
            </a:extLst>
          </p:cNvPr>
          <p:cNvSpPr/>
          <p:nvPr/>
        </p:nvSpPr>
        <p:spPr bwMode="auto">
          <a:xfrm>
            <a:off x="1152187" y="5826160"/>
            <a:ext cx="479433" cy="531615"/>
          </a:xfrm>
          <a:custGeom>
            <a:avLst/>
            <a:gdLst>
              <a:gd name="connsiteX0" fmla="*/ 28575 w 338138"/>
              <a:gd name="connsiteY0" fmla="*/ 19050 h 357187"/>
              <a:gd name="connsiteX1" fmla="*/ 0 w 338138"/>
              <a:gd name="connsiteY1" fmla="*/ 207168 h 357187"/>
              <a:gd name="connsiteX2" fmla="*/ 121444 w 338138"/>
              <a:gd name="connsiteY2" fmla="*/ 300037 h 357187"/>
              <a:gd name="connsiteX3" fmla="*/ 278607 w 338138"/>
              <a:gd name="connsiteY3" fmla="*/ 357187 h 357187"/>
              <a:gd name="connsiteX4" fmla="*/ 338138 w 338138"/>
              <a:gd name="connsiteY4" fmla="*/ 278606 h 357187"/>
              <a:gd name="connsiteX5" fmla="*/ 92869 w 338138"/>
              <a:gd name="connsiteY5" fmla="*/ 173831 h 357187"/>
              <a:gd name="connsiteX6" fmla="*/ 128588 w 338138"/>
              <a:gd name="connsiteY6" fmla="*/ 0 h 357187"/>
              <a:gd name="connsiteX7" fmla="*/ 28575 w 338138"/>
              <a:gd name="connsiteY7" fmla="*/ 19050 h 357187"/>
              <a:gd name="connsiteX0" fmla="*/ 28575 w 338138"/>
              <a:gd name="connsiteY0" fmla="*/ 4762 h 342899"/>
              <a:gd name="connsiteX1" fmla="*/ 0 w 338138"/>
              <a:gd name="connsiteY1" fmla="*/ 192880 h 342899"/>
              <a:gd name="connsiteX2" fmla="*/ 121444 w 338138"/>
              <a:gd name="connsiteY2" fmla="*/ 285749 h 342899"/>
              <a:gd name="connsiteX3" fmla="*/ 278607 w 338138"/>
              <a:gd name="connsiteY3" fmla="*/ 342899 h 342899"/>
              <a:gd name="connsiteX4" fmla="*/ 338138 w 338138"/>
              <a:gd name="connsiteY4" fmla="*/ 264318 h 342899"/>
              <a:gd name="connsiteX5" fmla="*/ 92869 w 338138"/>
              <a:gd name="connsiteY5" fmla="*/ 159543 h 342899"/>
              <a:gd name="connsiteX6" fmla="*/ 126207 w 338138"/>
              <a:gd name="connsiteY6" fmla="*/ 0 h 342899"/>
              <a:gd name="connsiteX7" fmla="*/ 28575 w 338138"/>
              <a:gd name="connsiteY7" fmla="*/ 4762 h 342899"/>
              <a:gd name="connsiteX0" fmla="*/ 28575 w 338138"/>
              <a:gd name="connsiteY0" fmla="*/ 9525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28575 w 338138"/>
              <a:gd name="connsiteY7" fmla="*/ 9525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76640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54734"/>
              <a:gd name="connsiteY0" fmla="*/ 7144 h 347662"/>
              <a:gd name="connsiteX1" fmla="*/ 0 w 354734"/>
              <a:gd name="connsiteY1" fmla="*/ 197643 h 347662"/>
              <a:gd name="connsiteX2" fmla="*/ 114300 w 354734"/>
              <a:gd name="connsiteY2" fmla="*/ 280987 h 347662"/>
              <a:gd name="connsiteX3" fmla="*/ 278607 w 354734"/>
              <a:gd name="connsiteY3" fmla="*/ 347662 h 347662"/>
              <a:gd name="connsiteX4" fmla="*/ 338138 w 354734"/>
              <a:gd name="connsiteY4" fmla="*/ 276640 h 347662"/>
              <a:gd name="connsiteX5" fmla="*/ 109537 w 354734"/>
              <a:gd name="connsiteY5" fmla="*/ 161925 h 347662"/>
              <a:gd name="connsiteX6" fmla="*/ 130970 w 354734"/>
              <a:gd name="connsiteY6" fmla="*/ 0 h 347662"/>
              <a:gd name="connsiteX7" fmla="*/ 30956 w 354734"/>
              <a:gd name="connsiteY7" fmla="*/ 7144 h 347662"/>
              <a:gd name="connsiteX0" fmla="*/ 30956 w 345861"/>
              <a:gd name="connsiteY0" fmla="*/ 7144 h 347662"/>
              <a:gd name="connsiteX1" fmla="*/ 0 w 345861"/>
              <a:gd name="connsiteY1" fmla="*/ 197643 h 347662"/>
              <a:gd name="connsiteX2" fmla="*/ 114300 w 345861"/>
              <a:gd name="connsiteY2" fmla="*/ 280987 h 347662"/>
              <a:gd name="connsiteX3" fmla="*/ 278607 w 345861"/>
              <a:gd name="connsiteY3" fmla="*/ 347662 h 347662"/>
              <a:gd name="connsiteX4" fmla="*/ 338138 w 345861"/>
              <a:gd name="connsiteY4" fmla="*/ 276640 h 347662"/>
              <a:gd name="connsiteX5" fmla="*/ 109537 w 345861"/>
              <a:gd name="connsiteY5" fmla="*/ 161925 h 347662"/>
              <a:gd name="connsiteX6" fmla="*/ 130970 w 345861"/>
              <a:gd name="connsiteY6" fmla="*/ 0 h 347662"/>
              <a:gd name="connsiteX7" fmla="*/ 30956 w 345861"/>
              <a:gd name="connsiteY7" fmla="*/ 7144 h 347662"/>
              <a:gd name="connsiteX0" fmla="*/ 30956 w 342311"/>
              <a:gd name="connsiteY0" fmla="*/ 7144 h 347662"/>
              <a:gd name="connsiteX1" fmla="*/ 0 w 342311"/>
              <a:gd name="connsiteY1" fmla="*/ 197643 h 347662"/>
              <a:gd name="connsiteX2" fmla="*/ 114300 w 342311"/>
              <a:gd name="connsiteY2" fmla="*/ 280987 h 347662"/>
              <a:gd name="connsiteX3" fmla="*/ 278607 w 342311"/>
              <a:gd name="connsiteY3" fmla="*/ 347662 h 347662"/>
              <a:gd name="connsiteX4" fmla="*/ 338138 w 342311"/>
              <a:gd name="connsiteY4" fmla="*/ 276640 h 347662"/>
              <a:gd name="connsiteX5" fmla="*/ 109537 w 342311"/>
              <a:gd name="connsiteY5" fmla="*/ 161925 h 347662"/>
              <a:gd name="connsiteX6" fmla="*/ 130970 w 342311"/>
              <a:gd name="connsiteY6" fmla="*/ 0 h 347662"/>
              <a:gd name="connsiteX7" fmla="*/ 30956 w 342311"/>
              <a:gd name="connsiteY7" fmla="*/ 7144 h 347662"/>
              <a:gd name="connsiteX0" fmla="*/ 30956 w 346077"/>
              <a:gd name="connsiteY0" fmla="*/ 7144 h 347662"/>
              <a:gd name="connsiteX1" fmla="*/ 0 w 346077"/>
              <a:gd name="connsiteY1" fmla="*/ 197643 h 347662"/>
              <a:gd name="connsiteX2" fmla="*/ 114300 w 346077"/>
              <a:gd name="connsiteY2" fmla="*/ 280987 h 347662"/>
              <a:gd name="connsiteX3" fmla="*/ 278607 w 346077"/>
              <a:gd name="connsiteY3" fmla="*/ 347662 h 347662"/>
              <a:gd name="connsiteX4" fmla="*/ 338138 w 346077"/>
              <a:gd name="connsiteY4" fmla="*/ 276640 h 347662"/>
              <a:gd name="connsiteX5" fmla="*/ 119930 w 346077"/>
              <a:gd name="connsiteY5" fmla="*/ 167594 h 347662"/>
              <a:gd name="connsiteX6" fmla="*/ 130970 w 346077"/>
              <a:gd name="connsiteY6" fmla="*/ 0 h 347662"/>
              <a:gd name="connsiteX7" fmla="*/ 30956 w 346077"/>
              <a:gd name="connsiteY7" fmla="*/ 7144 h 347662"/>
              <a:gd name="connsiteX0" fmla="*/ 30956 w 345219"/>
              <a:gd name="connsiteY0" fmla="*/ 7144 h 347662"/>
              <a:gd name="connsiteX1" fmla="*/ 0 w 345219"/>
              <a:gd name="connsiteY1" fmla="*/ 197643 h 347662"/>
              <a:gd name="connsiteX2" fmla="*/ 114300 w 345219"/>
              <a:gd name="connsiteY2" fmla="*/ 280987 h 347662"/>
              <a:gd name="connsiteX3" fmla="*/ 278607 w 345219"/>
              <a:gd name="connsiteY3" fmla="*/ 347662 h 347662"/>
              <a:gd name="connsiteX4" fmla="*/ 338138 w 345219"/>
              <a:gd name="connsiteY4" fmla="*/ 276640 h 347662"/>
              <a:gd name="connsiteX5" fmla="*/ 133157 w 345219"/>
              <a:gd name="connsiteY5" fmla="*/ 192160 h 347662"/>
              <a:gd name="connsiteX6" fmla="*/ 130970 w 345219"/>
              <a:gd name="connsiteY6" fmla="*/ 0 h 347662"/>
              <a:gd name="connsiteX7" fmla="*/ 30956 w 345219"/>
              <a:gd name="connsiteY7" fmla="*/ 7144 h 347662"/>
              <a:gd name="connsiteX0" fmla="*/ 30956 w 345401"/>
              <a:gd name="connsiteY0" fmla="*/ 7144 h 347662"/>
              <a:gd name="connsiteX1" fmla="*/ 0 w 345401"/>
              <a:gd name="connsiteY1" fmla="*/ 197643 h 347662"/>
              <a:gd name="connsiteX2" fmla="*/ 114300 w 345401"/>
              <a:gd name="connsiteY2" fmla="*/ 280987 h 347662"/>
              <a:gd name="connsiteX3" fmla="*/ 278607 w 345401"/>
              <a:gd name="connsiteY3" fmla="*/ 347662 h 347662"/>
              <a:gd name="connsiteX4" fmla="*/ 338138 w 345401"/>
              <a:gd name="connsiteY4" fmla="*/ 276640 h 347662"/>
              <a:gd name="connsiteX5" fmla="*/ 130323 w 345401"/>
              <a:gd name="connsiteY5" fmla="*/ 191215 h 347662"/>
              <a:gd name="connsiteX6" fmla="*/ 130970 w 345401"/>
              <a:gd name="connsiteY6" fmla="*/ 0 h 347662"/>
              <a:gd name="connsiteX7" fmla="*/ 30956 w 345401"/>
              <a:gd name="connsiteY7" fmla="*/ 7144 h 347662"/>
              <a:gd name="connsiteX0" fmla="*/ 30956 w 345524"/>
              <a:gd name="connsiteY0" fmla="*/ 7144 h 347662"/>
              <a:gd name="connsiteX1" fmla="*/ 0 w 345524"/>
              <a:gd name="connsiteY1" fmla="*/ 197643 h 347662"/>
              <a:gd name="connsiteX2" fmla="*/ 114300 w 345524"/>
              <a:gd name="connsiteY2" fmla="*/ 280987 h 347662"/>
              <a:gd name="connsiteX3" fmla="*/ 278607 w 345524"/>
              <a:gd name="connsiteY3" fmla="*/ 347662 h 347662"/>
              <a:gd name="connsiteX4" fmla="*/ 338138 w 345524"/>
              <a:gd name="connsiteY4" fmla="*/ 276640 h 347662"/>
              <a:gd name="connsiteX5" fmla="*/ 128433 w 345524"/>
              <a:gd name="connsiteY5" fmla="*/ 187435 h 347662"/>
              <a:gd name="connsiteX6" fmla="*/ 130970 w 345524"/>
              <a:gd name="connsiteY6" fmla="*/ 0 h 347662"/>
              <a:gd name="connsiteX7" fmla="*/ 30956 w 345524"/>
              <a:gd name="connsiteY7" fmla="*/ 7144 h 347662"/>
              <a:gd name="connsiteX0" fmla="*/ 13004 w 327572"/>
              <a:gd name="connsiteY0" fmla="*/ 7144 h 347662"/>
              <a:gd name="connsiteX1" fmla="*/ 0 w 327572"/>
              <a:gd name="connsiteY1" fmla="*/ 199533 h 347662"/>
              <a:gd name="connsiteX2" fmla="*/ 96348 w 327572"/>
              <a:gd name="connsiteY2" fmla="*/ 280987 h 347662"/>
              <a:gd name="connsiteX3" fmla="*/ 260655 w 327572"/>
              <a:gd name="connsiteY3" fmla="*/ 347662 h 347662"/>
              <a:gd name="connsiteX4" fmla="*/ 320186 w 327572"/>
              <a:gd name="connsiteY4" fmla="*/ 276640 h 347662"/>
              <a:gd name="connsiteX5" fmla="*/ 110481 w 327572"/>
              <a:gd name="connsiteY5" fmla="*/ 187435 h 347662"/>
              <a:gd name="connsiteX6" fmla="*/ 113018 w 327572"/>
              <a:gd name="connsiteY6" fmla="*/ 0 h 347662"/>
              <a:gd name="connsiteX7" fmla="*/ 13004 w 327572"/>
              <a:gd name="connsiteY7" fmla="*/ 7144 h 347662"/>
              <a:gd name="connsiteX0" fmla="*/ 20002 w 334570"/>
              <a:gd name="connsiteY0" fmla="*/ 7144 h 347662"/>
              <a:gd name="connsiteX1" fmla="*/ 6998 w 334570"/>
              <a:gd name="connsiteY1" fmla="*/ 199533 h 347662"/>
              <a:gd name="connsiteX2" fmla="*/ 103346 w 334570"/>
              <a:gd name="connsiteY2" fmla="*/ 280987 h 347662"/>
              <a:gd name="connsiteX3" fmla="*/ 267653 w 334570"/>
              <a:gd name="connsiteY3" fmla="*/ 347662 h 347662"/>
              <a:gd name="connsiteX4" fmla="*/ 327184 w 334570"/>
              <a:gd name="connsiteY4" fmla="*/ 276640 h 347662"/>
              <a:gd name="connsiteX5" fmla="*/ 117479 w 334570"/>
              <a:gd name="connsiteY5" fmla="*/ 187435 h 347662"/>
              <a:gd name="connsiteX6" fmla="*/ 120016 w 334570"/>
              <a:gd name="connsiteY6" fmla="*/ 0 h 347662"/>
              <a:gd name="connsiteX7" fmla="*/ 20002 w 334570"/>
              <a:gd name="connsiteY7" fmla="*/ 7144 h 347662"/>
              <a:gd name="connsiteX0" fmla="*/ 11083 w 325651"/>
              <a:gd name="connsiteY0" fmla="*/ 7144 h 347662"/>
              <a:gd name="connsiteX1" fmla="*/ 14142 w 325651"/>
              <a:gd name="connsiteY1" fmla="*/ 200478 h 347662"/>
              <a:gd name="connsiteX2" fmla="*/ 94427 w 325651"/>
              <a:gd name="connsiteY2" fmla="*/ 280987 h 347662"/>
              <a:gd name="connsiteX3" fmla="*/ 258734 w 325651"/>
              <a:gd name="connsiteY3" fmla="*/ 347662 h 347662"/>
              <a:gd name="connsiteX4" fmla="*/ 318265 w 325651"/>
              <a:gd name="connsiteY4" fmla="*/ 276640 h 347662"/>
              <a:gd name="connsiteX5" fmla="*/ 108560 w 325651"/>
              <a:gd name="connsiteY5" fmla="*/ 187435 h 347662"/>
              <a:gd name="connsiteX6" fmla="*/ 111097 w 325651"/>
              <a:gd name="connsiteY6" fmla="*/ 0 h 347662"/>
              <a:gd name="connsiteX7" fmla="*/ 11083 w 325651"/>
              <a:gd name="connsiteY7" fmla="*/ 7144 h 347662"/>
              <a:gd name="connsiteX0" fmla="*/ 8706 w 323274"/>
              <a:gd name="connsiteY0" fmla="*/ 7144 h 347662"/>
              <a:gd name="connsiteX1" fmla="*/ 19324 w 323274"/>
              <a:gd name="connsiteY1" fmla="*/ 204257 h 347662"/>
              <a:gd name="connsiteX2" fmla="*/ 92050 w 323274"/>
              <a:gd name="connsiteY2" fmla="*/ 280987 h 347662"/>
              <a:gd name="connsiteX3" fmla="*/ 256357 w 323274"/>
              <a:gd name="connsiteY3" fmla="*/ 347662 h 347662"/>
              <a:gd name="connsiteX4" fmla="*/ 315888 w 323274"/>
              <a:gd name="connsiteY4" fmla="*/ 276640 h 347662"/>
              <a:gd name="connsiteX5" fmla="*/ 106183 w 323274"/>
              <a:gd name="connsiteY5" fmla="*/ 187435 h 347662"/>
              <a:gd name="connsiteX6" fmla="*/ 108720 w 323274"/>
              <a:gd name="connsiteY6" fmla="*/ 0 h 347662"/>
              <a:gd name="connsiteX7" fmla="*/ 8706 w 323274"/>
              <a:gd name="connsiteY7" fmla="*/ 7144 h 347662"/>
              <a:gd name="connsiteX0" fmla="*/ 7261 w 321829"/>
              <a:gd name="connsiteY0" fmla="*/ 7144 h 347662"/>
              <a:gd name="connsiteX1" fmla="*/ 24493 w 321829"/>
              <a:gd name="connsiteY1" fmla="*/ 204257 h 347662"/>
              <a:gd name="connsiteX2" fmla="*/ 90605 w 321829"/>
              <a:gd name="connsiteY2" fmla="*/ 280987 h 347662"/>
              <a:gd name="connsiteX3" fmla="*/ 254912 w 321829"/>
              <a:gd name="connsiteY3" fmla="*/ 347662 h 347662"/>
              <a:gd name="connsiteX4" fmla="*/ 314443 w 321829"/>
              <a:gd name="connsiteY4" fmla="*/ 276640 h 347662"/>
              <a:gd name="connsiteX5" fmla="*/ 104738 w 321829"/>
              <a:gd name="connsiteY5" fmla="*/ 187435 h 347662"/>
              <a:gd name="connsiteX6" fmla="*/ 107275 w 321829"/>
              <a:gd name="connsiteY6" fmla="*/ 0 h 347662"/>
              <a:gd name="connsiteX7" fmla="*/ 7261 w 321829"/>
              <a:gd name="connsiteY7" fmla="*/ 7144 h 347662"/>
              <a:gd name="connsiteX0" fmla="*/ 8243 w 322811"/>
              <a:gd name="connsiteY0" fmla="*/ 7144 h 347662"/>
              <a:gd name="connsiteX1" fmla="*/ 20751 w 322811"/>
              <a:gd name="connsiteY1" fmla="*/ 204257 h 347662"/>
              <a:gd name="connsiteX2" fmla="*/ 91587 w 322811"/>
              <a:gd name="connsiteY2" fmla="*/ 280987 h 347662"/>
              <a:gd name="connsiteX3" fmla="*/ 255894 w 322811"/>
              <a:gd name="connsiteY3" fmla="*/ 347662 h 347662"/>
              <a:gd name="connsiteX4" fmla="*/ 315425 w 322811"/>
              <a:gd name="connsiteY4" fmla="*/ 276640 h 347662"/>
              <a:gd name="connsiteX5" fmla="*/ 105720 w 322811"/>
              <a:gd name="connsiteY5" fmla="*/ 187435 h 347662"/>
              <a:gd name="connsiteX6" fmla="*/ 108257 w 322811"/>
              <a:gd name="connsiteY6" fmla="*/ 0 h 347662"/>
              <a:gd name="connsiteX7" fmla="*/ 8243 w 322811"/>
              <a:gd name="connsiteY7" fmla="*/ 7144 h 347662"/>
              <a:gd name="connsiteX0" fmla="*/ 16298 w 331723"/>
              <a:gd name="connsiteY0" fmla="*/ 7144 h 349331"/>
              <a:gd name="connsiteX1" fmla="*/ 28806 w 331723"/>
              <a:gd name="connsiteY1" fmla="*/ 204257 h 349331"/>
              <a:gd name="connsiteX2" fmla="*/ 263949 w 331723"/>
              <a:gd name="connsiteY2" fmla="*/ 347662 h 349331"/>
              <a:gd name="connsiteX3" fmla="*/ 323480 w 331723"/>
              <a:gd name="connsiteY3" fmla="*/ 276640 h 349331"/>
              <a:gd name="connsiteX4" fmla="*/ 113775 w 331723"/>
              <a:gd name="connsiteY4" fmla="*/ 187435 h 349331"/>
              <a:gd name="connsiteX5" fmla="*/ 116312 w 331723"/>
              <a:gd name="connsiteY5" fmla="*/ 0 h 349331"/>
              <a:gd name="connsiteX6" fmla="*/ 16298 w 33172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9450 w 324875"/>
              <a:gd name="connsiteY0" fmla="*/ 7144 h 349331"/>
              <a:gd name="connsiteX1" fmla="*/ 21958 w 324875"/>
              <a:gd name="connsiteY1" fmla="*/ 204257 h 349331"/>
              <a:gd name="connsiteX2" fmla="*/ 257101 w 324875"/>
              <a:gd name="connsiteY2" fmla="*/ 347662 h 349331"/>
              <a:gd name="connsiteX3" fmla="*/ 316632 w 324875"/>
              <a:gd name="connsiteY3" fmla="*/ 276640 h 349331"/>
              <a:gd name="connsiteX4" fmla="*/ 106927 w 324875"/>
              <a:gd name="connsiteY4" fmla="*/ 187435 h 349331"/>
              <a:gd name="connsiteX5" fmla="*/ 109464 w 324875"/>
              <a:gd name="connsiteY5" fmla="*/ 0 h 349331"/>
              <a:gd name="connsiteX6" fmla="*/ 9450 w 324875"/>
              <a:gd name="connsiteY6" fmla="*/ 7144 h 349331"/>
              <a:gd name="connsiteX0" fmla="*/ 1117 w 316542"/>
              <a:gd name="connsiteY0" fmla="*/ 7144 h 349331"/>
              <a:gd name="connsiteX1" fmla="*/ 13625 w 316542"/>
              <a:gd name="connsiteY1" fmla="*/ 204257 h 349331"/>
              <a:gd name="connsiteX2" fmla="*/ 248768 w 316542"/>
              <a:gd name="connsiteY2" fmla="*/ 347662 h 349331"/>
              <a:gd name="connsiteX3" fmla="*/ 308299 w 316542"/>
              <a:gd name="connsiteY3" fmla="*/ 276640 h 349331"/>
              <a:gd name="connsiteX4" fmla="*/ 98594 w 316542"/>
              <a:gd name="connsiteY4" fmla="*/ 187435 h 349331"/>
              <a:gd name="connsiteX5" fmla="*/ 101131 w 316542"/>
              <a:gd name="connsiteY5" fmla="*/ 0 h 349331"/>
              <a:gd name="connsiteX6" fmla="*/ 1117 w 316542"/>
              <a:gd name="connsiteY6" fmla="*/ 7144 h 349331"/>
              <a:gd name="connsiteX0" fmla="*/ 520 w 315945"/>
              <a:gd name="connsiteY0" fmla="*/ 7144 h 349331"/>
              <a:gd name="connsiteX1" fmla="*/ 13028 w 315945"/>
              <a:gd name="connsiteY1" fmla="*/ 204257 h 349331"/>
              <a:gd name="connsiteX2" fmla="*/ 248171 w 315945"/>
              <a:gd name="connsiteY2" fmla="*/ 347662 h 349331"/>
              <a:gd name="connsiteX3" fmla="*/ 307702 w 315945"/>
              <a:gd name="connsiteY3" fmla="*/ 276640 h 349331"/>
              <a:gd name="connsiteX4" fmla="*/ 97997 w 315945"/>
              <a:gd name="connsiteY4" fmla="*/ 187435 h 349331"/>
              <a:gd name="connsiteX5" fmla="*/ 100534 w 315945"/>
              <a:gd name="connsiteY5" fmla="*/ 0 h 349331"/>
              <a:gd name="connsiteX6" fmla="*/ 520 w 31594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041"/>
              <a:gd name="connsiteY0" fmla="*/ 7144 h 349331"/>
              <a:gd name="connsiteX1" fmla="*/ 12508 w 315041"/>
              <a:gd name="connsiteY1" fmla="*/ 204257 h 349331"/>
              <a:gd name="connsiteX2" fmla="*/ 247651 w 315041"/>
              <a:gd name="connsiteY2" fmla="*/ 347662 h 349331"/>
              <a:gd name="connsiteX3" fmla="*/ 307182 w 315041"/>
              <a:gd name="connsiteY3" fmla="*/ 276640 h 349331"/>
              <a:gd name="connsiteX4" fmla="*/ 103146 w 315041"/>
              <a:gd name="connsiteY4" fmla="*/ 187435 h 349331"/>
              <a:gd name="connsiteX5" fmla="*/ 100014 w 315041"/>
              <a:gd name="connsiteY5" fmla="*/ 0 h 349331"/>
              <a:gd name="connsiteX6" fmla="*/ 0 w 315041"/>
              <a:gd name="connsiteY6" fmla="*/ 7144 h 349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041" h="349331">
                <a:moveTo>
                  <a:pt x="0" y="7144"/>
                </a:moveTo>
                <a:cubicBezTo>
                  <a:pt x="1006" y="86696"/>
                  <a:pt x="2413" y="178683"/>
                  <a:pt x="12508" y="204257"/>
                </a:cubicBezTo>
                <a:cubicBezTo>
                  <a:pt x="22603" y="229831"/>
                  <a:pt x="116338" y="291191"/>
                  <a:pt x="247651" y="347662"/>
                </a:cubicBezTo>
                <a:cubicBezTo>
                  <a:pt x="296763" y="359726"/>
                  <a:pt x="331266" y="303344"/>
                  <a:pt x="307182" y="276640"/>
                </a:cubicBezTo>
                <a:cubicBezTo>
                  <a:pt x="283098" y="249936"/>
                  <a:pt x="226971" y="282686"/>
                  <a:pt x="103146" y="187435"/>
                </a:cubicBezTo>
                <a:cubicBezTo>
                  <a:pt x="86478" y="131079"/>
                  <a:pt x="92870" y="53975"/>
                  <a:pt x="100014" y="0"/>
                </a:cubicBezTo>
                <a:lnTo>
                  <a:pt x="0" y="7144"/>
                </a:lnTo>
                <a:close/>
              </a:path>
            </a:pathLst>
          </a:custGeom>
          <a:solidFill>
            <a:srgbClr val="DFD5A3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BFE0F3C-60AB-4269-97D2-C19111BDF4E3}"/>
              </a:ext>
            </a:extLst>
          </p:cNvPr>
          <p:cNvSpPr/>
          <p:nvPr/>
        </p:nvSpPr>
        <p:spPr bwMode="auto">
          <a:xfrm flipH="1">
            <a:off x="4592405" y="5844849"/>
            <a:ext cx="438081" cy="531615"/>
          </a:xfrm>
          <a:custGeom>
            <a:avLst/>
            <a:gdLst>
              <a:gd name="connsiteX0" fmla="*/ 28575 w 338138"/>
              <a:gd name="connsiteY0" fmla="*/ 19050 h 357187"/>
              <a:gd name="connsiteX1" fmla="*/ 0 w 338138"/>
              <a:gd name="connsiteY1" fmla="*/ 207168 h 357187"/>
              <a:gd name="connsiteX2" fmla="*/ 121444 w 338138"/>
              <a:gd name="connsiteY2" fmla="*/ 300037 h 357187"/>
              <a:gd name="connsiteX3" fmla="*/ 278607 w 338138"/>
              <a:gd name="connsiteY3" fmla="*/ 357187 h 357187"/>
              <a:gd name="connsiteX4" fmla="*/ 338138 w 338138"/>
              <a:gd name="connsiteY4" fmla="*/ 278606 h 357187"/>
              <a:gd name="connsiteX5" fmla="*/ 92869 w 338138"/>
              <a:gd name="connsiteY5" fmla="*/ 173831 h 357187"/>
              <a:gd name="connsiteX6" fmla="*/ 128588 w 338138"/>
              <a:gd name="connsiteY6" fmla="*/ 0 h 357187"/>
              <a:gd name="connsiteX7" fmla="*/ 28575 w 338138"/>
              <a:gd name="connsiteY7" fmla="*/ 19050 h 357187"/>
              <a:gd name="connsiteX0" fmla="*/ 28575 w 338138"/>
              <a:gd name="connsiteY0" fmla="*/ 4762 h 342899"/>
              <a:gd name="connsiteX1" fmla="*/ 0 w 338138"/>
              <a:gd name="connsiteY1" fmla="*/ 192880 h 342899"/>
              <a:gd name="connsiteX2" fmla="*/ 121444 w 338138"/>
              <a:gd name="connsiteY2" fmla="*/ 285749 h 342899"/>
              <a:gd name="connsiteX3" fmla="*/ 278607 w 338138"/>
              <a:gd name="connsiteY3" fmla="*/ 342899 h 342899"/>
              <a:gd name="connsiteX4" fmla="*/ 338138 w 338138"/>
              <a:gd name="connsiteY4" fmla="*/ 264318 h 342899"/>
              <a:gd name="connsiteX5" fmla="*/ 92869 w 338138"/>
              <a:gd name="connsiteY5" fmla="*/ 159543 h 342899"/>
              <a:gd name="connsiteX6" fmla="*/ 126207 w 338138"/>
              <a:gd name="connsiteY6" fmla="*/ 0 h 342899"/>
              <a:gd name="connsiteX7" fmla="*/ 28575 w 338138"/>
              <a:gd name="connsiteY7" fmla="*/ 4762 h 342899"/>
              <a:gd name="connsiteX0" fmla="*/ 28575 w 338138"/>
              <a:gd name="connsiteY0" fmla="*/ 9525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28575 w 338138"/>
              <a:gd name="connsiteY7" fmla="*/ 9525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76640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54734"/>
              <a:gd name="connsiteY0" fmla="*/ 7144 h 347662"/>
              <a:gd name="connsiteX1" fmla="*/ 0 w 354734"/>
              <a:gd name="connsiteY1" fmla="*/ 197643 h 347662"/>
              <a:gd name="connsiteX2" fmla="*/ 114300 w 354734"/>
              <a:gd name="connsiteY2" fmla="*/ 280987 h 347662"/>
              <a:gd name="connsiteX3" fmla="*/ 278607 w 354734"/>
              <a:gd name="connsiteY3" fmla="*/ 347662 h 347662"/>
              <a:gd name="connsiteX4" fmla="*/ 338138 w 354734"/>
              <a:gd name="connsiteY4" fmla="*/ 276640 h 347662"/>
              <a:gd name="connsiteX5" fmla="*/ 109537 w 354734"/>
              <a:gd name="connsiteY5" fmla="*/ 161925 h 347662"/>
              <a:gd name="connsiteX6" fmla="*/ 130970 w 354734"/>
              <a:gd name="connsiteY6" fmla="*/ 0 h 347662"/>
              <a:gd name="connsiteX7" fmla="*/ 30956 w 354734"/>
              <a:gd name="connsiteY7" fmla="*/ 7144 h 347662"/>
              <a:gd name="connsiteX0" fmla="*/ 30956 w 345861"/>
              <a:gd name="connsiteY0" fmla="*/ 7144 h 347662"/>
              <a:gd name="connsiteX1" fmla="*/ 0 w 345861"/>
              <a:gd name="connsiteY1" fmla="*/ 197643 h 347662"/>
              <a:gd name="connsiteX2" fmla="*/ 114300 w 345861"/>
              <a:gd name="connsiteY2" fmla="*/ 280987 h 347662"/>
              <a:gd name="connsiteX3" fmla="*/ 278607 w 345861"/>
              <a:gd name="connsiteY3" fmla="*/ 347662 h 347662"/>
              <a:gd name="connsiteX4" fmla="*/ 338138 w 345861"/>
              <a:gd name="connsiteY4" fmla="*/ 276640 h 347662"/>
              <a:gd name="connsiteX5" fmla="*/ 109537 w 345861"/>
              <a:gd name="connsiteY5" fmla="*/ 161925 h 347662"/>
              <a:gd name="connsiteX6" fmla="*/ 130970 w 345861"/>
              <a:gd name="connsiteY6" fmla="*/ 0 h 347662"/>
              <a:gd name="connsiteX7" fmla="*/ 30956 w 345861"/>
              <a:gd name="connsiteY7" fmla="*/ 7144 h 347662"/>
              <a:gd name="connsiteX0" fmla="*/ 30956 w 342311"/>
              <a:gd name="connsiteY0" fmla="*/ 7144 h 347662"/>
              <a:gd name="connsiteX1" fmla="*/ 0 w 342311"/>
              <a:gd name="connsiteY1" fmla="*/ 197643 h 347662"/>
              <a:gd name="connsiteX2" fmla="*/ 114300 w 342311"/>
              <a:gd name="connsiteY2" fmla="*/ 280987 h 347662"/>
              <a:gd name="connsiteX3" fmla="*/ 278607 w 342311"/>
              <a:gd name="connsiteY3" fmla="*/ 347662 h 347662"/>
              <a:gd name="connsiteX4" fmla="*/ 338138 w 342311"/>
              <a:gd name="connsiteY4" fmla="*/ 276640 h 347662"/>
              <a:gd name="connsiteX5" fmla="*/ 109537 w 342311"/>
              <a:gd name="connsiteY5" fmla="*/ 161925 h 347662"/>
              <a:gd name="connsiteX6" fmla="*/ 130970 w 342311"/>
              <a:gd name="connsiteY6" fmla="*/ 0 h 347662"/>
              <a:gd name="connsiteX7" fmla="*/ 30956 w 342311"/>
              <a:gd name="connsiteY7" fmla="*/ 7144 h 347662"/>
              <a:gd name="connsiteX0" fmla="*/ 30956 w 346077"/>
              <a:gd name="connsiteY0" fmla="*/ 7144 h 347662"/>
              <a:gd name="connsiteX1" fmla="*/ 0 w 346077"/>
              <a:gd name="connsiteY1" fmla="*/ 197643 h 347662"/>
              <a:gd name="connsiteX2" fmla="*/ 114300 w 346077"/>
              <a:gd name="connsiteY2" fmla="*/ 280987 h 347662"/>
              <a:gd name="connsiteX3" fmla="*/ 278607 w 346077"/>
              <a:gd name="connsiteY3" fmla="*/ 347662 h 347662"/>
              <a:gd name="connsiteX4" fmla="*/ 338138 w 346077"/>
              <a:gd name="connsiteY4" fmla="*/ 276640 h 347662"/>
              <a:gd name="connsiteX5" fmla="*/ 119930 w 346077"/>
              <a:gd name="connsiteY5" fmla="*/ 167594 h 347662"/>
              <a:gd name="connsiteX6" fmla="*/ 130970 w 346077"/>
              <a:gd name="connsiteY6" fmla="*/ 0 h 347662"/>
              <a:gd name="connsiteX7" fmla="*/ 30956 w 346077"/>
              <a:gd name="connsiteY7" fmla="*/ 7144 h 347662"/>
              <a:gd name="connsiteX0" fmla="*/ 30956 w 345219"/>
              <a:gd name="connsiteY0" fmla="*/ 7144 h 347662"/>
              <a:gd name="connsiteX1" fmla="*/ 0 w 345219"/>
              <a:gd name="connsiteY1" fmla="*/ 197643 h 347662"/>
              <a:gd name="connsiteX2" fmla="*/ 114300 w 345219"/>
              <a:gd name="connsiteY2" fmla="*/ 280987 h 347662"/>
              <a:gd name="connsiteX3" fmla="*/ 278607 w 345219"/>
              <a:gd name="connsiteY3" fmla="*/ 347662 h 347662"/>
              <a:gd name="connsiteX4" fmla="*/ 338138 w 345219"/>
              <a:gd name="connsiteY4" fmla="*/ 276640 h 347662"/>
              <a:gd name="connsiteX5" fmla="*/ 133157 w 345219"/>
              <a:gd name="connsiteY5" fmla="*/ 192160 h 347662"/>
              <a:gd name="connsiteX6" fmla="*/ 130970 w 345219"/>
              <a:gd name="connsiteY6" fmla="*/ 0 h 347662"/>
              <a:gd name="connsiteX7" fmla="*/ 30956 w 345219"/>
              <a:gd name="connsiteY7" fmla="*/ 7144 h 347662"/>
              <a:gd name="connsiteX0" fmla="*/ 30956 w 345401"/>
              <a:gd name="connsiteY0" fmla="*/ 7144 h 347662"/>
              <a:gd name="connsiteX1" fmla="*/ 0 w 345401"/>
              <a:gd name="connsiteY1" fmla="*/ 197643 h 347662"/>
              <a:gd name="connsiteX2" fmla="*/ 114300 w 345401"/>
              <a:gd name="connsiteY2" fmla="*/ 280987 h 347662"/>
              <a:gd name="connsiteX3" fmla="*/ 278607 w 345401"/>
              <a:gd name="connsiteY3" fmla="*/ 347662 h 347662"/>
              <a:gd name="connsiteX4" fmla="*/ 338138 w 345401"/>
              <a:gd name="connsiteY4" fmla="*/ 276640 h 347662"/>
              <a:gd name="connsiteX5" fmla="*/ 130323 w 345401"/>
              <a:gd name="connsiteY5" fmla="*/ 191215 h 347662"/>
              <a:gd name="connsiteX6" fmla="*/ 130970 w 345401"/>
              <a:gd name="connsiteY6" fmla="*/ 0 h 347662"/>
              <a:gd name="connsiteX7" fmla="*/ 30956 w 345401"/>
              <a:gd name="connsiteY7" fmla="*/ 7144 h 347662"/>
              <a:gd name="connsiteX0" fmla="*/ 30956 w 345524"/>
              <a:gd name="connsiteY0" fmla="*/ 7144 h 347662"/>
              <a:gd name="connsiteX1" fmla="*/ 0 w 345524"/>
              <a:gd name="connsiteY1" fmla="*/ 197643 h 347662"/>
              <a:gd name="connsiteX2" fmla="*/ 114300 w 345524"/>
              <a:gd name="connsiteY2" fmla="*/ 280987 h 347662"/>
              <a:gd name="connsiteX3" fmla="*/ 278607 w 345524"/>
              <a:gd name="connsiteY3" fmla="*/ 347662 h 347662"/>
              <a:gd name="connsiteX4" fmla="*/ 338138 w 345524"/>
              <a:gd name="connsiteY4" fmla="*/ 276640 h 347662"/>
              <a:gd name="connsiteX5" fmla="*/ 128433 w 345524"/>
              <a:gd name="connsiteY5" fmla="*/ 187435 h 347662"/>
              <a:gd name="connsiteX6" fmla="*/ 130970 w 345524"/>
              <a:gd name="connsiteY6" fmla="*/ 0 h 347662"/>
              <a:gd name="connsiteX7" fmla="*/ 30956 w 345524"/>
              <a:gd name="connsiteY7" fmla="*/ 7144 h 347662"/>
              <a:gd name="connsiteX0" fmla="*/ 13004 w 327572"/>
              <a:gd name="connsiteY0" fmla="*/ 7144 h 347662"/>
              <a:gd name="connsiteX1" fmla="*/ 0 w 327572"/>
              <a:gd name="connsiteY1" fmla="*/ 199533 h 347662"/>
              <a:gd name="connsiteX2" fmla="*/ 96348 w 327572"/>
              <a:gd name="connsiteY2" fmla="*/ 280987 h 347662"/>
              <a:gd name="connsiteX3" fmla="*/ 260655 w 327572"/>
              <a:gd name="connsiteY3" fmla="*/ 347662 h 347662"/>
              <a:gd name="connsiteX4" fmla="*/ 320186 w 327572"/>
              <a:gd name="connsiteY4" fmla="*/ 276640 h 347662"/>
              <a:gd name="connsiteX5" fmla="*/ 110481 w 327572"/>
              <a:gd name="connsiteY5" fmla="*/ 187435 h 347662"/>
              <a:gd name="connsiteX6" fmla="*/ 113018 w 327572"/>
              <a:gd name="connsiteY6" fmla="*/ 0 h 347662"/>
              <a:gd name="connsiteX7" fmla="*/ 13004 w 327572"/>
              <a:gd name="connsiteY7" fmla="*/ 7144 h 347662"/>
              <a:gd name="connsiteX0" fmla="*/ 20002 w 334570"/>
              <a:gd name="connsiteY0" fmla="*/ 7144 h 347662"/>
              <a:gd name="connsiteX1" fmla="*/ 6998 w 334570"/>
              <a:gd name="connsiteY1" fmla="*/ 199533 h 347662"/>
              <a:gd name="connsiteX2" fmla="*/ 103346 w 334570"/>
              <a:gd name="connsiteY2" fmla="*/ 280987 h 347662"/>
              <a:gd name="connsiteX3" fmla="*/ 267653 w 334570"/>
              <a:gd name="connsiteY3" fmla="*/ 347662 h 347662"/>
              <a:gd name="connsiteX4" fmla="*/ 327184 w 334570"/>
              <a:gd name="connsiteY4" fmla="*/ 276640 h 347662"/>
              <a:gd name="connsiteX5" fmla="*/ 117479 w 334570"/>
              <a:gd name="connsiteY5" fmla="*/ 187435 h 347662"/>
              <a:gd name="connsiteX6" fmla="*/ 120016 w 334570"/>
              <a:gd name="connsiteY6" fmla="*/ 0 h 347662"/>
              <a:gd name="connsiteX7" fmla="*/ 20002 w 334570"/>
              <a:gd name="connsiteY7" fmla="*/ 7144 h 347662"/>
              <a:gd name="connsiteX0" fmla="*/ 11083 w 325651"/>
              <a:gd name="connsiteY0" fmla="*/ 7144 h 347662"/>
              <a:gd name="connsiteX1" fmla="*/ 14142 w 325651"/>
              <a:gd name="connsiteY1" fmla="*/ 200478 h 347662"/>
              <a:gd name="connsiteX2" fmla="*/ 94427 w 325651"/>
              <a:gd name="connsiteY2" fmla="*/ 280987 h 347662"/>
              <a:gd name="connsiteX3" fmla="*/ 258734 w 325651"/>
              <a:gd name="connsiteY3" fmla="*/ 347662 h 347662"/>
              <a:gd name="connsiteX4" fmla="*/ 318265 w 325651"/>
              <a:gd name="connsiteY4" fmla="*/ 276640 h 347662"/>
              <a:gd name="connsiteX5" fmla="*/ 108560 w 325651"/>
              <a:gd name="connsiteY5" fmla="*/ 187435 h 347662"/>
              <a:gd name="connsiteX6" fmla="*/ 111097 w 325651"/>
              <a:gd name="connsiteY6" fmla="*/ 0 h 347662"/>
              <a:gd name="connsiteX7" fmla="*/ 11083 w 325651"/>
              <a:gd name="connsiteY7" fmla="*/ 7144 h 347662"/>
              <a:gd name="connsiteX0" fmla="*/ 8706 w 323274"/>
              <a:gd name="connsiteY0" fmla="*/ 7144 h 347662"/>
              <a:gd name="connsiteX1" fmla="*/ 19324 w 323274"/>
              <a:gd name="connsiteY1" fmla="*/ 204257 h 347662"/>
              <a:gd name="connsiteX2" fmla="*/ 92050 w 323274"/>
              <a:gd name="connsiteY2" fmla="*/ 280987 h 347662"/>
              <a:gd name="connsiteX3" fmla="*/ 256357 w 323274"/>
              <a:gd name="connsiteY3" fmla="*/ 347662 h 347662"/>
              <a:gd name="connsiteX4" fmla="*/ 315888 w 323274"/>
              <a:gd name="connsiteY4" fmla="*/ 276640 h 347662"/>
              <a:gd name="connsiteX5" fmla="*/ 106183 w 323274"/>
              <a:gd name="connsiteY5" fmla="*/ 187435 h 347662"/>
              <a:gd name="connsiteX6" fmla="*/ 108720 w 323274"/>
              <a:gd name="connsiteY6" fmla="*/ 0 h 347662"/>
              <a:gd name="connsiteX7" fmla="*/ 8706 w 323274"/>
              <a:gd name="connsiteY7" fmla="*/ 7144 h 347662"/>
              <a:gd name="connsiteX0" fmla="*/ 7261 w 321829"/>
              <a:gd name="connsiteY0" fmla="*/ 7144 h 347662"/>
              <a:gd name="connsiteX1" fmla="*/ 24493 w 321829"/>
              <a:gd name="connsiteY1" fmla="*/ 204257 h 347662"/>
              <a:gd name="connsiteX2" fmla="*/ 90605 w 321829"/>
              <a:gd name="connsiteY2" fmla="*/ 280987 h 347662"/>
              <a:gd name="connsiteX3" fmla="*/ 254912 w 321829"/>
              <a:gd name="connsiteY3" fmla="*/ 347662 h 347662"/>
              <a:gd name="connsiteX4" fmla="*/ 314443 w 321829"/>
              <a:gd name="connsiteY4" fmla="*/ 276640 h 347662"/>
              <a:gd name="connsiteX5" fmla="*/ 104738 w 321829"/>
              <a:gd name="connsiteY5" fmla="*/ 187435 h 347662"/>
              <a:gd name="connsiteX6" fmla="*/ 107275 w 321829"/>
              <a:gd name="connsiteY6" fmla="*/ 0 h 347662"/>
              <a:gd name="connsiteX7" fmla="*/ 7261 w 321829"/>
              <a:gd name="connsiteY7" fmla="*/ 7144 h 347662"/>
              <a:gd name="connsiteX0" fmla="*/ 8243 w 322811"/>
              <a:gd name="connsiteY0" fmla="*/ 7144 h 347662"/>
              <a:gd name="connsiteX1" fmla="*/ 20751 w 322811"/>
              <a:gd name="connsiteY1" fmla="*/ 204257 h 347662"/>
              <a:gd name="connsiteX2" fmla="*/ 91587 w 322811"/>
              <a:gd name="connsiteY2" fmla="*/ 280987 h 347662"/>
              <a:gd name="connsiteX3" fmla="*/ 255894 w 322811"/>
              <a:gd name="connsiteY3" fmla="*/ 347662 h 347662"/>
              <a:gd name="connsiteX4" fmla="*/ 315425 w 322811"/>
              <a:gd name="connsiteY4" fmla="*/ 276640 h 347662"/>
              <a:gd name="connsiteX5" fmla="*/ 105720 w 322811"/>
              <a:gd name="connsiteY5" fmla="*/ 187435 h 347662"/>
              <a:gd name="connsiteX6" fmla="*/ 108257 w 322811"/>
              <a:gd name="connsiteY6" fmla="*/ 0 h 347662"/>
              <a:gd name="connsiteX7" fmla="*/ 8243 w 322811"/>
              <a:gd name="connsiteY7" fmla="*/ 7144 h 347662"/>
              <a:gd name="connsiteX0" fmla="*/ 16298 w 331723"/>
              <a:gd name="connsiteY0" fmla="*/ 7144 h 349331"/>
              <a:gd name="connsiteX1" fmla="*/ 28806 w 331723"/>
              <a:gd name="connsiteY1" fmla="*/ 204257 h 349331"/>
              <a:gd name="connsiteX2" fmla="*/ 263949 w 331723"/>
              <a:gd name="connsiteY2" fmla="*/ 347662 h 349331"/>
              <a:gd name="connsiteX3" fmla="*/ 323480 w 331723"/>
              <a:gd name="connsiteY3" fmla="*/ 276640 h 349331"/>
              <a:gd name="connsiteX4" fmla="*/ 113775 w 331723"/>
              <a:gd name="connsiteY4" fmla="*/ 187435 h 349331"/>
              <a:gd name="connsiteX5" fmla="*/ 116312 w 331723"/>
              <a:gd name="connsiteY5" fmla="*/ 0 h 349331"/>
              <a:gd name="connsiteX6" fmla="*/ 16298 w 33172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9450 w 324875"/>
              <a:gd name="connsiteY0" fmla="*/ 7144 h 349331"/>
              <a:gd name="connsiteX1" fmla="*/ 21958 w 324875"/>
              <a:gd name="connsiteY1" fmla="*/ 204257 h 349331"/>
              <a:gd name="connsiteX2" fmla="*/ 257101 w 324875"/>
              <a:gd name="connsiteY2" fmla="*/ 347662 h 349331"/>
              <a:gd name="connsiteX3" fmla="*/ 316632 w 324875"/>
              <a:gd name="connsiteY3" fmla="*/ 276640 h 349331"/>
              <a:gd name="connsiteX4" fmla="*/ 106927 w 324875"/>
              <a:gd name="connsiteY4" fmla="*/ 187435 h 349331"/>
              <a:gd name="connsiteX5" fmla="*/ 109464 w 324875"/>
              <a:gd name="connsiteY5" fmla="*/ 0 h 349331"/>
              <a:gd name="connsiteX6" fmla="*/ 9450 w 324875"/>
              <a:gd name="connsiteY6" fmla="*/ 7144 h 349331"/>
              <a:gd name="connsiteX0" fmla="*/ 1117 w 316542"/>
              <a:gd name="connsiteY0" fmla="*/ 7144 h 349331"/>
              <a:gd name="connsiteX1" fmla="*/ 13625 w 316542"/>
              <a:gd name="connsiteY1" fmla="*/ 204257 h 349331"/>
              <a:gd name="connsiteX2" fmla="*/ 248768 w 316542"/>
              <a:gd name="connsiteY2" fmla="*/ 347662 h 349331"/>
              <a:gd name="connsiteX3" fmla="*/ 308299 w 316542"/>
              <a:gd name="connsiteY3" fmla="*/ 276640 h 349331"/>
              <a:gd name="connsiteX4" fmla="*/ 98594 w 316542"/>
              <a:gd name="connsiteY4" fmla="*/ 187435 h 349331"/>
              <a:gd name="connsiteX5" fmla="*/ 101131 w 316542"/>
              <a:gd name="connsiteY5" fmla="*/ 0 h 349331"/>
              <a:gd name="connsiteX6" fmla="*/ 1117 w 316542"/>
              <a:gd name="connsiteY6" fmla="*/ 7144 h 349331"/>
              <a:gd name="connsiteX0" fmla="*/ 520 w 315945"/>
              <a:gd name="connsiteY0" fmla="*/ 7144 h 349331"/>
              <a:gd name="connsiteX1" fmla="*/ 13028 w 315945"/>
              <a:gd name="connsiteY1" fmla="*/ 204257 h 349331"/>
              <a:gd name="connsiteX2" fmla="*/ 248171 w 315945"/>
              <a:gd name="connsiteY2" fmla="*/ 347662 h 349331"/>
              <a:gd name="connsiteX3" fmla="*/ 307702 w 315945"/>
              <a:gd name="connsiteY3" fmla="*/ 276640 h 349331"/>
              <a:gd name="connsiteX4" fmla="*/ 97997 w 315945"/>
              <a:gd name="connsiteY4" fmla="*/ 187435 h 349331"/>
              <a:gd name="connsiteX5" fmla="*/ 100534 w 315945"/>
              <a:gd name="connsiteY5" fmla="*/ 0 h 349331"/>
              <a:gd name="connsiteX6" fmla="*/ 520 w 31594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041"/>
              <a:gd name="connsiteY0" fmla="*/ 7144 h 349331"/>
              <a:gd name="connsiteX1" fmla="*/ 12508 w 315041"/>
              <a:gd name="connsiteY1" fmla="*/ 204257 h 349331"/>
              <a:gd name="connsiteX2" fmla="*/ 247651 w 315041"/>
              <a:gd name="connsiteY2" fmla="*/ 347662 h 349331"/>
              <a:gd name="connsiteX3" fmla="*/ 307182 w 315041"/>
              <a:gd name="connsiteY3" fmla="*/ 276640 h 349331"/>
              <a:gd name="connsiteX4" fmla="*/ 103146 w 315041"/>
              <a:gd name="connsiteY4" fmla="*/ 187435 h 349331"/>
              <a:gd name="connsiteX5" fmla="*/ 100014 w 315041"/>
              <a:gd name="connsiteY5" fmla="*/ 0 h 349331"/>
              <a:gd name="connsiteX6" fmla="*/ 0 w 315041"/>
              <a:gd name="connsiteY6" fmla="*/ 7144 h 349331"/>
              <a:gd name="connsiteX0" fmla="*/ 9449 w 324490"/>
              <a:gd name="connsiteY0" fmla="*/ 2420 h 349331"/>
              <a:gd name="connsiteX1" fmla="*/ 21957 w 324490"/>
              <a:gd name="connsiteY1" fmla="*/ 204257 h 349331"/>
              <a:gd name="connsiteX2" fmla="*/ 257100 w 324490"/>
              <a:gd name="connsiteY2" fmla="*/ 347662 h 349331"/>
              <a:gd name="connsiteX3" fmla="*/ 316631 w 324490"/>
              <a:gd name="connsiteY3" fmla="*/ 276640 h 349331"/>
              <a:gd name="connsiteX4" fmla="*/ 112595 w 324490"/>
              <a:gd name="connsiteY4" fmla="*/ 187435 h 349331"/>
              <a:gd name="connsiteX5" fmla="*/ 109463 w 324490"/>
              <a:gd name="connsiteY5" fmla="*/ 0 h 349331"/>
              <a:gd name="connsiteX6" fmla="*/ 9449 w 324490"/>
              <a:gd name="connsiteY6" fmla="*/ 2420 h 349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4490" h="349331">
                <a:moveTo>
                  <a:pt x="9449" y="2420"/>
                </a:moveTo>
                <a:cubicBezTo>
                  <a:pt x="10455" y="81972"/>
                  <a:pt x="-19318" y="146717"/>
                  <a:pt x="21957" y="204257"/>
                </a:cubicBezTo>
                <a:cubicBezTo>
                  <a:pt x="63232" y="261797"/>
                  <a:pt x="125787" y="291191"/>
                  <a:pt x="257100" y="347662"/>
                </a:cubicBezTo>
                <a:cubicBezTo>
                  <a:pt x="306212" y="359726"/>
                  <a:pt x="340715" y="303344"/>
                  <a:pt x="316631" y="276640"/>
                </a:cubicBezTo>
                <a:cubicBezTo>
                  <a:pt x="292547" y="249936"/>
                  <a:pt x="236420" y="282686"/>
                  <a:pt x="112595" y="187435"/>
                </a:cubicBezTo>
                <a:cubicBezTo>
                  <a:pt x="95927" y="131079"/>
                  <a:pt x="102319" y="53975"/>
                  <a:pt x="109463" y="0"/>
                </a:cubicBezTo>
                <a:lnTo>
                  <a:pt x="9449" y="2420"/>
                </a:lnTo>
                <a:close/>
              </a:path>
            </a:pathLst>
          </a:custGeom>
          <a:solidFill>
            <a:srgbClr val="EDCEB5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825DC873-636E-47AF-90FB-EFD2657D476E}"/>
              </a:ext>
            </a:extLst>
          </p:cNvPr>
          <p:cNvSpPr/>
          <p:nvPr/>
        </p:nvSpPr>
        <p:spPr bwMode="auto">
          <a:xfrm>
            <a:off x="4038203" y="5826157"/>
            <a:ext cx="479433" cy="531615"/>
          </a:xfrm>
          <a:custGeom>
            <a:avLst/>
            <a:gdLst>
              <a:gd name="connsiteX0" fmla="*/ 28575 w 338138"/>
              <a:gd name="connsiteY0" fmla="*/ 19050 h 357187"/>
              <a:gd name="connsiteX1" fmla="*/ 0 w 338138"/>
              <a:gd name="connsiteY1" fmla="*/ 207168 h 357187"/>
              <a:gd name="connsiteX2" fmla="*/ 121444 w 338138"/>
              <a:gd name="connsiteY2" fmla="*/ 300037 h 357187"/>
              <a:gd name="connsiteX3" fmla="*/ 278607 w 338138"/>
              <a:gd name="connsiteY3" fmla="*/ 357187 h 357187"/>
              <a:gd name="connsiteX4" fmla="*/ 338138 w 338138"/>
              <a:gd name="connsiteY4" fmla="*/ 278606 h 357187"/>
              <a:gd name="connsiteX5" fmla="*/ 92869 w 338138"/>
              <a:gd name="connsiteY5" fmla="*/ 173831 h 357187"/>
              <a:gd name="connsiteX6" fmla="*/ 128588 w 338138"/>
              <a:gd name="connsiteY6" fmla="*/ 0 h 357187"/>
              <a:gd name="connsiteX7" fmla="*/ 28575 w 338138"/>
              <a:gd name="connsiteY7" fmla="*/ 19050 h 357187"/>
              <a:gd name="connsiteX0" fmla="*/ 28575 w 338138"/>
              <a:gd name="connsiteY0" fmla="*/ 4762 h 342899"/>
              <a:gd name="connsiteX1" fmla="*/ 0 w 338138"/>
              <a:gd name="connsiteY1" fmla="*/ 192880 h 342899"/>
              <a:gd name="connsiteX2" fmla="*/ 121444 w 338138"/>
              <a:gd name="connsiteY2" fmla="*/ 285749 h 342899"/>
              <a:gd name="connsiteX3" fmla="*/ 278607 w 338138"/>
              <a:gd name="connsiteY3" fmla="*/ 342899 h 342899"/>
              <a:gd name="connsiteX4" fmla="*/ 338138 w 338138"/>
              <a:gd name="connsiteY4" fmla="*/ 264318 h 342899"/>
              <a:gd name="connsiteX5" fmla="*/ 92869 w 338138"/>
              <a:gd name="connsiteY5" fmla="*/ 159543 h 342899"/>
              <a:gd name="connsiteX6" fmla="*/ 126207 w 338138"/>
              <a:gd name="connsiteY6" fmla="*/ 0 h 342899"/>
              <a:gd name="connsiteX7" fmla="*/ 28575 w 338138"/>
              <a:gd name="connsiteY7" fmla="*/ 4762 h 342899"/>
              <a:gd name="connsiteX0" fmla="*/ 28575 w 338138"/>
              <a:gd name="connsiteY0" fmla="*/ 9525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28575 w 338138"/>
              <a:gd name="connsiteY7" fmla="*/ 9525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92869 w 338138"/>
              <a:gd name="connsiteY5" fmla="*/ 164306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21444 w 338138"/>
              <a:gd name="connsiteY2" fmla="*/ 290512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69081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38138"/>
              <a:gd name="connsiteY0" fmla="*/ 7144 h 347662"/>
              <a:gd name="connsiteX1" fmla="*/ 0 w 338138"/>
              <a:gd name="connsiteY1" fmla="*/ 197643 h 347662"/>
              <a:gd name="connsiteX2" fmla="*/ 114300 w 338138"/>
              <a:gd name="connsiteY2" fmla="*/ 280987 h 347662"/>
              <a:gd name="connsiteX3" fmla="*/ 278607 w 338138"/>
              <a:gd name="connsiteY3" fmla="*/ 347662 h 347662"/>
              <a:gd name="connsiteX4" fmla="*/ 338138 w 338138"/>
              <a:gd name="connsiteY4" fmla="*/ 276640 h 347662"/>
              <a:gd name="connsiteX5" fmla="*/ 109537 w 338138"/>
              <a:gd name="connsiteY5" fmla="*/ 161925 h 347662"/>
              <a:gd name="connsiteX6" fmla="*/ 130970 w 338138"/>
              <a:gd name="connsiteY6" fmla="*/ 0 h 347662"/>
              <a:gd name="connsiteX7" fmla="*/ 30956 w 338138"/>
              <a:gd name="connsiteY7" fmla="*/ 7144 h 347662"/>
              <a:gd name="connsiteX0" fmla="*/ 30956 w 354734"/>
              <a:gd name="connsiteY0" fmla="*/ 7144 h 347662"/>
              <a:gd name="connsiteX1" fmla="*/ 0 w 354734"/>
              <a:gd name="connsiteY1" fmla="*/ 197643 h 347662"/>
              <a:gd name="connsiteX2" fmla="*/ 114300 w 354734"/>
              <a:gd name="connsiteY2" fmla="*/ 280987 h 347662"/>
              <a:gd name="connsiteX3" fmla="*/ 278607 w 354734"/>
              <a:gd name="connsiteY3" fmla="*/ 347662 h 347662"/>
              <a:gd name="connsiteX4" fmla="*/ 338138 w 354734"/>
              <a:gd name="connsiteY4" fmla="*/ 276640 h 347662"/>
              <a:gd name="connsiteX5" fmla="*/ 109537 w 354734"/>
              <a:gd name="connsiteY5" fmla="*/ 161925 h 347662"/>
              <a:gd name="connsiteX6" fmla="*/ 130970 w 354734"/>
              <a:gd name="connsiteY6" fmla="*/ 0 h 347662"/>
              <a:gd name="connsiteX7" fmla="*/ 30956 w 354734"/>
              <a:gd name="connsiteY7" fmla="*/ 7144 h 347662"/>
              <a:gd name="connsiteX0" fmla="*/ 30956 w 345861"/>
              <a:gd name="connsiteY0" fmla="*/ 7144 h 347662"/>
              <a:gd name="connsiteX1" fmla="*/ 0 w 345861"/>
              <a:gd name="connsiteY1" fmla="*/ 197643 h 347662"/>
              <a:gd name="connsiteX2" fmla="*/ 114300 w 345861"/>
              <a:gd name="connsiteY2" fmla="*/ 280987 h 347662"/>
              <a:gd name="connsiteX3" fmla="*/ 278607 w 345861"/>
              <a:gd name="connsiteY3" fmla="*/ 347662 h 347662"/>
              <a:gd name="connsiteX4" fmla="*/ 338138 w 345861"/>
              <a:gd name="connsiteY4" fmla="*/ 276640 h 347662"/>
              <a:gd name="connsiteX5" fmla="*/ 109537 w 345861"/>
              <a:gd name="connsiteY5" fmla="*/ 161925 h 347662"/>
              <a:gd name="connsiteX6" fmla="*/ 130970 w 345861"/>
              <a:gd name="connsiteY6" fmla="*/ 0 h 347662"/>
              <a:gd name="connsiteX7" fmla="*/ 30956 w 345861"/>
              <a:gd name="connsiteY7" fmla="*/ 7144 h 347662"/>
              <a:gd name="connsiteX0" fmla="*/ 30956 w 342311"/>
              <a:gd name="connsiteY0" fmla="*/ 7144 h 347662"/>
              <a:gd name="connsiteX1" fmla="*/ 0 w 342311"/>
              <a:gd name="connsiteY1" fmla="*/ 197643 h 347662"/>
              <a:gd name="connsiteX2" fmla="*/ 114300 w 342311"/>
              <a:gd name="connsiteY2" fmla="*/ 280987 h 347662"/>
              <a:gd name="connsiteX3" fmla="*/ 278607 w 342311"/>
              <a:gd name="connsiteY3" fmla="*/ 347662 h 347662"/>
              <a:gd name="connsiteX4" fmla="*/ 338138 w 342311"/>
              <a:gd name="connsiteY4" fmla="*/ 276640 h 347662"/>
              <a:gd name="connsiteX5" fmla="*/ 109537 w 342311"/>
              <a:gd name="connsiteY5" fmla="*/ 161925 h 347662"/>
              <a:gd name="connsiteX6" fmla="*/ 130970 w 342311"/>
              <a:gd name="connsiteY6" fmla="*/ 0 h 347662"/>
              <a:gd name="connsiteX7" fmla="*/ 30956 w 342311"/>
              <a:gd name="connsiteY7" fmla="*/ 7144 h 347662"/>
              <a:gd name="connsiteX0" fmla="*/ 30956 w 346077"/>
              <a:gd name="connsiteY0" fmla="*/ 7144 h 347662"/>
              <a:gd name="connsiteX1" fmla="*/ 0 w 346077"/>
              <a:gd name="connsiteY1" fmla="*/ 197643 h 347662"/>
              <a:gd name="connsiteX2" fmla="*/ 114300 w 346077"/>
              <a:gd name="connsiteY2" fmla="*/ 280987 h 347662"/>
              <a:gd name="connsiteX3" fmla="*/ 278607 w 346077"/>
              <a:gd name="connsiteY3" fmla="*/ 347662 h 347662"/>
              <a:gd name="connsiteX4" fmla="*/ 338138 w 346077"/>
              <a:gd name="connsiteY4" fmla="*/ 276640 h 347662"/>
              <a:gd name="connsiteX5" fmla="*/ 119930 w 346077"/>
              <a:gd name="connsiteY5" fmla="*/ 167594 h 347662"/>
              <a:gd name="connsiteX6" fmla="*/ 130970 w 346077"/>
              <a:gd name="connsiteY6" fmla="*/ 0 h 347662"/>
              <a:gd name="connsiteX7" fmla="*/ 30956 w 346077"/>
              <a:gd name="connsiteY7" fmla="*/ 7144 h 347662"/>
              <a:gd name="connsiteX0" fmla="*/ 30956 w 345219"/>
              <a:gd name="connsiteY0" fmla="*/ 7144 h 347662"/>
              <a:gd name="connsiteX1" fmla="*/ 0 w 345219"/>
              <a:gd name="connsiteY1" fmla="*/ 197643 h 347662"/>
              <a:gd name="connsiteX2" fmla="*/ 114300 w 345219"/>
              <a:gd name="connsiteY2" fmla="*/ 280987 h 347662"/>
              <a:gd name="connsiteX3" fmla="*/ 278607 w 345219"/>
              <a:gd name="connsiteY3" fmla="*/ 347662 h 347662"/>
              <a:gd name="connsiteX4" fmla="*/ 338138 w 345219"/>
              <a:gd name="connsiteY4" fmla="*/ 276640 h 347662"/>
              <a:gd name="connsiteX5" fmla="*/ 133157 w 345219"/>
              <a:gd name="connsiteY5" fmla="*/ 192160 h 347662"/>
              <a:gd name="connsiteX6" fmla="*/ 130970 w 345219"/>
              <a:gd name="connsiteY6" fmla="*/ 0 h 347662"/>
              <a:gd name="connsiteX7" fmla="*/ 30956 w 345219"/>
              <a:gd name="connsiteY7" fmla="*/ 7144 h 347662"/>
              <a:gd name="connsiteX0" fmla="*/ 30956 w 345401"/>
              <a:gd name="connsiteY0" fmla="*/ 7144 h 347662"/>
              <a:gd name="connsiteX1" fmla="*/ 0 w 345401"/>
              <a:gd name="connsiteY1" fmla="*/ 197643 h 347662"/>
              <a:gd name="connsiteX2" fmla="*/ 114300 w 345401"/>
              <a:gd name="connsiteY2" fmla="*/ 280987 h 347662"/>
              <a:gd name="connsiteX3" fmla="*/ 278607 w 345401"/>
              <a:gd name="connsiteY3" fmla="*/ 347662 h 347662"/>
              <a:gd name="connsiteX4" fmla="*/ 338138 w 345401"/>
              <a:gd name="connsiteY4" fmla="*/ 276640 h 347662"/>
              <a:gd name="connsiteX5" fmla="*/ 130323 w 345401"/>
              <a:gd name="connsiteY5" fmla="*/ 191215 h 347662"/>
              <a:gd name="connsiteX6" fmla="*/ 130970 w 345401"/>
              <a:gd name="connsiteY6" fmla="*/ 0 h 347662"/>
              <a:gd name="connsiteX7" fmla="*/ 30956 w 345401"/>
              <a:gd name="connsiteY7" fmla="*/ 7144 h 347662"/>
              <a:gd name="connsiteX0" fmla="*/ 30956 w 345524"/>
              <a:gd name="connsiteY0" fmla="*/ 7144 h 347662"/>
              <a:gd name="connsiteX1" fmla="*/ 0 w 345524"/>
              <a:gd name="connsiteY1" fmla="*/ 197643 h 347662"/>
              <a:gd name="connsiteX2" fmla="*/ 114300 w 345524"/>
              <a:gd name="connsiteY2" fmla="*/ 280987 h 347662"/>
              <a:gd name="connsiteX3" fmla="*/ 278607 w 345524"/>
              <a:gd name="connsiteY3" fmla="*/ 347662 h 347662"/>
              <a:gd name="connsiteX4" fmla="*/ 338138 w 345524"/>
              <a:gd name="connsiteY4" fmla="*/ 276640 h 347662"/>
              <a:gd name="connsiteX5" fmla="*/ 128433 w 345524"/>
              <a:gd name="connsiteY5" fmla="*/ 187435 h 347662"/>
              <a:gd name="connsiteX6" fmla="*/ 130970 w 345524"/>
              <a:gd name="connsiteY6" fmla="*/ 0 h 347662"/>
              <a:gd name="connsiteX7" fmla="*/ 30956 w 345524"/>
              <a:gd name="connsiteY7" fmla="*/ 7144 h 347662"/>
              <a:gd name="connsiteX0" fmla="*/ 13004 w 327572"/>
              <a:gd name="connsiteY0" fmla="*/ 7144 h 347662"/>
              <a:gd name="connsiteX1" fmla="*/ 0 w 327572"/>
              <a:gd name="connsiteY1" fmla="*/ 199533 h 347662"/>
              <a:gd name="connsiteX2" fmla="*/ 96348 w 327572"/>
              <a:gd name="connsiteY2" fmla="*/ 280987 h 347662"/>
              <a:gd name="connsiteX3" fmla="*/ 260655 w 327572"/>
              <a:gd name="connsiteY3" fmla="*/ 347662 h 347662"/>
              <a:gd name="connsiteX4" fmla="*/ 320186 w 327572"/>
              <a:gd name="connsiteY4" fmla="*/ 276640 h 347662"/>
              <a:gd name="connsiteX5" fmla="*/ 110481 w 327572"/>
              <a:gd name="connsiteY5" fmla="*/ 187435 h 347662"/>
              <a:gd name="connsiteX6" fmla="*/ 113018 w 327572"/>
              <a:gd name="connsiteY6" fmla="*/ 0 h 347662"/>
              <a:gd name="connsiteX7" fmla="*/ 13004 w 327572"/>
              <a:gd name="connsiteY7" fmla="*/ 7144 h 347662"/>
              <a:gd name="connsiteX0" fmla="*/ 20002 w 334570"/>
              <a:gd name="connsiteY0" fmla="*/ 7144 h 347662"/>
              <a:gd name="connsiteX1" fmla="*/ 6998 w 334570"/>
              <a:gd name="connsiteY1" fmla="*/ 199533 h 347662"/>
              <a:gd name="connsiteX2" fmla="*/ 103346 w 334570"/>
              <a:gd name="connsiteY2" fmla="*/ 280987 h 347662"/>
              <a:gd name="connsiteX3" fmla="*/ 267653 w 334570"/>
              <a:gd name="connsiteY3" fmla="*/ 347662 h 347662"/>
              <a:gd name="connsiteX4" fmla="*/ 327184 w 334570"/>
              <a:gd name="connsiteY4" fmla="*/ 276640 h 347662"/>
              <a:gd name="connsiteX5" fmla="*/ 117479 w 334570"/>
              <a:gd name="connsiteY5" fmla="*/ 187435 h 347662"/>
              <a:gd name="connsiteX6" fmla="*/ 120016 w 334570"/>
              <a:gd name="connsiteY6" fmla="*/ 0 h 347662"/>
              <a:gd name="connsiteX7" fmla="*/ 20002 w 334570"/>
              <a:gd name="connsiteY7" fmla="*/ 7144 h 347662"/>
              <a:gd name="connsiteX0" fmla="*/ 11083 w 325651"/>
              <a:gd name="connsiteY0" fmla="*/ 7144 h 347662"/>
              <a:gd name="connsiteX1" fmla="*/ 14142 w 325651"/>
              <a:gd name="connsiteY1" fmla="*/ 200478 h 347662"/>
              <a:gd name="connsiteX2" fmla="*/ 94427 w 325651"/>
              <a:gd name="connsiteY2" fmla="*/ 280987 h 347662"/>
              <a:gd name="connsiteX3" fmla="*/ 258734 w 325651"/>
              <a:gd name="connsiteY3" fmla="*/ 347662 h 347662"/>
              <a:gd name="connsiteX4" fmla="*/ 318265 w 325651"/>
              <a:gd name="connsiteY4" fmla="*/ 276640 h 347662"/>
              <a:gd name="connsiteX5" fmla="*/ 108560 w 325651"/>
              <a:gd name="connsiteY5" fmla="*/ 187435 h 347662"/>
              <a:gd name="connsiteX6" fmla="*/ 111097 w 325651"/>
              <a:gd name="connsiteY6" fmla="*/ 0 h 347662"/>
              <a:gd name="connsiteX7" fmla="*/ 11083 w 325651"/>
              <a:gd name="connsiteY7" fmla="*/ 7144 h 347662"/>
              <a:gd name="connsiteX0" fmla="*/ 8706 w 323274"/>
              <a:gd name="connsiteY0" fmla="*/ 7144 h 347662"/>
              <a:gd name="connsiteX1" fmla="*/ 19324 w 323274"/>
              <a:gd name="connsiteY1" fmla="*/ 204257 h 347662"/>
              <a:gd name="connsiteX2" fmla="*/ 92050 w 323274"/>
              <a:gd name="connsiteY2" fmla="*/ 280987 h 347662"/>
              <a:gd name="connsiteX3" fmla="*/ 256357 w 323274"/>
              <a:gd name="connsiteY3" fmla="*/ 347662 h 347662"/>
              <a:gd name="connsiteX4" fmla="*/ 315888 w 323274"/>
              <a:gd name="connsiteY4" fmla="*/ 276640 h 347662"/>
              <a:gd name="connsiteX5" fmla="*/ 106183 w 323274"/>
              <a:gd name="connsiteY5" fmla="*/ 187435 h 347662"/>
              <a:gd name="connsiteX6" fmla="*/ 108720 w 323274"/>
              <a:gd name="connsiteY6" fmla="*/ 0 h 347662"/>
              <a:gd name="connsiteX7" fmla="*/ 8706 w 323274"/>
              <a:gd name="connsiteY7" fmla="*/ 7144 h 347662"/>
              <a:gd name="connsiteX0" fmla="*/ 7261 w 321829"/>
              <a:gd name="connsiteY0" fmla="*/ 7144 h 347662"/>
              <a:gd name="connsiteX1" fmla="*/ 24493 w 321829"/>
              <a:gd name="connsiteY1" fmla="*/ 204257 h 347662"/>
              <a:gd name="connsiteX2" fmla="*/ 90605 w 321829"/>
              <a:gd name="connsiteY2" fmla="*/ 280987 h 347662"/>
              <a:gd name="connsiteX3" fmla="*/ 254912 w 321829"/>
              <a:gd name="connsiteY3" fmla="*/ 347662 h 347662"/>
              <a:gd name="connsiteX4" fmla="*/ 314443 w 321829"/>
              <a:gd name="connsiteY4" fmla="*/ 276640 h 347662"/>
              <a:gd name="connsiteX5" fmla="*/ 104738 w 321829"/>
              <a:gd name="connsiteY5" fmla="*/ 187435 h 347662"/>
              <a:gd name="connsiteX6" fmla="*/ 107275 w 321829"/>
              <a:gd name="connsiteY6" fmla="*/ 0 h 347662"/>
              <a:gd name="connsiteX7" fmla="*/ 7261 w 321829"/>
              <a:gd name="connsiteY7" fmla="*/ 7144 h 347662"/>
              <a:gd name="connsiteX0" fmla="*/ 8243 w 322811"/>
              <a:gd name="connsiteY0" fmla="*/ 7144 h 347662"/>
              <a:gd name="connsiteX1" fmla="*/ 20751 w 322811"/>
              <a:gd name="connsiteY1" fmla="*/ 204257 h 347662"/>
              <a:gd name="connsiteX2" fmla="*/ 91587 w 322811"/>
              <a:gd name="connsiteY2" fmla="*/ 280987 h 347662"/>
              <a:gd name="connsiteX3" fmla="*/ 255894 w 322811"/>
              <a:gd name="connsiteY3" fmla="*/ 347662 h 347662"/>
              <a:gd name="connsiteX4" fmla="*/ 315425 w 322811"/>
              <a:gd name="connsiteY4" fmla="*/ 276640 h 347662"/>
              <a:gd name="connsiteX5" fmla="*/ 105720 w 322811"/>
              <a:gd name="connsiteY5" fmla="*/ 187435 h 347662"/>
              <a:gd name="connsiteX6" fmla="*/ 108257 w 322811"/>
              <a:gd name="connsiteY6" fmla="*/ 0 h 347662"/>
              <a:gd name="connsiteX7" fmla="*/ 8243 w 322811"/>
              <a:gd name="connsiteY7" fmla="*/ 7144 h 347662"/>
              <a:gd name="connsiteX0" fmla="*/ 16298 w 331723"/>
              <a:gd name="connsiteY0" fmla="*/ 7144 h 349331"/>
              <a:gd name="connsiteX1" fmla="*/ 28806 w 331723"/>
              <a:gd name="connsiteY1" fmla="*/ 204257 h 349331"/>
              <a:gd name="connsiteX2" fmla="*/ 263949 w 331723"/>
              <a:gd name="connsiteY2" fmla="*/ 347662 h 349331"/>
              <a:gd name="connsiteX3" fmla="*/ 323480 w 331723"/>
              <a:gd name="connsiteY3" fmla="*/ 276640 h 349331"/>
              <a:gd name="connsiteX4" fmla="*/ 113775 w 331723"/>
              <a:gd name="connsiteY4" fmla="*/ 187435 h 349331"/>
              <a:gd name="connsiteX5" fmla="*/ 116312 w 331723"/>
              <a:gd name="connsiteY5" fmla="*/ 0 h 349331"/>
              <a:gd name="connsiteX6" fmla="*/ 16298 w 33172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12178 w 327603"/>
              <a:gd name="connsiteY0" fmla="*/ 7144 h 349331"/>
              <a:gd name="connsiteX1" fmla="*/ 24686 w 327603"/>
              <a:gd name="connsiteY1" fmla="*/ 204257 h 349331"/>
              <a:gd name="connsiteX2" fmla="*/ 259829 w 327603"/>
              <a:gd name="connsiteY2" fmla="*/ 347662 h 349331"/>
              <a:gd name="connsiteX3" fmla="*/ 319360 w 327603"/>
              <a:gd name="connsiteY3" fmla="*/ 276640 h 349331"/>
              <a:gd name="connsiteX4" fmla="*/ 109655 w 327603"/>
              <a:gd name="connsiteY4" fmla="*/ 187435 h 349331"/>
              <a:gd name="connsiteX5" fmla="*/ 112192 w 327603"/>
              <a:gd name="connsiteY5" fmla="*/ 0 h 349331"/>
              <a:gd name="connsiteX6" fmla="*/ 12178 w 327603"/>
              <a:gd name="connsiteY6" fmla="*/ 7144 h 349331"/>
              <a:gd name="connsiteX0" fmla="*/ 9450 w 324875"/>
              <a:gd name="connsiteY0" fmla="*/ 7144 h 349331"/>
              <a:gd name="connsiteX1" fmla="*/ 21958 w 324875"/>
              <a:gd name="connsiteY1" fmla="*/ 204257 h 349331"/>
              <a:gd name="connsiteX2" fmla="*/ 257101 w 324875"/>
              <a:gd name="connsiteY2" fmla="*/ 347662 h 349331"/>
              <a:gd name="connsiteX3" fmla="*/ 316632 w 324875"/>
              <a:gd name="connsiteY3" fmla="*/ 276640 h 349331"/>
              <a:gd name="connsiteX4" fmla="*/ 106927 w 324875"/>
              <a:gd name="connsiteY4" fmla="*/ 187435 h 349331"/>
              <a:gd name="connsiteX5" fmla="*/ 109464 w 324875"/>
              <a:gd name="connsiteY5" fmla="*/ 0 h 349331"/>
              <a:gd name="connsiteX6" fmla="*/ 9450 w 324875"/>
              <a:gd name="connsiteY6" fmla="*/ 7144 h 349331"/>
              <a:gd name="connsiteX0" fmla="*/ 1117 w 316542"/>
              <a:gd name="connsiteY0" fmla="*/ 7144 h 349331"/>
              <a:gd name="connsiteX1" fmla="*/ 13625 w 316542"/>
              <a:gd name="connsiteY1" fmla="*/ 204257 h 349331"/>
              <a:gd name="connsiteX2" fmla="*/ 248768 w 316542"/>
              <a:gd name="connsiteY2" fmla="*/ 347662 h 349331"/>
              <a:gd name="connsiteX3" fmla="*/ 308299 w 316542"/>
              <a:gd name="connsiteY3" fmla="*/ 276640 h 349331"/>
              <a:gd name="connsiteX4" fmla="*/ 98594 w 316542"/>
              <a:gd name="connsiteY4" fmla="*/ 187435 h 349331"/>
              <a:gd name="connsiteX5" fmla="*/ 101131 w 316542"/>
              <a:gd name="connsiteY5" fmla="*/ 0 h 349331"/>
              <a:gd name="connsiteX6" fmla="*/ 1117 w 316542"/>
              <a:gd name="connsiteY6" fmla="*/ 7144 h 349331"/>
              <a:gd name="connsiteX0" fmla="*/ 520 w 315945"/>
              <a:gd name="connsiteY0" fmla="*/ 7144 h 349331"/>
              <a:gd name="connsiteX1" fmla="*/ 13028 w 315945"/>
              <a:gd name="connsiteY1" fmla="*/ 204257 h 349331"/>
              <a:gd name="connsiteX2" fmla="*/ 248171 w 315945"/>
              <a:gd name="connsiteY2" fmla="*/ 347662 h 349331"/>
              <a:gd name="connsiteX3" fmla="*/ 307702 w 315945"/>
              <a:gd name="connsiteY3" fmla="*/ 276640 h 349331"/>
              <a:gd name="connsiteX4" fmla="*/ 97997 w 315945"/>
              <a:gd name="connsiteY4" fmla="*/ 187435 h 349331"/>
              <a:gd name="connsiteX5" fmla="*/ 100534 w 315945"/>
              <a:gd name="connsiteY5" fmla="*/ 0 h 349331"/>
              <a:gd name="connsiteX6" fmla="*/ 520 w 31594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425"/>
              <a:gd name="connsiteY0" fmla="*/ 7144 h 349331"/>
              <a:gd name="connsiteX1" fmla="*/ 12508 w 315425"/>
              <a:gd name="connsiteY1" fmla="*/ 204257 h 349331"/>
              <a:gd name="connsiteX2" fmla="*/ 247651 w 315425"/>
              <a:gd name="connsiteY2" fmla="*/ 347662 h 349331"/>
              <a:gd name="connsiteX3" fmla="*/ 307182 w 315425"/>
              <a:gd name="connsiteY3" fmla="*/ 276640 h 349331"/>
              <a:gd name="connsiteX4" fmla="*/ 97477 w 315425"/>
              <a:gd name="connsiteY4" fmla="*/ 187435 h 349331"/>
              <a:gd name="connsiteX5" fmla="*/ 100014 w 315425"/>
              <a:gd name="connsiteY5" fmla="*/ 0 h 349331"/>
              <a:gd name="connsiteX6" fmla="*/ 0 w 315425"/>
              <a:gd name="connsiteY6" fmla="*/ 7144 h 349331"/>
              <a:gd name="connsiteX0" fmla="*/ 0 w 315041"/>
              <a:gd name="connsiteY0" fmla="*/ 7144 h 349331"/>
              <a:gd name="connsiteX1" fmla="*/ 12508 w 315041"/>
              <a:gd name="connsiteY1" fmla="*/ 204257 h 349331"/>
              <a:gd name="connsiteX2" fmla="*/ 247651 w 315041"/>
              <a:gd name="connsiteY2" fmla="*/ 347662 h 349331"/>
              <a:gd name="connsiteX3" fmla="*/ 307182 w 315041"/>
              <a:gd name="connsiteY3" fmla="*/ 276640 h 349331"/>
              <a:gd name="connsiteX4" fmla="*/ 103146 w 315041"/>
              <a:gd name="connsiteY4" fmla="*/ 187435 h 349331"/>
              <a:gd name="connsiteX5" fmla="*/ 100014 w 315041"/>
              <a:gd name="connsiteY5" fmla="*/ 0 h 349331"/>
              <a:gd name="connsiteX6" fmla="*/ 0 w 315041"/>
              <a:gd name="connsiteY6" fmla="*/ 7144 h 349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5041" h="349331">
                <a:moveTo>
                  <a:pt x="0" y="7144"/>
                </a:moveTo>
                <a:cubicBezTo>
                  <a:pt x="1006" y="86696"/>
                  <a:pt x="2413" y="178683"/>
                  <a:pt x="12508" y="204257"/>
                </a:cubicBezTo>
                <a:cubicBezTo>
                  <a:pt x="22603" y="229831"/>
                  <a:pt x="116338" y="291191"/>
                  <a:pt x="247651" y="347662"/>
                </a:cubicBezTo>
                <a:cubicBezTo>
                  <a:pt x="296763" y="359726"/>
                  <a:pt x="331266" y="303344"/>
                  <a:pt x="307182" y="276640"/>
                </a:cubicBezTo>
                <a:cubicBezTo>
                  <a:pt x="283098" y="249936"/>
                  <a:pt x="226971" y="282686"/>
                  <a:pt x="103146" y="187435"/>
                </a:cubicBezTo>
                <a:cubicBezTo>
                  <a:pt x="86478" y="131079"/>
                  <a:pt x="92870" y="53975"/>
                  <a:pt x="100014" y="0"/>
                </a:cubicBezTo>
                <a:lnTo>
                  <a:pt x="0" y="7144"/>
                </a:lnTo>
                <a:close/>
              </a:path>
            </a:pathLst>
          </a:custGeom>
          <a:solidFill>
            <a:srgbClr val="EDCEB5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da-DK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C1CA19-5485-4DB2-B09E-88D3DC083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Assembly line</a:t>
            </a:r>
            <a:endParaRPr lang="da-DK" dirty="0"/>
          </a:p>
        </p:txBody>
      </p:sp>
      <p:sp>
        <p:nvSpPr>
          <p:cNvPr id="114" name="Text Placeholder 32">
            <a:extLst>
              <a:ext uri="{FF2B5EF4-FFF2-40B4-BE49-F238E27FC236}">
                <a16:creationId xmlns:a16="http://schemas.microsoft.com/office/drawing/2014/main" id="{30D6FBC3-3BFB-4C72-9212-31894974C023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6032126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577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7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4" name="Object 2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 27"/>
          <p:cNvSpPr/>
          <p:nvPr/>
        </p:nvSpPr>
        <p:spPr bwMode="auto">
          <a:xfrm>
            <a:off x="5757188" y="2932274"/>
            <a:ext cx="1384117" cy="873772"/>
          </a:xfrm>
          <a:custGeom>
            <a:avLst/>
            <a:gdLst>
              <a:gd name="connsiteX0" fmla="*/ 1363980 w 1363980"/>
              <a:gd name="connsiteY0" fmla="*/ 129540 h 861060"/>
              <a:gd name="connsiteX1" fmla="*/ 1036320 w 1363980"/>
              <a:gd name="connsiteY1" fmla="*/ 0 h 861060"/>
              <a:gd name="connsiteX2" fmla="*/ 0 w 1363980"/>
              <a:gd name="connsiteY2" fmla="*/ 678180 h 861060"/>
              <a:gd name="connsiteX3" fmla="*/ 342900 w 1363980"/>
              <a:gd name="connsiteY3" fmla="*/ 861060 h 861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3980" h="861060">
                <a:moveTo>
                  <a:pt x="1363980" y="129540"/>
                </a:moveTo>
                <a:lnTo>
                  <a:pt x="1036320" y="0"/>
                </a:lnTo>
                <a:lnTo>
                  <a:pt x="0" y="678180"/>
                </a:lnTo>
                <a:lnTo>
                  <a:pt x="342900" y="86106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6" name="Freeform 25"/>
          <p:cNvSpPr/>
          <p:nvPr/>
        </p:nvSpPr>
        <p:spPr bwMode="auto">
          <a:xfrm>
            <a:off x="4620511" y="4022556"/>
            <a:ext cx="881504" cy="510345"/>
          </a:xfrm>
          <a:custGeom>
            <a:avLst/>
            <a:gdLst>
              <a:gd name="connsiteX0" fmla="*/ 350520 w 868680"/>
              <a:gd name="connsiteY0" fmla="*/ 502920 h 502920"/>
              <a:gd name="connsiteX1" fmla="*/ 0 w 868680"/>
              <a:gd name="connsiteY1" fmla="*/ 327660 h 502920"/>
              <a:gd name="connsiteX2" fmla="*/ 502920 w 868680"/>
              <a:gd name="connsiteY2" fmla="*/ 0 h 502920"/>
              <a:gd name="connsiteX3" fmla="*/ 868680 w 868680"/>
              <a:gd name="connsiteY3" fmla="*/ 198120 h 502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8680" h="502920">
                <a:moveTo>
                  <a:pt x="350520" y="502920"/>
                </a:moveTo>
                <a:lnTo>
                  <a:pt x="0" y="327660"/>
                </a:lnTo>
                <a:lnTo>
                  <a:pt x="502920" y="0"/>
                </a:lnTo>
                <a:lnTo>
                  <a:pt x="868680" y="19812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5" name="Freeform 24"/>
          <p:cNvSpPr/>
          <p:nvPr/>
        </p:nvSpPr>
        <p:spPr bwMode="auto">
          <a:xfrm>
            <a:off x="3074012" y="4788073"/>
            <a:ext cx="1306792" cy="804180"/>
          </a:xfrm>
          <a:custGeom>
            <a:avLst/>
            <a:gdLst>
              <a:gd name="connsiteX0" fmla="*/ 342900 w 1287780"/>
              <a:gd name="connsiteY0" fmla="*/ 792480 h 792480"/>
              <a:gd name="connsiteX1" fmla="*/ 0 w 1287780"/>
              <a:gd name="connsiteY1" fmla="*/ 632460 h 792480"/>
              <a:gd name="connsiteX2" fmla="*/ 899160 w 1287780"/>
              <a:gd name="connsiteY2" fmla="*/ 0 h 792480"/>
              <a:gd name="connsiteX3" fmla="*/ 1287780 w 1287780"/>
              <a:gd name="connsiteY3" fmla="*/ 198120 h 792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7780" h="792480">
                <a:moveTo>
                  <a:pt x="342900" y="792480"/>
                </a:moveTo>
                <a:lnTo>
                  <a:pt x="0" y="632460"/>
                </a:lnTo>
                <a:lnTo>
                  <a:pt x="899160" y="0"/>
                </a:lnTo>
                <a:lnTo>
                  <a:pt x="1287780" y="19812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1995329" y="2903274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3392011" y="5506986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3855961" y="5177179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4295746" y="4916207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4962674" y="4428094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5421790" y="4152624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6050055" y="3722504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6538169" y="3345545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7064944" y="3009729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Freeform 20"/>
          <p:cNvSpPr/>
          <p:nvPr/>
        </p:nvSpPr>
        <p:spPr bwMode="auto">
          <a:xfrm>
            <a:off x="2486341" y="3171982"/>
            <a:ext cx="2382671" cy="1037995"/>
          </a:xfrm>
          <a:custGeom>
            <a:avLst/>
            <a:gdLst>
              <a:gd name="connsiteX0" fmla="*/ 0 w 1539240"/>
              <a:gd name="connsiteY0" fmla="*/ 0 h 670560"/>
              <a:gd name="connsiteX1" fmla="*/ 1539240 w 1539240"/>
              <a:gd name="connsiteY1" fmla="*/ 670560 h 67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39240" h="670560">
                <a:moveTo>
                  <a:pt x="0" y="0"/>
                </a:moveTo>
                <a:lnTo>
                  <a:pt x="1539240" y="67056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3" name="Freeform 22"/>
          <p:cNvSpPr/>
          <p:nvPr/>
        </p:nvSpPr>
        <p:spPr bwMode="auto">
          <a:xfrm>
            <a:off x="2308495" y="2777624"/>
            <a:ext cx="4283802" cy="2474398"/>
          </a:xfrm>
          <a:custGeom>
            <a:avLst/>
            <a:gdLst>
              <a:gd name="connsiteX0" fmla="*/ 1562100 w 4221480"/>
              <a:gd name="connsiteY0" fmla="*/ 2438400 h 2438400"/>
              <a:gd name="connsiteX1" fmla="*/ 0 w 4221480"/>
              <a:gd name="connsiteY1" fmla="*/ 1805940 h 2438400"/>
              <a:gd name="connsiteX2" fmla="*/ 2705100 w 4221480"/>
              <a:gd name="connsiteY2" fmla="*/ 0 h 2438400"/>
              <a:gd name="connsiteX3" fmla="*/ 4221480 w 4221480"/>
              <a:gd name="connsiteY3" fmla="*/ 64008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1480" h="2438400">
                <a:moveTo>
                  <a:pt x="1562100" y="2438400"/>
                </a:moveTo>
                <a:lnTo>
                  <a:pt x="0" y="1805940"/>
                </a:lnTo>
                <a:lnTo>
                  <a:pt x="2705100" y="0"/>
                </a:lnTo>
                <a:lnTo>
                  <a:pt x="4221480" y="64008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3986447" y="3762343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2812074" y="3251239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2609096" y="4680576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5344466" y="2858608"/>
            <a:ext cx="526776" cy="3310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23055" y="2201617"/>
            <a:ext cx="74103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9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EO</a:t>
            </a: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423055" y="2342235"/>
            <a:ext cx="741031" cy="2810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dolor sit amet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485446" y="2063117"/>
            <a:ext cx="741031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9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ead of Delivery</a:t>
            </a:r>
          </a:p>
        </p:txBody>
      </p:sp>
      <p:sp>
        <p:nvSpPr>
          <p:cNvPr id="35" name="TextBox 34"/>
          <p:cNvSpPr txBox="1">
            <a:spLocks/>
          </p:cNvSpPr>
          <p:nvPr/>
        </p:nvSpPr>
        <p:spPr>
          <a:xfrm>
            <a:off x="3485446" y="2342235"/>
            <a:ext cx="741031" cy="2810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dolor sit ame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979172" y="1793363"/>
            <a:ext cx="741031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9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ead of Operations</a:t>
            </a: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5979172" y="2072481"/>
            <a:ext cx="741031" cy="2810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dolor sit amet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112536" y="3452768"/>
            <a:ext cx="74103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9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XO</a:t>
            </a: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1112536" y="3593386"/>
            <a:ext cx="741031" cy="2810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dolor sit ame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23039" y="4260914"/>
            <a:ext cx="741031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900" b="1" dirty="0">
                <a:solidFill>
                  <a:schemeClr val="tx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ead of Creation</a:t>
            </a: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623039" y="4540032"/>
            <a:ext cx="741031" cy="2810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dolor sit ame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83B017A-EDD4-4D14-BD6E-E240EF14A277}"/>
              </a:ext>
            </a:extLst>
          </p:cNvPr>
          <p:cNvGrpSpPr/>
          <p:nvPr/>
        </p:nvGrpSpPr>
        <p:grpSpPr>
          <a:xfrm>
            <a:off x="7997678" y="3068370"/>
            <a:ext cx="1549721" cy="279117"/>
            <a:chOff x="7997678" y="3068370"/>
            <a:chExt cx="1549721" cy="279117"/>
          </a:xfrm>
        </p:grpSpPr>
        <p:sp>
          <p:nvSpPr>
            <p:cNvPr id="44" name="TextBox 43"/>
            <p:cNvSpPr txBox="1"/>
            <p:nvPr/>
          </p:nvSpPr>
          <p:spPr>
            <a:xfrm>
              <a:off x="7997678" y="3068370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9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ales Manager</a:t>
              </a:r>
            </a:p>
          </p:txBody>
        </p:sp>
        <p:sp>
          <p:nvSpPr>
            <p:cNvPr id="45" name="TextBox 44"/>
            <p:cNvSpPr txBox="1">
              <a:spLocks/>
            </p:cNvSpPr>
            <p:nvPr/>
          </p:nvSpPr>
          <p:spPr>
            <a:xfrm>
              <a:off x="7997678" y="3208988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9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amet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E63D3D3-B0F3-4D38-AB9B-540BC08F4814}"/>
              </a:ext>
            </a:extLst>
          </p:cNvPr>
          <p:cNvGrpSpPr/>
          <p:nvPr/>
        </p:nvGrpSpPr>
        <p:grpSpPr>
          <a:xfrm>
            <a:off x="7809198" y="3443948"/>
            <a:ext cx="1549721" cy="279117"/>
            <a:chOff x="7809198" y="3481181"/>
            <a:chExt cx="1549721" cy="279117"/>
          </a:xfrm>
        </p:grpSpPr>
        <p:sp>
          <p:nvSpPr>
            <p:cNvPr id="46" name="TextBox 45"/>
            <p:cNvSpPr txBox="1"/>
            <p:nvPr/>
          </p:nvSpPr>
          <p:spPr>
            <a:xfrm>
              <a:off x="7809198" y="3481181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9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dmin Manager</a:t>
              </a:r>
            </a:p>
          </p:txBody>
        </p:sp>
        <p:sp>
          <p:nvSpPr>
            <p:cNvPr id="47" name="TextBox 46"/>
            <p:cNvSpPr txBox="1">
              <a:spLocks/>
            </p:cNvSpPr>
            <p:nvPr/>
          </p:nvSpPr>
          <p:spPr>
            <a:xfrm>
              <a:off x="7809198" y="3621799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9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amet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39CC901-A6E1-49E9-883E-B0F3690AD0BE}"/>
              </a:ext>
            </a:extLst>
          </p:cNvPr>
          <p:cNvGrpSpPr/>
          <p:nvPr/>
        </p:nvGrpSpPr>
        <p:grpSpPr>
          <a:xfrm>
            <a:off x="7299335" y="3819526"/>
            <a:ext cx="1549721" cy="279116"/>
            <a:chOff x="7299335" y="3882502"/>
            <a:chExt cx="1549721" cy="279116"/>
          </a:xfrm>
        </p:grpSpPr>
        <p:sp>
          <p:nvSpPr>
            <p:cNvPr id="48" name="TextBox 47"/>
            <p:cNvSpPr txBox="1"/>
            <p:nvPr/>
          </p:nvSpPr>
          <p:spPr>
            <a:xfrm>
              <a:off x="7299335" y="3882502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9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ccounts Manager</a:t>
              </a:r>
            </a:p>
          </p:txBody>
        </p:sp>
        <p:sp>
          <p:nvSpPr>
            <p:cNvPr id="49" name="TextBox 48"/>
            <p:cNvSpPr txBox="1">
              <a:spLocks/>
            </p:cNvSpPr>
            <p:nvPr/>
          </p:nvSpPr>
          <p:spPr>
            <a:xfrm>
              <a:off x="7299335" y="4023119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9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amet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23CF131-DBCC-43D7-B4BE-F5401CD1CC75}"/>
              </a:ext>
            </a:extLst>
          </p:cNvPr>
          <p:cNvGrpSpPr/>
          <p:nvPr/>
        </p:nvGrpSpPr>
        <p:grpSpPr>
          <a:xfrm>
            <a:off x="6636436" y="4195103"/>
            <a:ext cx="1549721" cy="279117"/>
            <a:chOff x="6636436" y="4258870"/>
            <a:chExt cx="1549721" cy="279117"/>
          </a:xfrm>
        </p:grpSpPr>
        <p:sp>
          <p:nvSpPr>
            <p:cNvPr id="50" name="TextBox 49"/>
            <p:cNvSpPr txBox="1"/>
            <p:nvPr/>
          </p:nvSpPr>
          <p:spPr>
            <a:xfrm>
              <a:off x="6636436" y="4258870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9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Project Delivery Lead</a:t>
              </a:r>
            </a:p>
          </p:txBody>
        </p:sp>
        <p:sp>
          <p:nvSpPr>
            <p:cNvPr id="51" name="TextBox 50"/>
            <p:cNvSpPr txBox="1">
              <a:spLocks/>
            </p:cNvSpPr>
            <p:nvPr/>
          </p:nvSpPr>
          <p:spPr>
            <a:xfrm>
              <a:off x="6636436" y="4399488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9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ame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A3FC675-1E68-47B8-8E1B-98C483E19363}"/>
              </a:ext>
            </a:extLst>
          </p:cNvPr>
          <p:cNvGrpSpPr/>
          <p:nvPr/>
        </p:nvGrpSpPr>
        <p:grpSpPr>
          <a:xfrm>
            <a:off x="6220815" y="4570681"/>
            <a:ext cx="1549721" cy="279117"/>
            <a:chOff x="6220815" y="4577183"/>
            <a:chExt cx="1549721" cy="279117"/>
          </a:xfrm>
        </p:grpSpPr>
        <p:sp>
          <p:nvSpPr>
            <p:cNvPr id="52" name="TextBox 51"/>
            <p:cNvSpPr txBox="1"/>
            <p:nvPr/>
          </p:nvSpPr>
          <p:spPr>
            <a:xfrm>
              <a:off x="6220815" y="4577183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9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lient Delivery Lead</a:t>
              </a:r>
            </a:p>
          </p:txBody>
        </p:sp>
        <p:sp>
          <p:nvSpPr>
            <p:cNvPr id="53" name="TextBox 52"/>
            <p:cNvSpPr txBox="1">
              <a:spLocks/>
            </p:cNvSpPr>
            <p:nvPr/>
          </p:nvSpPr>
          <p:spPr>
            <a:xfrm>
              <a:off x="6220815" y="4717801"/>
              <a:ext cx="15497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9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amet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C95D99E-680C-4CB9-82F1-919552395E72}"/>
              </a:ext>
            </a:extLst>
          </p:cNvPr>
          <p:cNvGrpSpPr/>
          <p:nvPr/>
        </p:nvGrpSpPr>
        <p:grpSpPr>
          <a:xfrm>
            <a:off x="6900399" y="4946259"/>
            <a:ext cx="1910799" cy="279117"/>
            <a:chOff x="6900399" y="4981710"/>
            <a:chExt cx="1910799" cy="279117"/>
          </a:xfrm>
        </p:grpSpPr>
        <p:sp>
          <p:nvSpPr>
            <p:cNvPr id="54" name="TextBox 53"/>
            <p:cNvSpPr txBox="1"/>
            <p:nvPr/>
          </p:nvSpPr>
          <p:spPr>
            <a:xfrm>
              <a:off x="6900399" y="4981710"/>
              <a:ext cx="1910799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9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enior Application Developer</a:t>
              </a:r>
            </a:p>
          </p:txBody>
        </p:sp>
        <p:sp>
          <p:nvSpPr>
            <p:cNvPr id="55" name="TextBox 54"/>
            <p:cNvSpPr txBox="1">
              <a:spLocks/>
            </p:cNvSpPr>
            <p:nvPr/>
          </p:nvSpPr>
          <p:spPr>
            <a:xfrm>
              <a:off x="6900399" y="5122328"/>
              <a:ext cx="191079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9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ame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55CDA8D-9CE3-445B-B9D5-D63172AF435D}"/>
              </a:ext>
            </a:extLst>
          </p:cNvPr>
          <p:cNvGrpSpPr/>
          <p:nvPr/>
        </p:nvGrpSpPr>
        <p:grpSpPr>
          <a:xfrm>
            <a:off x="6455897" y="5321837"/>
            <a:ext cx="1910799" cy="279117"/>
            <a:chOff x="6455897" y="5303904"/>
            <a:chExt cx="1910799" cy="279117"/>
          </a:xfrm>
        </p:grpSpPr>
        <p:sp>
          <p:nvSpPr>
            <p:cNvPr id="56" name="TextBox 55"/>
            <p:cNvSpPr txBox="1"/>
            <p:nvPr/>
          </p:nvSpPr>
          <p:spPr>
            <a:xfrm>
              <a:off x="6455897" y="5303904"/>
              <a:ext cx="1910799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9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enior Creative Developer</a:t>
              </a:r>
            </a:p>
          </p:txBody>
        </p:sp>
        <p:sp>
          <p:nvSpPr>
            <p:cNvPr id="57" name="TextBox 56"/>
            <p:cNvSpPr txBox="1">
              <a:spLocks/>
            </p:cNvSpPr>
            <p:nvPr/>
          </p:nvSpPr>
          <p:spPr>
            <a:xfrm>
              <a:off x="6455897" y="5444522"/>
              <a:ext cx="191079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9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amet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F0AA99B-65E5-415D-AF14-D0AC1B22AD93}"/>
              </a:ext>
            </a:extLst>
          </p:cNvPr>
          <p:cNvGrpSpPr/>
          <p:nvPr/>
        </p:nvGrpSpPr>
        <p:grpSpPr>
          <a:xfrm>
            <a:off x="5911169" y="5697418"/>
            <a:ext cx="1910799" cy="279116"/>
            <a:chOff x="5911169" y="5697418"/>
            <a:chExt cx="1910799" cy="279116"/>
          </a:xfrm>
        </p:grpSpPr>
        <p:sp>
          <p:nvSpPr>
            <p:cNvPr id="58" name="TextBox 57"/>
            <p:cNvSpPr txBox="1"/>
            <p:nvPr/>
          </p:nvSpPr>
          <p:spPr>
            <a:xfrm>
              <a:off x="5911169" y="5697418"/>
              <a:ext cx="1910799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900" b="1" dirty="0">
                  <a:solidFill>
                    <a:schemeClr val="tx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enior Creative Designer</a:t>
              </a:r>
            </a:p>
          </p:txBody>
        </p:sp>
        <p:sp>
          <p:nvSpPr>
            <p:cNvPr id="59" name="TextBox 58"/>
            <p:cNvSpPr txBox="1">
              <a:spLocks/>
            </p:cNvSpPr>
            <p:nvPr/>
          </p:nvSpPr>
          <p:spPr>
            <a:xfrm>
              <a:off x="5911169" y="5838035"/>
              <a:ext cx="191079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9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amet</a:t>
              </a:r>
            </a:p>
          </p:txBody>
        </p:sp>
      </p:grpSp>
      <p:cxnSp>
        <p:nvCxnSpPr>
          <p:cNvPr id="61" name="Straight Connector 60"/>
          <p:cNvCxnSpPr/>
          <p:nvPr/>
        </p:nvCxnSpPr>
        <p:spPr bwMode="auto">
          <a:xfrm>
            <a:off x="7591720" y="3218653"/>
            <a:ext cx="36246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</p:cxnSp>
      <p:cxnSp>
        <p:nvCxnSpPr>
          <p:cNvPr id="63" name="Straight Connector 62"/>
          <p:cNvCxnSpPr/>
          <p:nvPr/>
        </p:nvCxnSpPr>
        <p:spPr bwMode="auto">
          <a:xfrm>
            <a:off x="7080087" y="3582288"/>
            <a:ext cx="61151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</p:cxnSp>
      <p:cxnSp>
        <p:nvCxnSpPr>
          <p:cNvPr id="65" name="Straight Connector 64"/>
          <p:cNvCxnSpPr/>
          <p:nvPr/>
        </p:nvCxnSpPr>
        <p:spPr bwMode="auto">
          <a:xfrm>
            <a:off x="6560811" y="3972135"/>
            <a:ext cx="61151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</p:cxnSp>
      <p:cxnSp>
        <p:nvCxnSpPr>
          <p:cNvPr id="66" name="Straight Connector 65"/>
          <p:cNvCxnSpPr/>
          <p:nvPr/>
        </p:nvCxnSpPr>
        <p:spPr bwMode="auto">
          <a:xfrm>
            <a:off x="5948566" y="4373944"/>
            <a:ext cx="61151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</p:cxnSp>
      <p:cxnSp>
        <p:nvCxnSpPr>
          <p:cNvPr id="67" name="Straight Connector 66"/>
          <p:cNvCxnSpPr/>
          <p:nvPr/>
        </p:nvCxnSpPr>
        <p:spPr bwMode="auto">
          <a:xfrm>
            <a:off x="5492350" y="4657075"/>
            <a:ext cx="61151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</p:cxn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4813056" y="5105997"/>
            <a:ext cx="201168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</p:cxnSp>
      <p:cxnSp>
        <p:nvCxnSpPr>
          <p:cNvPr id="70" name="Straight Connector 69"/>
          <p:cNvCxnSpPr/>
          <p:nvPr/>
        </p:nvCxnSpPr>
        <p:spPr bwMode="auto">
          <a:xfrm>
            <a:off x="4357336" y="5434917"/>
            <a:ext cx="201168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</p:cxnSp>
      <p:cxnSp>
        <p:nvCxnSpPr>
          <p:cNvPr id="72" name="Straight Connector 71"/>
          <p:cNvCxnSpPr/>
          <p:nvPr/>
        </p:nvCxnSpPr>
        <p:spPr bwMode="auto">
          <a:xfrm>
            <a:off x="3842268" y="5798988"/>
            <a:ext cx="199043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</p:cxnSp>
      <p:pic>
        <p:nvPicPr>
          <p:cNvPr id="74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872484" y="2306484"/>
            <a:ext cx="415564" cy="125158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686801" y="3864840"/>
            <a:ext cx="364972" cy="109920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4058939" y="2932274"/>
            <a:ext cx="364972" cy="109920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4375842" y="4200311"/>
            <a:ext cx="325452" cy="98018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3924383" y="4469269"/>
            <a:ext cx="325452" cy="98018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502636" y="3307805"/>
            <a:ext cx="368606" cy="111015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035650" y="3580248"/>
            <a:ext cx="368606" cy="111015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6613422" y="2550367"/>
            <a:ext cx="349675" cy="105314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" descr="avatar, business, businessman, finance, human, male, man, office, people, person, profile, standing, user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7145581" y="2213024"/>
            <a:ext cx="349675" cy="105314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" descr="avatar, business, businesswoman, female, office, people, person, user, woman ico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010837" y="1826553"/>
            <a:ext cx="461005" cy="138843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6" descr="avatar, business, businesswoman, female, office, people, person, user, woman ico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380435" y="2004375"/>
            <a:ext cx="377491" cy="113691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6" descr="avatar, business, businesswoman, female, office, people, person, user, woman ico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104393" y="2932274"/>
            <a:ext cx="356588" cy="107395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6" descr="avatar, business, businesswoman, female, office, people, person, user, woman ico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457772" y="4637602"/>
            <a:ext cx="378937" cy="114126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Freeform 89"/>
          <p:cNvSpPr/>
          <p:nvPr/>
        </p:nvSpPr>
        <p:spPr bwMode="auto">
          <a:xfrm>
            <a:off x="5331901" y="1934782"/>
            <a:ext cx="587670" cy="1098014"/>
          </a:xfrm>
          <a:custGeom>
            <a:avLst/>
            <a:gdLst>
              <a:gd name="connsiteX0" fmla="*/ 0 w 579120"/>
              <a:gd name="connsiteY0" fmla="*/ 1082040 h 1082040"/>
              <a:gd name="connsiteX1" fmla="*/ 0 w 579120"/>
              <a:gd name="connsiteY1" fmla="*/ 0 h 1082040"/>
              <a:gd name="connsiteX2" fmla="*/ 579120 w 579120"/>
              <a:gd name="connsiteY2" fmla="*/ 0 h 1082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9120" h="1082040">
                <a:moveTo>
                  <a:pt x="0" y="1082040"/>
                </a:moveTo>
                <a:lnTo>
                  <a:pt x="0" y="0"/>
                </a:lnTo>
                <a:lnTo>
                  <a:pt x="579120" y="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triangle" w="sm" len="sm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1" name="Freeform 90"/>
          <p:cNvSpPr/>
          <p:nvPr/>
        </p:nvSpPr>
        <p:spPr bwMode="auto">
          <a:xfrm flipH="1">
            <a:off x="4249834" y="2213024"/>
            <a:ext cx="224081" cy="1593022"/>
          </a:xfrm>
          <a:custGeom>
            <a:avLst/>
            <a:gdLst>
              <a:gd name="connsiteX0" fmla="*/ 0 w 579120"/>
              <a:gd name="connsiteY0" fmla="*/ 1082040 h 1082040"/>
              <a:gd name="connsiteX1" fmla="*/ 0 w 579120"/>
              <a:gd name="connsiteY1" fmla="*/ 0 h 1082040"/>
              <a:gd name="connsiteX2" fmla="*/ 579120 w 579120"/>
              <a:gd name="connsiteY2" fmla="*/ 0 h 1082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9120" h="1082040">
                <a:moveTo>
                  <a:pt x="0" y="1082040"/>
                </a:moveTo>
                <a:lnTo>
                  <a:pt x="0" y="0"/>
                </a:lnTo>
                <a:lnTo>
                  <a:pt x="579120" y="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triangle" w="sm" len="sm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2" name="Freeform 91"/>
          <p:cNvSpPr/>
          <p:nvPr/>
        </p:nvSpPr>
        <p:spPr bwMode="auto">
          <a:xfrm>
            <a:off x="1541046" y="4556099"/>
            <a:ext cx="1063678" cy="295302"/>
          </a:xfrm>
          <a:custGeom>
            <a:avLst/>
            <a:gdLst>
              <a:gd name="connsiteX0" fmla="*/ 1123950 w 1123950"/>
              <a:gd name="connsiteY0" fmla="*/ 428625 h 428625"/>
              <a:gd name="connsiteX1" fmla="*/ 581025 w 1123950"/>
              <a:gd name="connsiteY1" fmla="*/ 428625 h 428625"/>
              <a:gd name="connsiteX2" fmla="*/ 581025 w 1123950"/>
              <a:gd name="connsiteY2" fmla="*/ 0 h 428625"/>
              <a:gd name="connsiteX3" fmla="*/ 0 w 1123950"/>
              <a:gd name="connsiteY3" fmla="*/ 0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3950" h="428625">
                <a:moveTo>
                  <a:pt x="1123950" y="428625"/>
                </a:moveTo>
                <a:lnTo>
                  <a:pt x="581025" y="428625"/>
                </a:lnTo>
                <a:lnTo>
                  <a:pt x="581025" y="0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3" name="Freeform 92"/>
          <p:cNvSpPr/>
          <p:nvPr/>
        </p:nvSpPr>
        <p:spPr bwMode="auto">
          <a:xfrm>
            <a:off x="1918004" y="3437215"/>
            <a:ext cx="872945" cy="229647"/>
          </a:xfrm>
          <a:custGeom>
            <a:avLst/>
            <a:gdLst>
              <a:gd name="connsiteX0" fmla="*/ 885825 w 885825"/>
              <a:gd name="connsiteY0" fmla="*/ 0 h 161925"/>
              <a:gd name="connsiteX1" fmla="*/ 419100 w 885825"/>
              <a:gd name="connsiteY1" fmla="*/ 0 h 161925"/>
              <a:gd name="connsiteX2" fmla="*/ 419100 w 885825"/>
              <a:gd name="connsiteY2" fmla="*/ 161925 h 161925"/>
              <a:gd name="connsiteX3" fmla="*/ 0 w 885825"/>
              <a:gd name="connsiteY3" fmla="*/ 161925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5825" h="161925">
                <a:moveTo>
                  <a:pt x="885825" y="0"/>
                </a:moveTo>
                <a:lnTo>
                  <a:pt x="419100" y="0"/>
                </a:lnTo>
                <a:lnTo>
                  <a:pt x="419100" y="161925"/>
                </a:lnTo>
                <a:lnTo>
                  <a:pt x="0" y="16192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4" name="Freeform 93"/>
          <p:cNvSpPr/>
          <p:nvPr/>
        </p:nvSpPr>
        <p:spPr bwMode="auto">
          <a:xfrm>
            <a:off x="1270408" y="2294344"/>
            <a:ext cx="724920" cy="771984"/>
          </a:xfrm>
          <a:custGeom>
            <a:avLst/>
            <a:gdLst>
              <a:gd name="connsiteX0" fmla="*/ 742950 w 742950"/>
              <a:gd name="connsiteY0" fmla="*/ 733425 h 733425"/>
              <a:gd name="connsiteX1" fmla="*/ 495300 w 742950"/>
              <a:gd name="connsiteY1" fmla="*/ 733425 h 733425"/>
              <a:gd name="connsiteX2" fmla="*/ 495300 w 742950"/>
              <a:gd name="connsiteY2" fmla="*/ 0 h 733425"/>
              <a:gd name="connsiteX3" fmla="*/ 0 w 742950"/>
              <a:gd name="connsiteY3" fmla="*/ 0 h 73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2950" h="733425">
                <a:moveTo>
                  <a:pt x="742950" y="733425"/>
                </a:moveTo>
                <a:lnTo>
                  <a:pt x="495300" y="733425"/>
                </a:lnTo>
                <a:lnTo>
                  <a:pt x="495300" y="0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dash"/>
            <a:round/>
            <a:headEnd type="oval" w="lg" len="lg"/>
            <a:tailEnd type="none" w="sm" len="sm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F6B5F2-A6B1-4A78-BDE6-2065DEF5D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Organizational chart</a:t>
            </a:r>
            <a:endParaRPr lang="da-DK" dirty="0"/>
          </a:p>
        </p:txBody>
      </p:sp>
      <p:sp>
        <p:nvSpPr>
          <p:cNvPr id="95" name="Text Placeholder 32">
            <a:extLst>
              <a:ext uri="{FF2B5EF4-FFF2-40B4-BE49-F238E27FC236}">
                <a16:creationId xmlns:a16="http://schemas.microsoft.com/office/drawing/2014/main" id="{E7F4A6FE-EF42-4ADE-877D-4CA4F0130697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23058976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4"/>
          <p:cNvGrpSpPr/>
          <p:nvPr/>
        </p:nvGrpSpPr>
        <p:grpSpPr>
          <a:xfrm>
            <a:off x="3442537" y="3923116"/>
            <a:ext cx="1419634" cy="1628994"/>
            <a:chOff x="3246490" y="3906154"/>
            <a:chExt cx="1783947" cy="2047034"/>
          </a:xfrm>
          <a:solidFill>
            <a:schemeClr val="accent1"/>
          </a:solidFill>
        </p:grpSpPr>
        <p:sp>
          <p:nvSpPr>
            <p:cNvPr id="94" name="Freeform 93"/>
            <p:cNvSpPr>
              <a:spLocks noChangeAspect="1"/>
            </p:cNvSpPr>
            <p:nvPr/>
          </p:nvSpPr>
          <p:spPr>
            <a:xfrm>
              <a:off x="4312024" y="3906154"/>
              <a:ext cx="718413" cy="624285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/>
            <a:lstStyle/>
            <a:p>
              <a:pPr algn="ctr"/>
              <a:endPara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94"/>
            <p:cNvSpPr>
              <a:spLocks noChangeAspect="1"/>
            </p:cNvSpPr>
            <p:nvPr/>
          </p:nvSpPr>
          <p:spPr>
            <a:xfrm>
              <a:off x="3246490" y="4641072"/>
              <a:ext cx="1509954" cy="1312116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/>
            <a:lstStyle/>
            <a:p>
              <a:pPr algn="ctr"/>
              <a:endPara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Rectangle 95"/>
            <p:cNvSpPr/>
            <p:nvPr/>
          </p:nvSpPr>
          <p:spPr bwMode="auto">
            <a:xfrm rot="18425514">
              <a:off x="4249132" y="4532361"/>
              <a:ext cx="338129" cy="157308"/>
            </a:xfrm>
            <a:prstGeom prst="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 flipH="1">
            <a:off x="4757980" y="4191982"/>
            <a:ext cx="1419634" cy="1628994"/>
            <a:chOff x="3246490" y="3906154"/>
            <a:chExt cx="1783947" cy="2047034"/>
          </a:xfrm>
          <a:solidFill>
            <a:schemeClr val="bg1">
              <a:lumMod val="50000"/>
            </a:schemeClr>
          </a:solidFill>
        </p:grpSpPr>
        <p:sp>
          <p:nvSpPr>
            <p:cNvPr id="91" name="Freeform 90"/>
            <p:cNvSpPr>
              <a:spLocks noChangeAspect="1"/>
            </p:cNvSpPr>
            <p:nvPr/>
          </p:nvSpPr>
          <p:spPr>
            <a:xfrm>
              <a:off x="4312024" y="3906154"/>
              <a:ext cx="718413" cy="624285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/>
            <a:lstStyle/>
            <a:p>
              <a:pPr algn="ctr"/>
              <a:endPara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91"/>
            <p:cNvSpPr>
              <a:spLocks noChangeAspect="1"/>
            </p:cNvSpPr>
            <p:nvPr/>
          </p:nvSpPr>
          <p:spPr>
            <a:xfrm>
              <a:off x="3246490" y="4641072"/>
              <a:ext cx="1509954" cy="1312116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/>
            <a:lstStyle/>
            <a:p>
              <a:pPr algn="ctr"/>
              <a:endPara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Rectangle 92"/>
            <p:cNvSpPr/>
            <p:nvPr/>
          </p:nvSpPr>
          <p:spPr bwMode="auto">
            <a:xfrm rot="18425514">
              <a:off x="4249132" y="4532361"/>
              <a:ext cx="338129" cy="157308"/>
            </a:xfrm>
            <a:prstGeom prst="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7" name="Group 86"/>
          <p:cNvGrpSpPr/>
          <p:nvPr/>
        </p:nvGrpSpPr>
        <p:grpSpPr>
          <a:xfrm rot="18030809" flipH="1">
            <a:off x="5508254" y="3277589"/>
            <a:ext cx="1419633" cy="1628994"/>
            <a:chOff x="3246490" y="3906154"/>
            <a:chExt cx="1783946" cy="2047034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88" name="Freeform 87"/>
            <p:cNvSpPr>
              <a:spLocks noChangeAspect="1"/>
            </p:cNvSpPr>
            <p:nvPr/>
          </p:nvSpPr>
          <p:spPr>
            <a:xfrm>
              <a:off x="4312023" y="3906154"/>
              <a:ext cx="718413" cy="624285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/>
            <a:lstStyle/>
            <a:p>
              <a:pPr algn="ctr"/>
              <a:endPara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88"/>
            <p:cNvSpPr>
              <a:spLocks noChangeAspect="1"/>
            </p:cNvSpPr>
            <p:nvPr/>
          </p:nvSpPr>
          <p:spPr>
            <a:xfrm>
              <a:off x="3246490" y="4641072"/>
              <a:ext cx="1509954" cy="1312116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/>
            <a:lstStyle/>
            <a:p>
              <a:pPr algn="ctr"/>
              <a:endPara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Rectangle 89"/>
            <p:cNvSpPr/>
            <p:nvPr/>
          </p:nvSpPr>
          <p:spPr bwMode="auto">
            <a:xfrm rot="18030809">
              <a:off x="4249132" y="4532361"/>
              <a:ext cx="338129" cy="157308"/>
            </a:xfrm>
            <a:prstGeom prst="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7" name="Freeform 106"/>
          <p:cNvSpPr>
            <a:spLocks noChangeAspect="1"/>
          </p:cNvSpPr>
          <p:nvPr/>
        </p:nvSpPr>
        <p:spPr>
          <a:xfrm flipH="1" flipV="1">
            <a:off x="5224947" y="3381685"/>
            <a:ext cx="571701" cy="496795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/>
          <a:lstStyle/>
          <a:p>
            <a:pPr algn="ctr"/>
            <a:endParaRPr lang="en-US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Freeform 107"/>
          <p:cNvSpPr>
            <a:spLocks noChangeAspect="1"/>
          </p:cNvSpPr>
          <p:nvPr/>
        </p:nvSpPr>
        <p:spPr>
          <a:xfrm flipH="1" flipV="1">
            <a:off x="5442986" y="2249486"/>
            <a:ext cx="1201595" cy="104415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/>
          <a:lstStyle/>
          <a:p>
            <a:pPr algn="ctr"/>
            <a:endParaRPr lang="en-US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Rectangle 108"/>
          <p:cNvSpPr/>
          <p:nvPr/>
        </p:nvSpPr>
        <p:spPr bwMode="auto">
          <a:xfrm rot="18425514" flipH="1" flipV="1">
            <a:off x="5577619" y="3254972"/>
            <a:ext cx="269077" cy="125183"/>
          </a:xfrm>
          <a:prstGeom prst="rect">
            <a:avLst/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I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Freeform 103"/>
          <p:cNvSpPr>
            <a:spLocks noChangeAspect="1"/>
          </p:cNvSpPr>
          <p:nvPr/>
        </p:nvSpPr>
        <p:spPr>
          <a:xfrm flipV="1">
            <a:off x="4757437" y="3112819"/>
            <a:ext cx="571701" cy="496795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/>
          <a:lstStyle/>
          <a:p>
            <a:pPr algn="ctr"/>
            <a:endParaRPr lang="en-US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Freeform 104"/>
          <p:cNvSpPr>
            <a:spLocks noChangeAspect="1"/>
          </p:cNvSpPr>
          <p:nvPr/>
        </p:nvSpPr>
        <p:spPr>
          <a:xfrm flipV="1">
            <a:off x="3909504" y="1980620"/>
            <a:ext cx="1201595" cy="104415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/>
          <a:lstStyle/>
          <a:p>
            <a:pPr algn="ctr"/>
            <a:endParaRPr lang="en-US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 105"/>
          <p:cNvSpPr/>
          <p:nvPr/>
        </p:nvSpPr>
        <p:spPr bwMode="auto">
          <a:xfrm rot="3174486" flipV="1">
            <a:off x="4707389" y="2986106"/>
            <a:ext cx="269077" cy="125183"/>
          </a:xfrm>
          <a:prstGeom prst="rect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I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Freeform 100"/>
          <p:cNvSpPr>
            <a:spLocks noChangeAspect="1"/>
          </p:cNvSpPr>
          <p:nvPr/>
        </p:nvSpPr>
        <p:spPr>
          <a:xfrm rot="18030809" flipV="1">
            <a:off x="4286163" y="3383294"/>
            <a:ext cx="571700" cy="496795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/>
          <a:lstStyle/>
          <a:p>
            <a:pPr algn="ctr"/>
            <a:endParaRPr lang="en-US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Freeform 101"/>
          <p:cNvSpPr>
            <a:spLocks noChangeAspect="1"/>
          </p:cNvSpPr>
          <p:nvPr/>
        </p:nvSpPr>
        <p:spPr>
          <a:xfrm rot="18030809" flipV="1">
            <a:off x="2960976" y="3132880"/>
            <a:ext cx="1201595" cy="104415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/>
          <a:lstStyle/>
          <a:p>
            <a:pPr algn="ctr"/>
            <a:endParaRPr lang="en-US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 flipV="1">
            <a:off x="4065998" y="3583895"/>
            <a:ext cx="269077" cy="125183"/>
          </a:xfrm>
          <a:prstGeom prst="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I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372603" y="3438574"/>
            <a:ext cx="41036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06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4321633" y="2279220"/>
            <a:ext cx="41036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848470" y="2564754"/>
            <a:ext cx="41036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6352623" y="3928358"/>
            <a:ext cx="41036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5393176" y="5088221"/>
            <a:ext cx="41036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3848374" y="4831690"/>
            <a:ext cx="410369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34" name="Freeform 6"/>
          <p:cNvSpPr>
            <a:spLocks noEditPoints="1"/>
          </p:cNvSpPr>
          <p:nvPr/>
        </p:nvSpPr>
        <p:spPr bwMode="auto">
          <a:xfrm>
            <a:off x="4469461" y="3519943"/>
            <a:ext cx="186798" cy="221532"/>
          </a:xfrm>
          <a:custGeom>
            <a:avLst/>
            <a:gdLst>
              <a:gd name="T0" fmla="*/ 676 w 726"/>
              <a:gd name="T1" fmla="*/ 222 h 861"/>
              <a:gd name="T2" fmla="*/ 713 w 726"/>
              <a:gd name="T3" fmla="*/ 290 h 861"/>
              <a:gd name="T4" fmla="*/ 726 w 726"/>
              <a:gd name="T5" fmla="*/ 392 h 861"/>
              <a:gd name="T6" fmla="*/ 700 w 726"/>
              <a:gd name="T7" fmla="*/ 498 h 861"/>
              <a:gd name="T8" fmla="*/ 633 w 726"/>
              <a:gd name="T9" fmla="*/ 592 h 861"/>
              <a:gd name="T10" fmla="*/ 587 w 726"/>
              <a:gd name="T11" fmla="*/ 631 h 861"/>
              <a:gd name="T12" fmla="*/ 518 w 726"/>
              <a:gd name="T13" fmla="*/ 666 h 861"/>
              <a:gd name="T14" fmla="*/ 446 w 726"/>
              <a:gd name="T15" fmla="*/ 683 h 861"/>
              <a:gd name="T16" fmla="*/ 374 w 726"/>
              <a:gd name="T17" fmla="*/ 681 h 861"/>
              <a:gd name="T18" fmla="*/ 339 w 726"/>
              <a:gd name="T19" fmla="*/ 673 h 861"/>
              <a:gd name="T20" fmla="*/ 320 w 726"/>
              <a:gd name="T21" fmla="*/ 661 h 861"/>
              <a:gd name="T22" fmla="*/ 337 w 726"/>
              <a:gd name="T23" fmla="*/ 636 h 861"/>
              <a:gd name="T24" fmla="*/ 337 w 726"/>
              <a:gd name="T25" fmla="*/ 582 h 861"/>
              <a:gd name="T26" fmla="*/ 314 w 726"/>
              <a:gd name="T27" fmla="*/ 550 h 861"/>
              <a:gd name="T28" fmla="*/ 294 w 726"/>
              <a:gd name="T29" fmla="*/ 531 h 861"/>
              <a:gd name="T30" fmla="*/ 241 w 726"/>
              <a:gd name="T31" fmla="*/ 520 h 861"/>
              <a:gd name="T32" fmla="*/ 201 w 726"/>
              <a:gd name="T33" fmla="*/ 541 h 861"/>
              <a:gd name="T34" fmla="*/ 189 w 726"/>
              <a:gd name="T35" fmla="*/ 526 h 861"/>
              <a:gd name="T36" fmla="*/ 178 w 726"/>
              <a:gd name="T37" fmla="*/ 490 h 861"/>
              <a:gd name="T38" fmla="*/ 176 w 726"/>
              <a:gd name="T39" fmla="*/ 417 h 861"/>
              <a:gd name="T40" fmla="*/ 193 w 726"/>
              <a:gd name="T41" fmla="*/ 344 h 861"/>
              <a:gd name="T42" fmla="*/ 229 w 726"/>
              <a:gd name="T43" fmla="*/ 273 h 861"/>
              <a:gd name="T44" fmla="*/ 268 w 726"/>
              <a:gd name="T45" fmla="*/ 226 h 861"/>
              <a:gd name="T46" fmla="*/ 363 w 726"/>
              <a:gd name="T47" fmla="*/ 160 h 861"/>
              <a:gd name="T48" fmla="*/ 468 w 726"/>
              <a:gd name="T49" fmla="*/ 133 h 861"/>
              <a:gd name="T50" fmla="*/ 570 w 726"/>
              <a:gd name="T51" fmla="*/ 147 h 861"/>
              <a:gd name="T52" fmla="*/ 639 w 726"/>
              <a:gd name="T53" fmla="*/ 185 h 861"/>
              <a:gd name="T54" fmla="*/ 365 w 726"/>
              <a:gd name="T55" fmla="*/ 18 h 861"/>
              <a:gd name="T56" fmla="*/ 332 w 726"/>
              <a:gd name="T57" fmla="*/ 1 h 861"/>
              <a:gd name="T58" fmla="*/ 285 w 726"/>
              <a:gd name="T59" fmla="*/ 10 h 861"/>
              <a:gd name="T60" fmla="*/ 261 w 726"/>
              <a:gd name="T61" fmla="*/ 38 h 861"/>
              <a:gd name="T62" fmla="*/ 261 w 726"/>
              <a:gd name="T63" fmla="*/ 87 h 861"/>
              <a:gd name="T64" fmla="*/ 285 w 726"/>
              <a:gd name="T65" fmla="*/ 117 h 861"/>
              <a:gd name="T66" fmla="*/ 332 w 726"/>
              <a:gd name="T67" fmla="*/ 125 h 861"/>
              <a:gd name="T68" fmla="*/ 365 w 726"/>
              <a:gd name="T69" fmla="*/ 108 h 861"/>
              <a:gd name="T70" fmla="*/ 384 w 726"/>
              <a:gd name="T71" fmla="*/ 64 h 861"/>
              <a:gd name="T72" fmla="*/ 365 w 726"/>
              <a:gd name="T73" fmla="*/ 18 h 861"/>
              <a:gd name="T74" fmla="*/ 273 w 726"/>
              <a:gd name="T75" fmla="*/ 562 h 861"/>
              <a:gd name="T76" fmla="*/ 247 w 726"/>
              <a:gd name="T77" fmla="*/ 558 h 861"/>
              <a:gd name="T78" fmla="*/ 229 w 726"/>
              <a:gd name="T79" fmla="*/ 567 h 861"/>
              <a:gd name="T80" fmla="*/ 154 w 726"/>
              <a:gd name="T81" fmla="*/ 641 h 861"/>
              <a:gd name="T82" fmla="*/ 44 w 726"/>
              <a:gd name="T83" fmla="*/ 727 h 861"/>
              <a:gd name="T84" fmla="*/ 3 w 726"/>
              <a:gd name="T85" fmla="*/ 770 h 861"/>
              <a:gd name="T86" fmla="*/ 3 w 726"/>
              <a:gd name="T87" fmla="*/ 797 h 861"/>
              <a:gd name="T88" fmla="*/ 32 w 726"/>
              <a:gd name="T89" fmla="*/ 830 h 861"/>
              <a:gd name="T90" fmla="*/ 64 w 726"/>
              <a:gd name="T91" fmla="*/ 858 h 861"/>
              <a:gd name="T92" fmla="*/ 90 w 726"/>
              <a:gd name="T93" fmla="*/ 858 h 861"/>
              <a:gd name="T94" fmla="*/ 134 w 726"/>
              <a:gd name="T95" fmla="*/ 818 h 861"/>
              <a:gd name="T96" fmla="*/ 221 w 726"/>
              <a:gd name="T97" fmla="*/ 708 h 861"/>
              <a:gd name="T98" fmla="*/ 295 w 726"/>
              <a:gd name="T99" fmla="*/ 635 h 861"/>
              <a:gd name="T100" fmla="*/ 304 w 726"/>
              <a:gd name="T101" fmla="*/ 615 h 861"/>
              <a:gd name="T102" fmla="*/ 300 w 726"/>
              <a:gd name="T103" fmla="*/ 590 h 861"/>
              <a:gd name="T104" fmla="*/ 286 w 726"/>
              <a:gd name="T105" fmla="*/ 576 h 861"/>
              <a:gd name="T106" fmla="*/ 278 w 726"/>
              <a:gd name="T107" fmla="*/ 567 h 861"/>
              <a:gd name="T108" fmla="*/ 365 w 726"/>
              <a:gd name="T109" fmla="*/ 219 h 861"/>
              <a:gd name="T110" fmla="*/ 433 w 726"/>
              <a:gd name="T111" fmla="*/ 192 h 861"/>
              <a:gd name="T112" fmla="*/ 504 w 726"/>
              <a:gd name="T113" fmla="*/ 185 h 861"/>
              <a:gd name="T114" fmla="*/ 575 w 726"/>
              <a:gd name="T115" fmla="*/ 198 h 861"/>
              <a:gd name="T116" fmla="*/ 595 w 726"/>
              <a:gd name="T117" fmla="*/ 201 h 861"/>
              <a:gd name="T118" fmla="*/ 521 w 726"/>
              <a:gd name="T119" fmla="*/ 173 h 861"/>
              <a:gd name="T120" fmla="*/ 444 w 726"/>
              <a:gd name="T121" fmla="*/ 175 h 861"/>
              <a:gd name="T122" fmla="*/ 374 w 726"/>
              <a:gd name="T123" fmla="*/ 204 h 861"/>
              <a:gd name="T124" fmla="*/ 331 w 726"/>
              <a:gd name="T125" fmla="*/ 242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26" h="861">
                <a:moveTo>
                  <a:pt x="658" y="202"/>
                </a:moveTo>
                <a:lnTo>
                  <a:pt x="658" y="202"/>
                </a:lnTo>
                <a:lnTo>
                  <a:pt x="667" y="212"/>
                </a:lnTo>
                <a:lnTo>
                  <a:pt x="676" y="222"/>
                </a:lnTo>
                <a:lnTo>
                  <a:pt x="683" y="232"/>
                </a:lnTo>
                <a:lnTo>
                  <a:pt x="690" y="243"/>
                </a:lnTo>
                <a:lnTo>
                  <a:pt x="702" y="266"/>
                </a:lnTo>
                <a:lnTo>
                  <a:pt x="713" y="290"/>
                </a:lnTo>
                <a:lnTo>
                  <a:pt x="720" y="315"/>
                </a:lnTo>
                <a:lnTo>
                  <a:pt x="724" y="340"/>
                </a:lnTo>
                <a:lnTo>
                  <a:pt x="726" y="365"/>
                </a:lnTo>
                <a:lnTo>
                  <a:pt x="726" y="392"/>
                </a:lnTo>
                <a:lnTo>
                  <a:pt x="723" y="418"/>
                </a:lnTo>
                <a:lnTo>
                  <a:pt x="718" y="445"/>
                </a:lnTo>
                <a:lnTo>
                  <a:pt x="709" y="471"/>
                </a:lnTo>
                <a:lnTo>
                  <a:pt x="700" y="498"/>
                </a:lnTo>
                <a:lnTo>
                  <a:pt x="687" y="523"/>
                </a:lnTo>
                <a:lnTo>
                  <a:pt x="671" y="547"/>
                </a:lnTo>
                <a:lnTo>
                  <a:pt x="653" y="570"/>
                </a:lnTo>
                <a:lnTo>
                  <a:pt x="633" y="592"/>
                </a:lnTo>
                <a:lnTo>
                  <a:pt x="633" y="592"/>
                </a:lnTo>
                <a:lnTo>
                  <a:pt x="618" y="606"/>
                </a:lnTo>
                <a:lnTo>
                  <a:pt x="602" y="619"/>
                </a:lnTo>
                <a:lnTo>
                  <a:pt x="587" y="631"/>
                </a:lnTo>
                <a:lnTo>
                  <a:pt x="570" y="641"/>
                </a:lnTo>
                <a:lnTo>
                  <a:pt x="553" y="650"/>
                </a:lnTo>
                <a:lnTo>
                  <a:pt x="535" y="659"/>
                </a:lnTo>
                <a:lnTo>
                  <a:pt x="518" y="666"/>
                </a:lnTo>
                <a:lnTo>
                  <a:pt x="500" y="672"/>
                </a:lnTo>
                <a:lnTo>
                  <a:pt x="482" y="677"/>
                </a:lnTo>
                <a:lnTo>
                  <a:pt x="464" y="680"/>
                </a:lnTo>
                <a:lnTo>
                  <a:pt x="446" y="683"/>
                </a:lnTo>
                <a:lnTo>
                  <a:pt x="428" y="685"/>
                </a:lnTo>
                <a:lnTo>
                  <a:pt x="410" y="685"/>
                </a:lnTo>
                <a:lnTo>
                  <a:pt x="392" y="684"/>
                </a:lnTo>
                <a:lnTo>
                  <a:pt x="374" y="681"/>
                </a:lnTo>
                <a:lnTo>
                  <a:pt x="357" y="678"/>
                </a:lnTo>
                <a:lnTo>
                  <a:pt x="357" y="678"/>
                </a:lnTo>
                <a:lnTo>
                  <a:pt x="349" y="677"/>
                </a:lnTo>
                <a:lnTo>
                  <a:pt x="339" y="673"/>
                </a:lnTo>
                <a:lnTo>
                  <a:pt x="328" y="668"/>
                </a:lnTo>
                <a:lnTo>
                  <a:pt x="318" y="663"/>
                </a:lnTo>
                <a:lnTo>
                  <a:pt x="319" y="663"/>
                </a:lnTo>
                <a:lnTo>
                  <a:pt x="320" y="661"/>
                </a:lnTo>
                <a:lnTo>
                  <a:pt x="322" y="660"/>
                </a:lnTo>
                <a:lnTo>
                  <a:pt x="322" y="660"/>
                </a:lnTo>
                <a:lnTo>
                  <a:pt x="331" y="648"/>
                </a:lnTo>
                <a:lnTo>
                  <a:pt x="337" y="636"/>
                </a:lnTo>
                <a:lnTo>
                  <a:pt x="342" y="623"/>
                </a:lnTo>
                <a:lnTo>
                  <a:pt x="343" y="609"/>
                </a:lnTo>
                <a:lnTo>
                  <a:pt x="342" y="595"/>
                </a:lnTo>
                <a:lnTo>
                  <a:pt x="337" y="582"/>
                </a:lnTo>
                <a:lnTo>
                  <a:pt x="331" y="570"/>
                </a:lnTo>
                <a:lnTo>
                  <a:pt x="327" y="564"/>
                </a:lnTo>
                <a:lnTo>
                  <a:pt x="322" y="559"/>
                </a:lnTo>
                <a:lnTo>
                  <a:pt x="314" y="550"/>
                </a:lnTo>
                <a:lnTo>
                  <a:pt x="304" y="541"/>
                </a:lnTo>
                <a:lnTo>
                  <a:pt x="304" y="541"/>
                </a:lnTo>
                <a:lnTo>
                  <a:pt x="300" y="536"/>
                </a:lnTo>
                <a:lnTo>
                  <a:pt x="294" y="531"/>
                </a:lnTo>
                <a:lnTo>
                  <a:pt x="280" y="525"/>
                </a:lnTo>
                <a:lnTo>
                  <a:pt x="268" y="522"/>
                </a:lnTo>
                <a:lnTo>
                  <a:pt x="254" y="519"/>
                </a:lnTo>
                <a:lnTo>
                  <a:pt x="241" y="520"/>
                </a:lnTo>
                <a:lnTo>
                  <a:pt x="228" y="525"/>
                </a:lnTo>
                <a:lnTo>
                  <a:pt x="214" y="531"/>
                </a:lnTo>
                <a:lnTo>
                  <a:pt x="203" y="540"/>
                </a:lnTo>
                <a:lnTo>
                  <a:pt x="201" y="541"/>
                </a:lnTo>
                <a:lnTo>
                  <a:pt x="200" y="543"/>
                </a:lnTo>
                <a:lnTo>
                  <a:pt x="199" y="544"/>
                </a:lnTo>
                <a:lnTo>
                  <a:pt x="199" y="544"/>
                </a:lnTo>
                <a:lnTo>
                  <a:pt x="189" y="526"/>
                </a:lnTo>
                <a:lnTo>
                  <a:pt x="185" y="517"/>
                </a:lnTo>
                <a:lnTo>
                  <a:pt x="183" y="508"/>
                </a:lnTo>
                <a:lnTo>
                  <a:pt x="183" y="508"/>
                </a:lnTo>
                <a:lnTo>
                  <a:pt x="178" y="490"/>
                </a:lnTo>
                <a:lnTo>
                  <a:pt x="176" y="472"/>
                </a:lnTo>
                <a:lnTo>
                  <a:pt x="175" y="454"/>
                </a:lnTo>
                <a:lnTo>
                  <a:pt x="175" y="436"/>
                </a:lnTo>
                <a:lnTo>
                  <a:pt x="176" y="417"/>
                </a:lnTo>
                <a:lnTo>
                  <a:pt x="178" y="399"/>
                </a:lnTo>
                <a:lnTo>
                  <a:pt x="182" y="380"/>
                </a:lnTo>
                <a:lnTo>
                  <a:pt x="187" y="362"/>
                </a:lnTo>
                <a:lnTo>
                  <a:pt x="193" y="344"/>
                </a:lnTo>
                <a:lnTo>
                  <a:pt x="200" y="326"/>
                </a:lnTo>
                <a:lnTo>
                  <a:pt x="208" y="308"/>
                </a:lnTo>
                <a:lnTo>
                  <a:pt x="218" y="290"/>
                </a:lnTo>
                <a:lnTo>
                  <a:pt x="229" y="273"/>
                </a:lnTo>
                <a:lnTo>
                  <a:pt x="241" y="257"/>
                </a:lnTo>
                <a:lnTo>
                  <a:pt x="254" y="240"/>
                </a:lnTo>
                <a:lnTo>
                  <a:pt x="268" y="226"/>
                </a:lnTo>
                <a:lnTo>
                  <a:pt x="268" y="226"/>
                </a:lnTo>
                <a:lnTo>
                  <a:pt x="290" y="205"/>
                </a:lnTo>
                <a:lnTo>
                  <a:pt x="314" y="187"/>
                </a:lnTo>
                <a:lnTo>
                  <a:pt x="338" y="172"/>
                </a:lnTo>
                <a:lnTo>
                  <a:pt x="363" y="160"/>
                </a:lnTo>
                <a:lnTo>
                  <a:pt x="389" y="149"/>
                </a:lnTo>
                <a:lnTo>
                  <a:pt x="415" y="142"/>
                </a:lnTo>
                <a:lnTo>
                  <a:pt x="441" y="136"/>
                </a:lnTo>
                <a:lnTo>
                  <a:pt x="468" y="133"/>
                </a:lnTo>
                <a:lnTo>
                  <a:pt x="494" y="132"/>
                </a:lnTo>
                <a:lnTo>
                  <a:pt x="521" y="135"/>
                </a:lnTo>
                <a:lnTo>
                  <a:pt x="546" y="139"/>
                </a:lnTo>
                <a:lnTo>
                  <a:pt x="570" y="147"/>
                </a:lnTo>
                <a:lnTo>
                  <a:pt x="594" y="157"/>
                </a:lnTo>
                <a:lnTo>
                  <a:pt x="617" y="169"/>
                </a:lnTo>
                <a:lnTo>
                  <a:pt x="628" y="177"/>
                </a:lnTo>
                <a:lnTo>
                  <a:pt x="639" y="185"/>
                </a:lnTo>
                <a:lnTo>
                  <a:pt x="648" y="193"/>
                </a:lnTo>
                <a:lnTo>
                  <a:pt x="658" y="202"/>
                </a:lnTo>
                <a:lnTo>
                  <a:pt x="658" y="202"/>
                </a:lnTo>
                <a:close/>
                <a:moveTo>
                  <a:pt x="365" y="18"/>
                </a:moveTo>
                <a:lnTo>
                  <a:pt x="365" y="18"/>
                </a:lnTo>
                <a:lnTo>
                  <a:pt x="355" y="10"/>
                </a:lnTo>
                <a:lnTo>
                  <a:pt x="344" y="4"/>
                </a:lnTo>
                <a:lnTo>
                  <a:pt x="332" y="1"/>
                </a:lnTo>
                <a:lnTo>
                  <a:pt x="320" y="0"/>
                </a:lnTo>
                <a:lnTo>
                  <a:pt x="308" y="0"/>
                </a:lnTo>
                <a:lnTo>
                  <a:pt x="296" y="4"/>
                </a:lnTo>
                <a:lnTo>
                  <a:pt x="285" y="10"/>
                </a:lnTo>
                <a:lnTo>
                  <a:pt x="276" y="18"/>
                </a:lnTo>
                <a:lnTo>
                  <a:pt x="276" y="18"/>
                </a:lnTo>
                <a:lnTo>
                  <a:pt x="267" y="28"/>
                </a:lnTo>
                <a:lnTo>
                  <a:pt x="261" y="38"/>
                </a:lnTo>
                <a:lnTo>
                  <a:pt x="258" y="50"/>
                </a:lnTo>
                <a:lnTo>
                  <a:pt x="256" y="62"/>
                </a:lnTo>
                <a:lnTo>
                  <a:pt x="258" y="74"/>
                </a:lnTo>
                <a:lnTo>
                  <a:pt x="261" y="87"/>
                </a:lnTo>
                <a:lnTo>
                  <a:pt x="267" y="97"/>
                </a:lnTo>
                <a:lnTo>
                  <a:pt x="274" y="108"/>
                </a:lnTo>
                <a:lnTo>
                  <a:pt x="274" y="108"/>
                </a:lnTo>
                <a:lnTo>
                  <a:pt x="285" y="117"/>
                </a:lnTo>
                <a:lnTo>
                  <a:pt x="296" y="121"/>
                </a:lnTo>
                <a:lnTo>
                  <a:pt x="308" y="125"/>
                </a:lnTo>
                <a:lnTo>
                  <a:pt x="320" y="126"/>
                </a:lnTo>
                <a:lnTo>
                  <a:pt x="332" y="125"/>
                </a:lnTo>
                <a:lnTo>
                  <a:pt x="344" y="121"/>
                </a:lnTo>
                <a:lnTo>
                  <a:pt x="355" y="117"/>
                </a:lnTo>
                <a:lnTo>
                  <a:pt x="365" y="108"/>
                </a:lnTo>
                <a:lnTo>
                  <a:pt x="365" y="108"/>
                </a:lnTo>
                <a:lnTo>
                  <a:pt x="373" y="99"/>
                </a:lnTo>
                <a:lnTo>
                  <a:pt x="379" y="87"/>
                </a:lnTo>
                <a:lnTo>
                  <a:pt x="383" y="76"/>
                </a:lnTo>
                <a:lnTo>
                  <a:pt x="384" y="64"/>
                </a:lnTo>
                <a:lnTo>
                  <a:pt x="383" y="50"/>
                </a:lnTo>
                <a:lnTo>
                  <a:pt x="379" y="40"/>
                </a:lnTo>
                <a:lnTo>
                  <a:pt x="373" y="28"/>
                </a:lnTo>
                <a:lnTo>
                  <a:pt x="365" y="18"/>
                </a:lnTo>
                <a:lnTo>
                  <a:pt x="365" y="18"/>
                </a:lnTo>
                <a:close/>
                <a:moveTo>
                  <a:pt x="278" y="567"/>
                </a:moveTo>
                <a:lnTo>
                  <a:pt x="278" y="567"/>
                </a:lnTo>
                <a:lnTo>
                  <a:pt x="273" y="562"/>
                </a:lnTo>
                <a:lnTo>
                  <a:pt x="267" y="559"/>
                </a:lnTo>
                <a:lnTo>
                  <a:pt x="260" y="558"/>
                </a:lnTo>
                <a:lnTo>
                  <a:pt x="254" y="556"/>
                </a:lnTo>
                <a:lnTo>
                  <a:pt x="247" y="558"/>
                </a:lnTo>
                <a:lnTo>
                  <a:pt x="241" y="559"/>
                </a:lnTo>
                <a:lnTo>
                  <a:pt x="234" y="562"/>
                </a:lnTo>
                <a:lnTo>
                  <a:pt x="229" y="567"/>
                </a:lnTo>
                <a:lnTo>
                  <a:pt x="229" y="567"/>
                </a:lnTo>
                <a:lnTo>
                  <a:pt x="215" y="582"/>
                </a:lnTo>
                <a:lnTo>
                  <a:pt x="203" y="595"/>
                </a:lnTo>
                <a:lnTo>
                  <a:pt x="178" y="619"/>
                </a:lnTo>
                <a:lnTo>
                  <a:pt x="154" y="641"/>
                </a:lnTo>
                <a:lnTo>
                  <a:pt x="129" y="660"/>
                </a:lnTo>
                <a:lnTo>
                  <a:pt x="103" y="680"/>
                </a:lnTo>
                <a:lnTo>
                  <a:pt x="74" y="702"/>
                </a:lnTo>
                <a:lnTo>
                  <a:pt x="44" y="727"/>
                </a:lnTo>
                <a:lnTo>
                  <a:pt x="10" y="758"/>
                </a:lnTo>
                <a:lnTo>
                  <a:pt x="10" y="758"/>
                </a:lnTo>
                <a:lnTo>
                  <a:pt x="5" y="764"/>
                </a:lnTo>
                <a:lnTo>
                  <a:pt x="3" y="770"/>
                </a:lnTo>
                <a:lnTo>
                  <a:pt x="0" y="776"/>
                </a:lnTo>
                <a:lnTo>
                  <a:pt x="0" y="784"/>
                </a:lnTo>
                <a:lnTo>
                  <a:pt x="0" y="791"/>
                </a:lnTo>
                <a:lnTo>
                  <a:pt x="3" y="797"/>
                </a:lnTo>
                <a:lnTo>
                  <a:pt x="5" y="803"/>
                </a:lnTo>
                <a:lnTo>
                  <a:pt x="10" y="809"/>
                </a:lnTo>
                <a:lnTo>
                  <a:pt x="30" y="828"/>
                </a:lnTo>
                <a:lnTo>
                  <a:pt x="32" y="830"/>
                </a:lnTo>
                <a:lnTo>
                  <a:pt x="52" y="851"/>
                </a:lnTo>
                <a:lnTo>
                  <a:pt x="52" y="851"/>
                </a:lnTo>
                <a:lnTo>
                  <a:pt x="58" y="856"/>
                </a:lnTo>
                <a:lnTo>
                  <a:pt x="64" y="858"/>
                </a:lnTo>
                <a:lnTo>
                  <a:pt x="70" y="861"/>
                </a:lnTo>
                <a:lnTo>
                  <a:pt x="77" y="861"/>
                </a:lnTo>
                <a:lnTo>
                  <a:pt x="83" y="861"/>
                </a:lnTo>
                <a:lnTo>
                  <a:pt x="90" y="858"/>
                </a:lnTo>
                <a:lnTo>
                  <a:pt x="96" y="856"/>
                </a:lnTo>
                <a:lnTo>
                  <a:pt x="101" y="851"/>
                </a:lnTo>
                <a:lnTo>
                  <a:pt x="101" y="851"/>
                </a:lnTo>
                <a:lnTo>
                  <a:pt x="134" y="818"/>
                </a:lnTo>
                <a:lnTo>
                  <a:pt x="159" y="787"/>
                </a:lnTo>
                <a:lnTo>
                  <a:pt x="182" y="760"/>
                </a:lnTo>
                <a:lnTo>
                  <a:pt x="202" y="733"/>
                </a:lnTo>
                <a:lnTo>
                  <a:pt x="221" y="708"/>
                </a:lnTo>
                <a:lnTo>
                  <a:pt x="243" y="684"/>
                </a:lnTo>
                <a:lnTo>
                  <a:pt x="267" y="659"/>
                </a:lnTo>
                <a:lnTo>
                  <a:pt x="280" y="647"/>
                </a:lnTo>
                <a:lnTo>
                  <a:pt x="295" y="635"/>
                </a:lnTo>
                <a:lnTo>
                  <a:pt x="295" y="635"/>
                </a:lnTo>
                <a:lnTo>
                  <a:pt x="300" y="629"/>
                </a:lnTo>
                <a:lnTo>
                  <a:pt x="303" y="623"/>
                </a:lnTo>
                <a:lnTo>
                  <a:pt x="304" y="615"/>
                </a:lnTo>
                <a:lnTo>
                  <a:pt x="306" y="609"/>
                </a:lnTo>
                <a:lnTo>
                  <a:pt x="304" y="602"/>
                </a:lnTo>
                <a:lnTo>
                  <a:pt x="303" y="596"/>
                </a:lnTo>
                <a:lnTo>
                  <a:pt x="300" y="590"/>
                </a:lnTo>
                <a:lnTo>
                  <a:pt x="296" y="584"/>
                </a:lnTo>
                <a:lnTo>
                  <a:pt x="288" y="577"/>
                </a:lnTo>
                <a:lnTo>
                  <a:pt x="288" y="577"/>
                </a:lnTo>
                <a:lnTo>
                  <a:pt x="286" y="576"/>
                </a:lnTo>
                <a:lnTo>
                  <a:pt x="286" y="574"/>
                </a:lnTo>
                <a:lnTo>
                  <a:pt x="286" y="574"/>
                </a:lnTo>
                <a:lnTo>
                  <a:pt x="278" y="567"/>
                </a:lnTo>
                <a:lnTo>
                  <a:pt x="278" y="567"/>
                </a:lnTo>
                <a:close/>
                <a:moveTo>
                  <a:pt x="331" y="242"/>
                </a:moveTo>
                <a:lnTo>
                  <a:pt x="331" y="242"/>
                </a:lnTo>
                <a:lnTo>
                  <a:pt x="348" y="230"/>
                </a:lnTo>
                <a:lnTo>
                  <a:pt x="365" y="219"/>
                </a:lnTo>
                <a:lnTo>
                  <a:pt x="381" y="210"/>
                </a:lnTo>
                <a:lnTo>
                  <a:pt x="399" y="203"/>
                </a:lnTo>
                <a:lnTo>
                  <a:pt x="416" y="197"/>
                </a:lnTo>
                <a:lnTo>
                  <a:pt x="433" y="192"/>
                </a:lnTo>
                <a:lnTo>
                  <a:pt x="451" y="189"/>
                </a:lnTo>
                <a:lnTo>
                  <a:pt x="468" y="186"/>
                </a:lnTo>
                <a:lnTo>
                  <a:pt x="486" y="185"/>
                </a:lnTo>
                <a:lnTo>
                  <a:pt x="504" y="185"/>
                </a:lnTo>
                <a:lnTo>
                  <a:pt x="521" y="186"/>
                </a:lnTo>
                <a:lnTo>
                  <a:pt x="539" y="190"/>
                </a:lnTo>
                <a:lnTo>
                  <a:pt x="557" y="193"/>
                </a:lnTo>
                <a:lnTo>
                  <a:pt x="575" y="198"/>
                </a:lnTo>
                <a:lnTo>
                  <a:pt x="594" y="204"/>
                </a:lnTo>
                <a:lnTo>
                  <a:pt x="612" y="213"/>
                </a:lnTo>
                <a:lnTo>
                  <a:pt x="612" y="213"/>
                </a:lnTo>
                <a:lnTo>
                  <a:pt x="595" y="201"/>
                </a:lnTo>
                <a:lnTo>
                  <a:pt x="577" y="191"/>
                </a:lnTo>
                <a:lnTo>
                  <a:pt x="558" y="183"/>
                </a:lnTo>
                <a:lnTo>
                  <a:pt x="540" y="177"/>
                </a:lnTo>
                <a:lnTo>
                  <a:pt x="521" y="173"/>
                </a:lnTo>
                <a:lnTo>
                  <a:pt x="502" y="171"/>
                </a:lnTo>
                <a:lnTo>
                  <a:pt x="482" y="171"/>
                </a:lnTo>
                <a:lnTo>
                  <a:pt x="463" y="172"/>
                </a:lnTo>
                <a:lnTo>
                  <a:pt x="444" y="175"/>
                </a:lnTo>
                <a:lnTo>
                  <a:pt x="426" y="180"/>
                </a:lnTo>
                <a:lnTo>
                  <a:pt x="408" y="186"/>
                </a:lnTo>
                <a:lnTo>
                  <a:pt x="390" y="195"/>
                </a:lnTo>
                <a:lnTo>
                  <a:pt x="374" y="204"/>
                </a:lnTo>
                <a:lnTo>
                  <a:pt x="359" y="215"/>
                </a:lnTo>
                <a:lnTo>
                  <a:pt x="344" y="227"/>
                </a:lnTo>
                <a:lnTo>
                  <a:pt x="331" y="242"/>
                </a:lnTo>
                <a:lnTo>
                  <a:pt x="331" y="24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Heart 135"/>
          <p:cNvSpPr/>
          <p:nvPr/>
        </p:nvSpPr>
        <p:spPr bwMode="ltGray">
          <a:xfrm>
            <a:off x="4946747" y="3286655"/>
            <a:ext cx="197095" cy="197095"/>
          </a:xfrm>
          <a:prstGeom prst="hear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Freeform 89"/>
          <p:cNvSpPr>
            <a:spLocks noEditPoints="1"/>
          </p:cNvSpPr>
          <p:nvPr/>
        </p:nvSpPr>
        <p:spPr bwMode="auto">
          <a:xfrm>
            <a:off x="5451551" y="3515643"/>
            <a:ext cx="143732" cy="213505"/>
          </a:xfrm>
          <a:custGeom>
            <a:avLst/>
            <a:gdLst>
              <a:gd name="T0" fmla="*/ 138 w 1030"/>
              <a:gd name="T1" fmla="*/ 263 h 1529"/>
              <a:gd name="T2" fmla="*/ 246 w 1030"/>
              <a:gd name="T3" fmla="*/ 104 h 1529"/>
              <a:gd name="T4" fmla="*/ 414 w 1030"/>
              <a:gd name="T5" fmla="*/ 13 h 1529"/>
              <a:gd name="T6" fmla="*/ 594 w 1030"/>
              <a:gd name="T7" fmla="*/ 8 h 1529"/>
              <a:gd name="T8" fmla="*/ 768 w 1030"/>
              <a:gd name="T9" fmla="*/ 91 h 1529"/>
              <a:gd name="T10" fmla="*/ 882 w 1030"/>
              <a:gd name="T11" fmla="*/ 245 h 1529"/>
              <a:gd name="T12" fmla="*/ 913 w 1030"/>
              <a:gd name="T13" fmla="*/ 625 h 1529"/>
              <a:gd name="T14" fmla="*/ 770 w 1030"/>
              <a:gd name="T15" fmla="*/ 400 h 1529"/>
              <a:gd name="T16" fmla="*/ 657 w 1030"/>
              <a:gd name="T17" fmla="*/ 187 h 1529"/>
              <a:gd name="T18" fmla="*/ 437 w 1030"/>
              <a:gd name="T19" fmla="*/ 155 h 1529"/>
              <a:gd name="T20" fmla="*/ 269 w 1030"/>
              <a:gd name="T21" fmla="*/ 324 h 1529"/>
              <a:gd name="T22" fmla="*/ 163 w 1030"/>
              <a:gd name="T23" fmla="*/ 580 h 1529"/>
              <a:gd name="T24" fmla="*/ 1019 w 1030"/>
              <a:gd name="T25" fmla="*/ 1118 h 1529"/>
              <a:gd name="T26" fmla="*/ 912 w 1030"/>
              <a:gd name="T27" fmla="*/ 1341 h 1529"/>
              <a:gd name="T28" fmla="*/ 715 w 1030"/>
              <a:gd name="T29" fmla="*/ 1489 h 1529"/>
              <a:gd name="T30" fmla="*/ 488 w 1030"/>
              <a:gd name="T31" fmla="*/ 1528 h 1529"/>
              <a:gd name="T32" fmla="*/ 248 w 1030"/>
              <a:gd name="T33" fmla="*/ 1454 h 1529"/>
              <a:gd name="T34" fmla="*/ 74 w 1030"/>
              <a:gd name="T35" fmla="*/ 1281 h 1529"/>
              <a:gd name="T36" fmla="*/ 0 w 1030"/>
              <a:gd name="T37" fmla="*/ 1040 h 1529"/>
              <a:gd name="T38" fmla="*/ 40 w 1030"/>
              <a:gd name="T39" fmla="*/ 813 h 1529"/>
              <a:gd name="T40" fmla="*/ 187 w 1030"/>
              <a:gd name="T41" fmla="*/ 617 h 1529"/>
              <a:gd name="T42" fmla="*/ 412 w 1030"/>
              <a:gd name="T43" fmla="*/ 509 h 1529"/>
              <a:gd name="T44" fmla="*/ 643 w 1030"/>
              <a:gd name="T45" fmla="*/ 515 h 1529"/>
              <a:gd name="T46" fmla="*/ 861 w 1030"/>
              <a:gd name="T47" fmla="*/ 633 h 1529"/>
              <a:gd name="T48" fmla="*/ 998 w 1030"/>
              <a:gd name="T49" fmla="*/ 837 h 1529"/>
              <a:gd name="T50" fmla="*/ 899 w 1030"/>
              <a:gd name="T51" fmla="*/ 1016 h 1529"/>
              <a:gd name="T52" fmla="*/ 853 w 1030"/>
              <a:gd name="T53" fmla="*/ 833 h 1529"/>
              <a:gd name="T54" fmla="*/ 730 w 1030"/>
              <a:gd name="T55" fmla="*/ 697 h 1529"/>
              <a:gd name="T56" fmla="*/ 555 w 1030"/>
              <a:gd name="T57" fmla="*/ 633 h 1529"/>
              <a:gd name="T58" fmla="*/ 383 w 1030"/>
              <a:gd name="T59" fmla="*/ 655 h 1529"/>
              <a:gd name="T60" fmla="*/ 231 w 1030"/>
              <a:gd name="T61" fmla="*/ 758 h 1529"/>
              <a:gd name="T62" fmla="*/ 142 w 1030"/>
              <a:gd name="T63" fmla="*/ 920 h 1529"/>
              <a:gd name="T64" fmla="*/ 138 w 1030"/>
              <a:gd name="T65" fmla="*/ 1093 h 1529"/>
              <a:gd name="T66" fmla="*/ 218 w 1030"/>
              <a:gd name="T67" fmla="*/ 1261 h 1529"/>
              <a:gd name="T68" fmla="*/ 365 w 1030"/>
              <a:gd name="T69" fmla="*/ 1371 h 1529"/>
              <a:gd name="T70" fmla="*/ 535 w 1030"/>
              <a:gd name="T71" fmla="*/ 1400 h 1529"/>
              <a:gd name="T72" fmla="*/ 714 w 1030"/>
              <a:gd name="T73" fmla="*/ 1345 h 1529"/>
              <a:gd name="T74" fmla="*/ 844 w 1030"/>
              <a:gd name="T75" fmla="*/ 1216 h 1529"/>
              <a:gd name="T76" fmla="*/ 899 w 1030"/>
              <a:gd name="T77" fmla="*/ 1036 h 1529"/>
              <a:gd name="T78" fmla="*/ 822 w 1030"/>
              <a:gd name="T79" fmla="*/ 1112 h 1529"/>
              <a:gd name="T80" fmla="*/ 742 w 1030"/>
              <a:gd name="T81" fmla="*/ 1244 h 1529"/>
              <a:gd name="T82" fmla="*/ 610 w 1030"/>
              <a:gd name="T83" fmla="*/ 1324 h 1529"/>
              <a:gd name="T84" fmla="*/ 466 w 1030"/>
              <a:gd name="T85" fmla="*/ 1334 h 1529"/>
              <a:gd name="T86" fmla="*/ 322 w 1030"/>
              <a:gd name="T87" fmla="*/ 1274 h 1529"/>
              <a:gd name="T88" fmla="*/ 225 w 1030"/>
              <a:gd name="T89" fmla="*/ 1156 h 1529"/>
              <a:gd name="T90" fmla="*/ 192 w 1030"/>
              <a:gd name="T91" fmla="*/ 1016 h 1529"/>
              <a:gd name="T92" fmla="*/ 232 w 1030"/>
              <a:gd name="T93" fmla="*/ 863 h 1529"/>
              <a:gd name="T94" fmla="*/ 334 w 1030"/>
              <a:gd name="T95" fmla="*/ 749 h 1529"/>
              <a:gd name="T96" fmla="*/ 482 w 1030"/>
              <a:gd name="T97" fmla="*/ 696 h 1529"/>
              <a:gd name="T98" fmla="*/ 625 w 1030"/>
              <a:gd name="T99" fmla="*/ 714 h 1529"/>
              <a:gd name="T100" fmla="*/ 753 w 1030"/>
              <a:gd name="T101" fmla="*/ 799 h 1529"/>
              <a:gd name="T102" fmla="*/ 827 w 1030"/>
              <a:gd name="T103" fmla="*/ 935 h 1529"/>
              <a:gd name="T104" fmla="*/ 599 w 1030"/>
              <a:gd name="T105" fmla="*/ 916 h 1529"/>
              <a:gd name="T106" fmla="*/ 548 w 1030"/>
              <a:gd name="T107" fmla="*/ 852 h 1529"/>
              <a:gd name="T108" fmla="*/ 471 w 1030"/>
              <a:gd name="T109" fmla="*/ 856 h 1529"/>
              <a:gd name="T110" fmla="*/ 427 w 1030"/>
              <a:gd name="T111" fmla="*/ 924 h 1529"/>
              <a:gd name="T112" fmla="*/ 462 w 1030"/>
              <a:gd name="T113" fmla="*/ 1002 h 1529"/>
              <a:gd name="T114" fmla="*/ 476 w 1030"/>
              <a:gd name="T115" fmla="*/ 1225 h 1529"/>
              <a:gd name="T116" fmla="*/ 558 w 1030"/>
              <a:gd name="T117" fmla="*/ 1015 h 1529"/>
              <a:gd name="T118" fmla="*/ 599 w 1030"/>
              <a:gd name="T119" fmla="*/ 948 h 1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0" h="1529">
                <a:moveTo>
                  <a:pt x="114" y="628"/>
                </a:moveTo>
                <a:lnTo>
                  <a:pt x="114" y="400"/>
                </a:lnTo>
                <a:lnTo>
                  <a:pt x="114" y="400"/>
                </a:lnTo>
                <a:lnTo>
                  <a:pt x="114" y="380"/>
                </a:lnTo>
                <a:lnTo>
                  <a:pt x="116" y="359"/>
                </a:lnTo>
                <a:lnTo>
                  <a:pt x="119" y="339"/>
                </a:lnTo>
                <a:lnTo>
                  <a:pt x="122" y="320"/>
                </a:lnTo>
                <a:lnTo>
                  <a:pt x="127" y="300"/>
                </a:lnTo>
                <a:lnTo>
                  <a:pt x="133" y="282"/>
                </a:lnTo>
                <a:lnTo>
                  <a:pt x="138" y="263"/>
                </a:lnTo>
                <a:lnTo>
                  <a:pt x="145" y="245"/>
                </a:lnTo>
                <a:lnTo>
                  <a:pt x="153" y="228"/>
                </a:lnTo>
                <a:lnTo>
                  <a:pt x="163" y="210"/>
                </a:lnTo>
                <a:lnTo>
                  <a:pt x="172" y="193"/>
                </a:lnTo>
                <a:lnTo>
                  <a:pt x="182" y="177"/>
                </a:lnTo>
                <a:lnTo>
                  <a:pt x="194" y="162"/>
                </a:lnTo>
                <a:lnTo>
                  <a:pt x="205" y="146"/>
                </a:lnTo>
                <a:lnTo>
                  <a:pt x="218" y="132"/>
                </a:lnTo>
                <a:lnTo>
                  <a:pt x="232" y="118"/>
                </a:lnTo>
                <a:lnTo>
                  <a:pt x="246" y="104"/>
                </a:lnTo>
                <a:lnTo>
                  <a:pt x="259" y="91"/>
                </a:lnTo>
                <a:lnTo>
                  <a:pt x="274" y="80"/>
                </a:lnTo>
                <a:lnTo>
                  <a:pt x="290" y="68"/>
                </a:lnTo>
                <a:lnTo>
                  <a:pt x="307" y="58"/>
                </a:lnTo>
                <a:lnTo>
                  <a:pt x="324" y="49"/>
                </a:lnTo>
                <a:lnTo>
                  <a:pt x="341" y="40"/>
                </a:lnTo>
                <a:lnTo>
                  <a:pt x="359" y="32"/>
                </a:lnTo>
                <a:lnTo>
                  <a:pt x="377" y="25"/>
                </a:lnTo>
                <a:lnTo>
                  <a:pt x="395" y="19"/>
                </a:lnTo>
                <a:lnTo>
                  <a:pt x="414" y="13"/>
                </a:lnTo>
                <a:lnTo>
                  <a:pt x="433" y="8"/>
                </a:lnTo>
                <a:lnTo>
                  <a:pt x="453" y="5"/>
                </a:lnTo>
                <a:lnTo>
                  <a:pt x="473" y="3"/>
                </a:lnTo>
                <a:lnTo>
                  <a:pt x="493" y="2"/>
                </a:lnTo>
                <a:lnTo>
                  <a:pt x="514" y="0"/>
                </a:lnTo>
                <a:lnTo>
                  <a:pt x="514" y="0"/>
                </a:lnTo>
                <a:lnTo>
                  <a:pt x="534" y="2"/>
                </a:lnTo>
                <a:lnTo>
                  <a:pt x="555" y="3"/>
                </a:lnTo>
                <a:lnTo>
                  <a:pt x="574" y="5"/>
                </a:lnTo>
                <a:lnTo>
                  <a:pt x="594" y="8"/>
                </a:lnTo>
                <a:lnTo>
                  <a:pt x="613" y="13"/>
                </a:lnTo>
                <a:lnTo>
                  <a:pt x="633" y="19"/>
                </a:lnTo>
                <a:lnTo>
                  <a:pt x="651" y="25"/>
                </a:lnTo>
                <a:lnTo>
                  <a:pt x="669" y="32"/>
                </a:lnTo>
                <a:lnTo>
                  <a:pt x="687" y="40"/>
                </a:lnTo>
                <a:lnTo>
                  <a:pt x="704" y="49"/>
                </a:lnTo>
                <a:lnTo>
                  <a:pt x="721" y="58"/>
                </a:lnTo>
                <a:lnTo>
                  <a:pt x="737" y="68"/>
                </a:lnTo>
                <a:lnTo>
                  <a:pt x="753" y="80"/>
                </a:lnTo>
                <a:lnTo>
                  <a:pt x="768" y="91"/>
                </a:lnTo>
                <a:lnTo>
                  <a:pt x="782" y="104"/>
                </a:lnTo>
                <a:lnTo>
                  <a:pt x="797" y="118"/>
                </a:lnTo>
                <a:lnTo>
                  <a:pt x="809" y="132"/>
                </a:lnTo>
                <a:lnTo>
                  <a:pt x="822" y="146"/>
                </a:lnTo>
                <a:lnTo>
                  <a:pt x="834" y="162"/>
                </a:lnTo>
                <a:lnTo>
                  <a:pt x="845" y="177"/>
                </a:lnTo>
                <a:lnTo>
                  <a:pt x="855" y="193"/>
                </a:lnTo>
                <a:lnTo>
                  <a:pt x="865" y="210"/>
                </a:lnTo>
                <a:lnTo>
                  <a:pt x="874" y="228"/>
                </a:lnTo>
                <a:lnTo>
                  <a:pt x="882" y="245"/>
                </a:lnTo>
                <a:lnTo>
                  <a:pt x="889" y="263"/>
                </a:lnTo>
                <a:lnTo>
                  <a:pt x="896" y="282"/>
                </a:lnTo>
                <a:lnTo>
                  <a:pt x="900" y="300"/>
                </a:lnTo>
                <a:lnTo>
                  <a:pt x="905" y="320"/>
                </a:lnTo>
                <a:lnTo>
                  <a:pt x="908" y="339"/>
                </a:lnTo>
                <a:lnTo>
                  <a:pt x="911" y="359"/>
                </a:lnTo>
                <a:lnTo>
                  <a:pt x="913" y="380"/>
                </a:lnTo>
                <a:lnTo>
                  <a:pt x="913" y="400"/>
                </a:lnTo>
                <a:lnTo>
                  <a:pt x="913" y="625"/>
                </a:lnTo>
                <a:lnTo>
                  <a:pt x="913" y="625"/>
                </a:lnTo>
                <a:lnTo>
                  <a:pt x="898" y="609"/>
                </a:lnTo>
                <a:lnTo>
                  <a:pt x="881" y="593"/>
                </a:lnTo>
                <a:lnTo>
                  <a:pt x="865" y="578"/>
                </a:lnTo>
                <a:lnTo>
                  <a:pt x="846" y="564"/>
                </a:lnTo>
                <a:lnTo>
                  <a:pt x="829" y="550"/>
                </a:lnTo>
                <a:lnTo>
                  <a:pt x="809" y="538"/>
                </a:lnTo>
                <a:lnTo>
                  <a:pt x="791" y="525"/>
                </a:lnTo>
                <a:lnTo>
                  <a:pt x="770" y="513"/>
                </a:lnTo>
                <a:lnTo>
                  <a:pt x="770" y="400"/>
                </a:lnTo>
                <a:lnTo>
                  <a:pt x="770" y="400"/>
                </a:lnTo>
                <a:lnTo>
                  <a:pt x="769" y="374"/>
                </a:lnTo>
                <a:lnTo>
                  <a:pt x="765" y="349"/>
                </a:lnTo>
                <a:lnTo>
                  <a:pt x="759" y="324"/>
                </a:lnTo>
                <a:lnTo>
                  <a:pt x="751" y="300"/>
                </a:lnTo>
                <a:lnTo>
                  <a:pt x="739" y="278"/>
                </a:lnTo>
                <a:lnTo>
                  <a:pt x="726" y="256"/>
                </a:lnTo>
                <a:lnTo>
                  <a:pt x="711" y="237"/>
                </a:lnTo>
                <a:lnTo>
                  <a:pt x="695" y="218"/>
                </a:lnTo>
                <a:lnTo>
                  <a:pt x="677" y="202"/>
                </a:lnTo>
                <a:lnTo>
                  <a:pt x="657" y="187"/>
                </a:lnTo>
                <a:lnTo>
                  <a:pt x="636" y="174"/>
                </a:lnTo>
                <a:lnTo>
                  <a:pt x="613" y="164"/>
                </a:lnTo>
                <a:lnTo>
                  <a:pt x="590" y="155"/>
                </a:lnTo>
                <a:lnTo>
                  <a:pt x="565" y="149"/>
                </a:lnTo>
                <a:lnTo>
                  <a:pt x="540" y="145"/>
                </a:lnTo>
                <a:lnTo>
                  <a:pt x="514" y="143"/>
                </a:lnTo>
                <a:lnTo>
                  <a:pt x="514" y="143"/>
                </a:lnTo>
                <a:lnTo>
                  <a:pt x="488" y="145"/>
                </a:lnTo>
                <a:lnTo>
                  <a:pt x="462" y="149"/>
                </a:lnTo>
                <a:lnTo>
                  <a:pt x="437" y="155"/>
                </a:lnTo>
                <a:lnTo>
                  <a:pt x="414" y="164"/>
                </a:lnTo>
                <a:lnTo>
                  <a:pt x="392" y="174"/>
                </a:lnTo>
                <a:lnTo>
                  <a:pt x="370" y="187"/>
                </a:lnTo>
                <a:lnTo>
                  <a:pt x="350" y="202"/>
                </a:lnTo>
                <a:lnTo>
                  <a:pt x="332" y="218"/>
                </a:lnTo>
                <a:lnTo>
                  <a:pt x="316" y="237"/>
                </a:lnTo>
                <a:lnTo>
                  <a:pt x="301" y="256"/>
                </a:lnTo>
                <a:lnTo>
                  <a:pt x="288" y="278"/>
                </a:lnTo>
                <a:lnTo>
                  <a:pt x="277" y="300"/>
                </a:lnTo>
                <a:lnTo>
                  <a:pt x="269" y="324"/>
                </a:lnTo>
                <a:lnTo>
                  <a:pt x="262" y="349"/>
                </a:lnTo>
                <a:lnTo>
                  <a:pt x="258" y="374"/>
                </a:lnTo>
                <a:lnTo>
                  <a:pt x="257" y="400"/>
                </a:lnTo>
                <a:lnTo>
                  <a:pt x="257" y="515"/>
                </a:lnTo>
                <a:lnTo>
                  <a:pt x="257" y="515"/>
                </a:lnTo>
                <a:lnTo>
                  <a:pt x="237" y="526"/>
                </a:lnTo>
                <a:lnTo>
                  <a:pt x="218" y="539"/>
                </a:lnTo>
                <a:lnTo>
                  <a:pt x="199" y="551"/>
                </a:lnTo>
                <a:lnTo>
                  <a:pt x="181" y="565"/>
                </a:lnTo>
                <a:lnTo>
                  <a:pt x="163" y="580"/>
                </a:lnTo>
                <a:lnTo>
                  <a:pt x="146" y="595"/>
                </a:lnTo>
                <a:lnTo>
                  <a:pt x="130" y="611"/>
                </a:lnTo>
                <a:lnTo>
                  <a:pt x="114" y="628"/>
                </a:lnTo>
                <a:lnTo>
                  <a:pt x="114" y="628"/>
                </a:lnTo>
                <a:close/>
                <a:moveTo>
                  <a:pt x="1030" y="1014"/>
                </a:moveTo>
                <a:lnTo>
                  <a:pt x="1030" y="1014"/>
                </a:lnTo>
                <a:lnTo>
                  <a:pt x="1030" y="1040"/>
                </a:lnTo>
                <a:lnTo>
                  <a:pt x="1027" y="1067"/>
                </a:lnTo>
                <a:lnTo>
                  <a:pt x="1024" y="1092"/>
                </a:lnTo>
                <a:lnTo>
                  <a:pt x="1019" y="1118"/>
                </a:lnTo>
                <a:lnTo>
                  <a:pt x="1013" y="1143"/>
                </a:lnTo>
                <a:lnTo>
                  <a:pt x="1006" y="1167"/>
                </a:lnTo>
                <a:lnTo>
                  <a:pt x="998" y="1191"/>
                </a:lnTo>
                <a:lnTo>
                  <a:pt x="989" y="1214"/>
                </a:lnTo>
                <a:lnTo>
                  <a:pt x="979" y="1237"/>
                </a:lnTo>
                <a:lnTo>
                  <a:pt x="967" y="1259"/>
                </a:lnTo>
                <a:lnTo>
                  <a:pt x="955" y="1281"/>
                </a:lnTo>
                <a:lnTo>
                  <a:pt x="942" y="1302"/>
                </a:lnTo>
                <a:lnTo>
                  <a:pt x="927" y="1322"/>
                </a:lnTo>
                <a:lnTo>
                  <a:pt x="912" y="1341"/>
                </a:lnTo>
                <a:lnTo>
                  <a:pt x="896" y="1361"/>
                </a:lnTo>
                <a:lnTo>
                  <a:pt x="878" y="1378"/>
                </a:lnTo>
                <a:lnTo>
                  <a:pt x="861" y="1395"/>
                </a:lnTo>
                <a:lnTo>
                  <a:pt x="842" y="1412"/>
                </a:lnTo>
                <a:lnTo>
                  <a:pt x="823" y="1427"/>
                </a:lnTo>
                <a:lnTo>
                  <a:pt x="802" y="1442"/>
                </a:lnTo>
                <a:lnTo>
                  <a:pt x="782" y="1454"/>
                </a:lnTo>
                <a:lnTo>
                  <a:pt x="760" y="1467"/>
                </a:lnTo>
                <a:lnTo>
                  <a:pt x="738" y="1478"/>
                </a:lnTo>
                <a:lnTo>
                  <a:pt x="715" y="1489"/>
                </a:lnTo>
                <a:lnTo>
                  <a:pt x="692" y="1498"/>
                </a:lnTo>
                <a:lnTo>
                  <a:pt x="667" y="1506"/>
                </a:lnTo>
                <a:lnTo>
                  <a:pt x="643" y="1513"/>
                </a:lnTo>
                <a:lnTo>
                  <a:pt x="618" y="1519"/>
                </a:lnTo>
                <a:lnTo>
                  <a:pt x="593" y="1523"/>
                </a:lnTo>
                <a:lnTo>
                  <a:pt x="567" y="1527"/>
                </a:lnTo>
                <a:lnTo>
                  <a:pt x="541" y="1528"/>
                </a:lnTo>
                <a:lnTo>
                  <a:pt x="514" y="1529"/>
                </a:lnTo>
                <a:lnTo>
                  <a:pt x="514" y="1529"/>
                </a:lnTo>
                <a:lnTo>
                  <a:pt x="488" y="1528"/>
                </a:lnTo>
                <a:lnTo>
                  <a:pt x="462" y="1527"/>
                </a:lnTo>
                <a:lnTo>
                  <a:pt x="436" y="1523"/>
                </a:lnTo>
                <a:lnTo>
                  <a:pt x="412" y="1519"/>
                </a:lnTo>
                <a:lnTo>
                  <a:pt x="386" y="1513"/>
                </a:lnTo>
                <a:lnTo>
                  <a:pt x="362" y="1506"/>
                </a:lnTo>
                <a:lnTo>
                  <a:pt x="338" y="1498"/>
                </a:lnTo>
                <a:lnTo>
                  <a:pt x="315" y="1489"/>
                </a:lnTo>
                <a:lnTo>
                  <a:pt x="292" y="1478"/>
                </a:lnTo>
                <a:lnTo>
                  <a:pt x="270" y="1467"/>
                </a:lnTo>
                <a:lnTo>
                  <a:pt x="248" y="1454"/>
                </a:lnTo>
                <a:lnTo>
                  <a:pt x="227" y="1442"/>
                </a:lnTo>
                <a:lnTo>
                  <a:pt x="206" y="1427"/>
                </a:lnTo>
                <a:lnTo>
                  <a:pt x="187" y="1412"/>
                </a:lnTo>
                <a:lnTo>
                  <a:pt x="168" y="1395"/>
                </a:lnTo>
                <a:lnTo>
                  <a:pt x="151" y="1378"/>
                </a:lnTo>
                <a:lnTo>
                  <a:pt x="134" y="1361"/>
                </a:lnTo>
                <a:lnTo>
                  <a:pt x="118" y="1341"/>
                </a:lnTo>
                <a:lnTo>
                  <a:pt x="101" y="1322"/>
                </a:lnTo>
                <a:lnTo>
                  <a:pt x="88" y="1302"/>
                </a:lnTo>
                <a:lnTo>
                  <a:pt x="74" y="1281"/>
                </a:lnTo>
                <a:lnTo>
                  <a:pt x="62" y="1259"/>
                </a:lnTo>
                <a:lnTo>
                  <a:pt x="51" y="1237"/>
                </a:lnTo>
                <a:lnTo>
                  <a:pt x="40" y="1214"/>
                </a:lnTo>
                <a:lnTo>
                  <a:pt x="31" y="1191"/>
                </a:lnTo>
                <a:lnTo>
                  <a:pt x="23" y="1167"/>
                </a:lnTo>
                <a:lnTo>
                  <a:pt x="16" y="1143"/>
                </a:lnTo>
                <a:lnTo>
                  <a:pt x="10" y="1118"/>
                </a:lnTo>
                <a:lnTo>
                  <a:pt x="6" y="1092"/>
                </a:lnTo>
                <a:lnTo>
                  <a:pt x="2" y="1067"/>
                </a:lnTo>
                <a:lnTo>
                  <a:pt x="0" y="1040"/>
                </a:lnTo>
                <a:lnTo>
                  <a:pt x="0" y="1014"/>
                </a:lnTo>
                <a:lnTo>
                  <a:pt x="0" y="1014"/>
                </a:lnTo>
                <a:lnTo>
                  <a:pt x="0" y="987"/>
                </a:lnTo>
                <a:lnTo>
                  <a:pt x="2" y="962"/>
                </a:lnTo>
                <a:lnTo>
                  <a:pt x="6" y="935"/>
                </a:lnTo>
                <a:lnTo>
                  <a:pt x="10" y="910"/>
                </a:lnTo>
                <a:lnTo>
                  <a:pt x="16" y="886"/>
                </a:lnTo>
                <a:lnTo>
                  <a:pt x="23" y="860"/>
                </a:lnTo>
                <a:lnTo>
                  <a:pt x="31" y="837"/>
                </a:lnTo>
                <a:lnTo>
                  <a:pt x="40" y="813"/>
                </a:lnTo>
                <a:lnTo>
                  <a:pt x="51" y="791"/>
                </a:lnTo>
                <a:lnTo>
                  <a:pt x="62" y="768"/>
                </a:lnTo>
                <a:lnTo>
                  <a:pt x="74" y="747"/>
                </a:lnTo>
                <a:lnTo>
                  <a:pt x="88" y="727"/>
                </a:lnTo>
                <a:lnTo>
                  <a:pt x="101" y="706"/>
                </a:lnTo>
                <a:lnTo>
                  <a:pt x="118" y="686"/>
                </a:lnTo>
                <a:lnTo>
                  <a:pt x="134" y="668"/>
                </a:lnTo>
                <a:lnTo>
                  <a:pt x="151" y="649"/>
                </a:lnTo>
                <a:lnTo>
                  <a:pt x="168" y="633"/>
                </a:lnTo>
                <a:lnTo>
                  <a:pt x="187" y="617"/>
                </a:lnTo>
                <a:lnTo>
                  <a:pt x="206" y="601"/>
                </a:lnTo>
                <a:lnTo>
                  <a:pt x="227" y="587"/>
                </a:lnTo>
                <a:lnTo>
                  <a:pt x="248" y="573"/>
                </a:lnTo>
                <a:lnTo>
                  <a:pt x="270" y="561"/>
                </a:lnTo>
                <a:lnTo>
                  <a:pt x="292" y="550"/>
                </a:lnTo>
                <a:lnTo>
                  <a:pt x="315" y="540"/>
                </a:lnTo>
                <a:lnTo>
                  <a:pt x="338" y="531"/>
                </a:lnTo>
                <a:lnTo>
                  <a:pt x="362" y="523"/>
                </a:lnTo>
                <a:lnTo>
                  <a:pt x="386" y="515"/>
                </a:lnTo>
                <a:lnTo>
                  <a:pt x="412" y="509"/>
                </a:lnTo>
                <a:lnTo>
                  <a:pt x="436" y="505"/>
                </a:lnTo>
                <a:lnTo>
                  <a:pt x="462" y="502"/>
                </a:lnTo>
                <a:lnTo>
                  <a:pt x="488" y="500"/>
                </a:lnTo>
                <a:lnTo>
                  <a:pt x="514" y="498"/>
                </a:lnTo>
                <a:lnTo>
                  <a:pt x="514" y="498"/>
                </a:lnTo>
                <a:lnTo>
                  <a:pt x="541" y="500"/>
                </a:lnTo>
                <a:lnTo>
                  <a:pt x="567" y="502"/>
                </a:lnTo>
                <a:lnTo>
                  <a:pt x="593" y="505"/>
                </a:lnTo>
                <a:lnTo>
                  <a:pt x="618" y="509"/>
                </a:lnTo>
                <a:lnTo>
                  <a:pt x="643" y="515"/>
                </a:lnTo>
                <a:lnTo>
                  <a:pt x="667" y="523"/>
                </a:lnTo>
                <a:lnTo>
                  <a:pt x="692" y="531"/>
                </a:lnTo>
                <a:lnTo>
                  <a:pt x="715" y="540"/>
                </a:lnTo>
                <a:lnTo>
                  <a:pt x="738" y="550"/>
                </a:lnTo>
                <a:lnTo>
                  <a:pt x="760" y="561"/>
                </a:lnTo>
                <a:lnTo>
                  <a:pt x="782" y="573"/>
                </a:lnTo>
                <a:lnTo>
                  <a:pt x="802" y="587"/>
                </a:lnTo>
                <a:lnTo>
                  <a:pt x="823" y="601"/>
                </a:lnTo>
                <a:lnTo>
                  <a:pt x="842" y="617"/>
                </a:lnTo>
                <a:lnTo>
                  <a:pt x="861" y="633"/>
                </a:lnTo>
                <a:lnTo>
                  <a:pt x="878" y="649"/>
                </a:lnTo>
                <a:lnTo>
                  <a:pt x="896" y="668"/>
                </a:lnTo>
                <a:lnTo>
                  <a:pt x="912" y="686"/>
                </a:lnTo>
                <a:lnTo>
                  <a:pt x="927" y="706"/>
                </a:lnTo>
                <a:lnTo>
                  <a:pt x="942" y="727"/>
                </a:lnTo>
                <a:lnTo>
                  <a:pt x="955" y="747"/>
                </a:lnTo>
                <a:lnTo>
                  <a:pt x="967" y="768"/>
                </a:lnTo>
                <a:lnTo>
                  <a:pt x="979" y="791"/>
                </a:lnTo>
                <a:lnTo>
                  <a:pt x="989" y="813"/>
                </a:lnTo>
                <a:lnTo>
                  <a:pt x="998" y="837"/>
                </a:lnTo>
                <a:lnTo>
                  <a:pt x="1006" y="860"/>
                </a:lnTo>
                <a:lnTo>
                  <a:pt x="1013" y="886"/>
                </a:lnTo>
                <a:lnTo>
                  <a:pt x="1019" y="910"/>
                </a:lnTo>
                <a:lnTo>
                  <a:pt x="1024" y="935"/>
                </a:lnTo>
                <a:lnTo>
                  <a:pt x="1027" y="962"/>
                </a:lnTo>
                <a:lnTo>
                  <a:pt x="1030" y="987"/>
                </a:lnTo>
                <a:lnTo>
                  <a:pt x="1030" y="1014"/>
                </a:lnTo>
                <a:lnTo>
                  <a:pt x="1030" y="1014"/>
                </a:lnTo>
                <a:close/>
                <a:moveTo>
                  <a:pt x="899" y="1016"/>
                </a:moveTo>
                <a:lnTo>
                  <a:pt x="899" y="1016"/>
                </a:lnTo>
                <a:lnTo>
                  <a:pt x="899" y="997"/>
                </a:lnTo>
                <a:lnTo>
                  <a:pt x="897" y="977"/>
                </a:lnTo>
                <a:lnTo>
                  <a:pt x="895" y="957"/>
                </a:lnTo>
                <a:lnTo>
                  <a:pt x="891" y="939"/>
                </a:lnTo>
                <a:lnTo>
                  <a:pt x="888" y="920"/>
                </a:lnTo>
                <a:lnTo>
                  <a:pt x="882" y="902"/>
                </a:lnTo>
                <a:lnTo>
                  <a:pt x="876" y="884"/>
                </a:lnTo>
                <a:lnTo>
                  <a:pt x="869" y="866"/>
                </a:lnTo>
                <a:lnTo>
                  <a:pt x="861" y="850"/>
                </a:lnTo>
                <a:lnTo>
                  <a:pt x="853" y="833"/>
                </a:lnTo>
                <a:lnTo>
                  <a:pt x="844" y="817"/>
                </a:lnTo>
                <a:lnTo>
                  <a:pt x="834" y="802"/>
                </a:lnTo>
                <a:lnTo>
                  <a:pt x="823" y="787"/>
                </a:lnTo>
                <a:lnTo>
                  <a:pt x="812" y="772"/>
                </a:lnTo>
                <a:lnTo>
                  <a:pt x="799" y="758"/>
                </a:lnTo>
                <a:lnTo>
                  <a:pt x="786" y="744"/>
                </a:lnTo>
                <a:lnTo>
                  <a:pt x="774" y="731"/>
                </a:lnTo>
                <a:lnTo>
                  <a:pt x="760" y="720"/>
                </a:lnTo>
                <a:lnTo>
                  <a:pt x="745" y="708"/>
                </a:lnTo>
                <a:lnTo>
                  <a:pt x="730" y="697"/>
                </a:lnTo>
                <a:lnTo>
                  <a:pt x="714" y="688"/>
                </a:lnTo>
                <a:lnTo>
                  <a:pt x="697" y="678"/>
                </a:lnTo>
                <a:lnTo>
                  <a:pt x="681" y="669"/>
                </a:lnTo>
                <a:lnTo>
                  <a:pt x="664" y="662"/>
                </a:lnTo>
                <a:lnTo>
                  <a:pt x="647" y="655"/>
                </a:lnTo>
                <a:lnTo>
                  <a:pt x="629" y="648"/>
                </a:lnTo>
                <a:lnTo>
                  <a:pt x="611" y="644"/>
                </a:lnTo>
                <a:lnTo>
                  <a:pt x="593" y="639"/>
                </a:lnTo>
                <a:lnTo>
                  <a:pt x="573" y="636"/>
                </a:lnTo>
                <a:lnTo>
                  <a:pt x="555" y="633"/>
                </a:lnTo>
                <a:lnTo>
                  <a:pt x="535" y="632"/>
                </a:lnTo>
                <a:lnTo>
                  <a:pt x="514" y="631"/>
                </a:lnTo>
                <a:lnTo>
                  <a:pt x="514" y="631"/>
                </a:lnTo>
                <a:lnTo>
                  <a:pt x="495" y="632"/>
                </a:lnTo>
                <a:lnTo>
                  <a:pt x="475" y="633"/>
                </a:lnTo>
                <a:lnTo>
                  <a:pt x="457" y="636"/>
                </a:lnTo>
                <a:lnTo>
                  <a:pt x="437" y="639"/>
                </a:lnTo>
                <a:lnTo>
                  <a:pt x="418" y="644"/>
                </a:lnTo>
                <a:lnTo>
                  <a:pt x="400" y="648"/>
                </a:lnTo>
                <a:lnTo>
                  <a:pt x="383" y="655"/>
                </a:lnTo>
                <a:lnTo>
                  <a:pt x="365" y="662"/>
                </a:lnTo>
                <a:lnTo>
                  <a:pt x="348" y="669"/>
                </a:lnTo>
                <a:lnTo>
                  <a:pt x="332" y="678"/>
                </a:lnTo>
                <a:lnTo>
                  <a:pt x="316" y="688"/>
                </a:lnTo>
                <a:lnTo>
                  <a:pt x="300" y="697"/>
                </a:lnTo>
                <a:lnTo>
                  <a:pt x="285" y="708"/>
                </a:lnTo>
                <a:lnTo>
                  <a:pt x="270" y="720"/>
                </a:lnTo>
                <a:lnTo>
                  <a:pt x="256" y="731"/>
                </a:lnTo>
                <a:lnTo>
                  <a:pt x="243" y="744"/>
                </a:lnTo>
                <a:lnTo>
                  <a:pt x="231" y="758"/>
                </a:lnTo>
                <a:lnTo>
                  <a:pt x="218" y="772"/>
                </a:lnTo>
                <a:lnTo>
                  <a:pt x="206" y="787"/>
                </a:lnTo>
                <a:lnTo>
                  <a:pt x="196" y="802"/>
                </a:lnTo>
                <a:lnTo>
                  <a:pt x="186" y="817"/>
                </a:lnTo>
                <a:lnTo>
                  <a:pt x="176" y="833"/>
                </a:lnTo>
                <a:lnTo>
                  <a:pt x="168" y="850"/>
                </a:lnTo>
                <a:lnTo>
                  <a:pt x="160" y="866"/>
                </a:lnTo>
                <a:lnTo>
                  <a:pt x="153" y="884"/>
                </a:lnTo>
                <a:lnTo>
                  <a:pt x="148" y="902"/>
                </a:lnTo>
                <a:lnTo>
                  <a:pt x="142" y="920"/>
                </a:lnTo>
                <a:lnTo>
                  <a:pt x="138" y="939"/>
                </a:lnTo>
                <a:lnTo>
                  <a:pt x="135" y="957"/>
                </a:lnTo>
                <a:lnTo>
                  <a:pt x="131" y="977"/>
                </a:lnTo>
                <a:lnTo>
                  <a:pt x="130" y="997"/>
                </a:lnTo>
                <a:lnTo>
                  <a:pt x="130" y="1016"/>
                </a:lnTo>
                <a:lnTo>
                  <a:pt x="130" y="1016"/>
                </a:lnTo>
                <a:lnTo>
                  <a:pt x="130" y="1036"/>
                </a:lnTo>
                <a:lnTo>
                  <a:pt x="131" y="1055"/>
                </a:lnTo>
                <a:lnTo>
                  <a:pt x="135" y="1075"/>
                </a:lnTo>
                <a:lnTo>
                  <a:pt x="138" y="1093"/>
                </a:lnTo>
                <a:lnTo>
                  <a:pt x="142" y="1112"/>
                </a:lnTo>
                <a:lnTo>
                  <a:pt x="148" y="1130"/>
                </a:lnTo>
                <a:lnTo>
                  <a:pt x="153" y="1149"/>
                </a:lnTo>
                <a:lnTo>
                  <a:pt x="160" y="1166"/>
                </a:lnTo>
                <a:lnTo>
                  <a:pt x="168" y="1183"/>
                </a:lnTo>
                <a:lnTo>
                  <a:pt x="176" y="1199"/>
                </a:lnTo>
                <a:lnTo>
                  <a:pt x="186" y="1216"/>
                </a:lnTo>
                <a:lnTo>
                  <a:pt x="196" y="1232"/>
                </a:lnTo>
                <a:lnTo>
                  <a:pt x="206" y="1247"/>
                </a:lnTo>
                <a:lnTo>
                  <a:pt x="218" y="1261"/>
                </a:lnTo>
                <a:lnTo>
                  <a:pt x="231" y="1274"/>
                </a:lnTo>
                <a:lnTo>
                  <a:pt x="243" y="1288"/>
                </a:lnTo>
                <a:lnTo>
                  <a:pt x="256" y="1301"/>
                </a:lnTo>
                <a:lnTo>
                  <a:pt x="270" y="1312"/>
                </a:lnTo>
                <a:lnTo>
                  <a:pt x="285" y="1324"/>
                </a:lnTo>
                <a:lnTo>
                  <a:pt x="300" y="1335"/>
                </a:lnTo>
                <a:lnTo>
                  <a:pt x="316" y="1345"/>
                </a:lnTo>
                <a:lnTo>
                  <a:pt x="332" y="1354"/>
                </a:lnTo>
                <a:lnTo>
                  <a:pt x="348" y="1363"/>
                </a:lnTo>
                <a:lnTo>
                  <a:pt x="365" y="1371"/>
                </a:lnTo>
                <a:lnTo>
                  <a:pt x="383" y="1377"/>
                </a:lnTo>
                <a:lnTo>
                  <a:pt x="400" y="1384"/>
                </a:lnTo>
                <a:lnTo>
                  <a:pt x="418" y="1389"/>
                </a:lnTo>
                <a:lnTo>
                  <a:pt x="437" y="1393"/>
                </a:lnTo>
                <a:lnTo>
                  <a:pt x="457" y="1397"/>
                </a:lnTo>
                <a:lnTo>
                  <a:pt x="475" y="1399"/>
                </a:lnTo>
                <a:lnTo>
                  <a:pt x="495" y="1400"/>
                </a:lnTo>
                <a:lnTo>
                  <a:pt x="514" y="1401"/>
                </a:lnTo>
                <a:lnTo>
                  <a:pt x="514" y="1401"/>
                </a:lnTo>
                <a:lnTo>
                  <a:pt x="535" y="1400"/>
                </a:lnTo>
                <a:lnTo>
                  <a:pt x="555" y="1399"/>
                </a:lnTo>
                <a:lnTo>
                  <a:pt x="573" y="1397"/>
                </a:lnTo>
                <a:lnTo>
                  <a:pt x="593" y="1393"/>
                </a:lnTo>
                <a:lnTo>
                  <a:pt x="611" y="1389"/>
                </a:lnTo>
                <a:lnTo>
                  <a:pt x="629" y="1384"/>
                </a:lnTo>
                <a:lnTo>
                  <a:pt x="647" y="1377"/>
                </a:lnTo>
                <a:lnTo>
                  <a:pt x="664" y="1371"/>
                </a:lnTo>
                <a:lnTo>
                  <a:pt x="681" y="1363"/>
                </a:lnTo>
                <a:lnTo>
                  <a:pt x="697" y="1354"/>
                </a:lnTo>
                <a:lnTo>
                  <a:pt x="714" y="1345"/>
                </a:lnTo>
                <a:lnTo>
                  <a:pt x="730" y="1335"/>
                </a:lnTo>
                <a:lnTo>
                  <a:pt x="745" y="1324"/>
                </a:lnTo>
                <a:lnTo>
                  <a:pt x="760" y="1312"/>
                </a:lnTo>
                <a:lnTo>
                  <a:pt x="774" y="1301"/>
                </a:lnTo>
                <a:lnTo>
                  <a:pt x="786" y="1288"/>
                </a:lnTo>
                <a:lnTo>
                  <a:pt x="799" y="1274"/>
                </a:lnTo>
                <a:lnTo>
                  <a:pt x="812" y="1261"/>
                </a:lnTo>
                <a:lnTo>
                  <a:pt x="823" y="1247"/>
                </a:lnTo>
                <a:lnTo>
                  <a:pt x="834" y="1232"/>
                </a:lnTo>
                <a:lnTo>
                  <a:pt x="844" y="1216"/>
                </a:lnTo>
                <a:lnTo>
                  <a:pt x="853" y="1199"/>
                </a:lnTo>
                <a:lnTo>
                  <a:pt x="861" y="1183"/>
                </a:lnTo>
                <a:lnTo>
                  <a:pt x="869" y="1166"/>
                </a:lnTo>
                <a:lnTo>
                  <a:pt x="876" y="1149"/>
                </a:lnTo>
                <a:lnTo>
                  <a:pt x="882" y="1130"/>
                </a:lnTo>
                <a:lnTo>
                  <a:pt x="888" y="1112"/>
                </a:lnTo>
                <a:lnTo>
                  <a:pt x="891" y="1093"/>
                </a:lnTo>
                <a:lnTo>
                  <a:pt x="895" y="1075"/>
                </a:lnTo>
                <a:lnTo>
                  <a:pt x="897" y="1055"/>
                </a:lnTo>
                <a:lnTo>
                  <a:pt x="899" y="1036"/>
                </a:lnTo>
                <a:lnTo>
                  <a:pt x="899" y="1016"/>
                </a:lnTo>
                <a:lnTo>
                  <a:pt x="899" y="1016"/>
                </a:lnTo>
                <a:close/>
                <a:moveTo>
                  <a:pt x="837" y="1016"/>
                </a:moveTo>
                <a:lnTo>
                  <a:pt x="837" y="1016"/>
                </a:lnTo>
                <a:lnTo>
                  <a:pt x="837" y="1032"/>
                </a:lnTo>
                <a:lnTo>
                  <a:pt x="836" y="1050"/>
                </a:lnTo>
                <a:lnTo>
                  <a:pt x="834" y="1066"/>
                </a:lnTo>
                <a:lnTo>
                  <a:pt x="830" y="1081"/>
                </a:lnTo>
                <a:lnTo>
                  <a:pt x="827" y="1097"/>
                </a:lnTo>
                <a:lnTo>
                  <a:pt x="822" y="1112"/>
                </a:lnTo>
                <a:lnTo>
                  <a:pt x="817" y="1127"/>
                </a:lnTo>
                <a:lnTo>
                  <a:pt x="812" y="1142"/>
                </a:lnTo>
                <a:lnTo>
                  <a:pt x="805" y="1156"/>
                </a:lnTo>
                <a:lnTo>
                  <a:pt x="798" y="1169"/>
                </a:lnTo>
                <a:lnTo>
                  <a:pt x="790" y="1183"/>
                </a:lnTo>
                <a:lnTo>
                  <a:pt x="782" y="1196"/>
                </a:lnTo>
                <a:lnTo>
                  <a:pt x="772" y="1209"/>
                </a:lnTo>
                <a:lnTo>
                  <a:pt x="763" y="1221"/>
                </a:lnTo>
                <a:lnTo>
                  <a:pt x="753" y="1233"/>
                </a:lnTo>
                <a:lnTo>
                  <a:pt x="742" y="1244"/>
                </a:lnTo>
                <a:lnTo>
                  <a:pt x="731" y="1255"/>
                </a:lnTo>
                <a:lnTo>
                  <a:pt x="719" y="1265"/>
                </a:lnTo>
                <a:lnTo>
                  <a:pt x="708" y="1274"/>
                </a:lnTo>
                <a:lnTo>
                  <a:pt x="695" y="1284"/>
                </a:lnTo>
                <a:lnTo>
                  <a:pt x="681" y="1292"/>
                </a:lnTo>
                <a:lnTo>
                  <a:pt x="669" y="1300"/>
                </a:lnTo>
                <a:lnTo>
                  <a:pt x="655" y="1307"/>
                </a:lnTo>
                <a:lnTo>
                  <a:pt x="640" y="1314"/>
                </a:lnTo>
                <a:lnTo>
                  <a:pt x="625" y="1319"/>
                </a:lnTo>
                <a:lnTo>
                  <a:pt x="610" y="1324"/>
                </a:lnTo>
                <a:lnTo>
                  <a:pt x="595" y="1329"/>
                </a:lnTo>
                <a:lnTo>
                  <a:pt x="580" y="1332"/>
                </a:lnTo>
                <a:lnTo>
                  <a:pt x="564" y="1334"/>
                </a:lnTo>
                <a:lnTo>
                  <a:pt x="548" y="1337"/>
                </a:lnTo>
                <a:lnTo>
                  <a:pt x="531" y="1338"/>
                </a:lnTo>
                <a:lnTo>
                  <a:pt x="514" y="1339"/>
                </a:lnTo>
                <a:lnTo>
                  <a:pt x="514" y="1339"/>
                </a:lnTo>
                <a:lnTo>
                  <a:pt x="498" y="1338"/>
                </a:lnTo>
                <a:lnTo>
                  <a:pt x="482" y="1337"/>
                </a:lnTo>
                <a:lnTo>
                  <a:pt x="466" y="1334"/>
                </a:lnTo>
                <a:lnTo>
                  <a:pt x="450" y="1332"/>
                </a:lnTo>
                <a:lnTo>
                  <a:pt x="435" y="1329"/>
                </a:lnTo>
                <a:lnTo>
                  <a:pt x="418" y="1324"/>
                </a:lnTo>
                <a:lnTo>
                  <a:pt x="403" y="1319"/>
                </a:lnTo>
                <a:lnTo>
                  <a:pt x="390" y="1314"/>
                </a:lnTo>
                <a:lnTo>
                  <a:pt x="375" y="1307"/>
                </a:lnTo>
                <a:lnTo>
                  <a:pt x="361" y="1300"/>
                </a:lnTo>
                <a:lnTo>
                  <a:pt x="348" y="1292"/>
                </a:lnTo>
                <a:lnTo>
                  <a:pt x="334" y="1284"/>
                </a:lnTo>
                <a:lnTo>
                  <a:pt x="322" y="1274"/>
                </a:lnTo>
                <a:lnTo>
                  <a:pt x="310" y="1265"/>
                </a:lnTo>
                <a:lnTo>
                  <a:pt x="299" y="1255"/>
                </a:lnTo>
                <a:lnTo>
                  <a:pt x="287" y="1244"/>
                </a:lnTo>
                <a:lnTo>
                  <a:pt x="277" y="1233"/>
                </a:lnTo>
                <a:lnTo>
                  <a:pt x="266" y="1221"/>
                </a:lnTo>
                <a:lnTo>
                  <a:pt x="257" y="1209"/>
                </a:lnTo>
                <a:lnTo>
                  <a:pt x="248" y="1196"/>
                </a:lnTo>
                <a:lnTo>
                  <a:pt x="239" y="1183"/>
                </a:lnTo>
                <a:lnTo>
                  <a:pt x="232" y="1169"/>
                </a:lnTo>
                <a:lnTo>
                  <a:pt x="225" y="1156"/>
                </a:lnTo>
                <a:lnTo>
                  <a:pt x="218" y="1142"/>
                </a:lnTo>
                <a:lnTo>
                  <a:pt x="212" y="1127"/>
                </a:lnTo>
                <a:lnTo>
                  <a:pt x="206" y="1112"/>
                </a:lnTo>
                <a:lnTo>
                  <a:pt x="203" y="1097"/>
                </a:lnTo>
                <a:lnTo>
                  <a:pt x="199" y="1081"/>
                </a:lnTo>
                <a:lnTo>
                  <a:pt x="196" y="1066"/>
                </a:lnTo>
                <a:lnTo>
                  <a:pt x="194" y="1050"/>
                </a:lnTo>
                <a:lnTo>
                  <a:pt x="192" y="1032"/>
                </a:lnTo>
                <a:lnTo>
                  <a:pt x="192" y="1016"/>
                </a:lnTo>
                <a:lnTo>
                  <a:pt x="192" y="1016"/>
                </a:lnTo>
                <a:lnTo>
                  <a:pt x="192" y="1000"/>
                </a:lnTo>
                <a:lnTo>
                  <a:pt x="194" y="984"/>
                </a:lnTo>
                <a:lnTo>
                  <a:pt x="196" y="968"/>
                </a:lnTo>
                <a:lnTo>
                  <a:pt x="199" y="952"/>
                </a:lnTo>
                <a:lnTo>
                  <a:pt x="203" y="935"/>
                </a:lnTo>
                <a:lnTo>
                  <a:pt x="206" y="920"/>
                </a:lnTo>
                <a:lnTo>
                  <a:pt x="212" y="905"/>
                </a:lnTo>
                <a:lnTo>
                  <a:pt x="218" y="890"/>
                </a:lnTo>
                <a:lnTo>
                  <a:pt x="225" y="877"/>
                </a:lnTo>
                <a:lnTo>
                  <a:pt x="232" y="863"/>
                </a:lnTo>
                <a:lnTo>
                  <a:pt x="239" y="849"/>
                </a:lnTo>
                <a:lnTo>
                  <a:pt x="248" y="836"/>
                </a:lnTo>
                <a:lnTo>
                  <a:pt x="257" y="824"/>
                </a:lnTo>
                <a:lnTo>
                  <a:pt x="266" y="811"/>
                </a:lnTo>
                <a:lnTo>
                  <a:pt x="277" y="799"/>
                </a:lnTo>
                <a:lnTo>
                  <a:pt x="287" y="789"/>
                </a:lnTo>
                <a:lnTo>
                  <a:pt x="299" y="777"/>
                </a:lnTo>
                <a:lnTo>
                  <a:pt x="310" y="767"/>
                </a:lnTo>
                <a:lnTo>
                  <a:pt x="322" y="758"/>
                </a:lnTo>
                <a:lnTo>
                  <a:pt x="334" y="749"/>
                </a:lnTo>
                <a:lnTo>
                  <a:pt x="348" y="741"/>
                </a:lnTo>
                <a:lnTo>
                  <a:pt x="361" y="732"/>
                </a:lnTo>
                <a:lnTo>
                  <a:pt x="375" y="726"/>
                </a:lnTo>
                <a:lnTo>
                  <a:pt x="390" y="720"/>
                </a:lnTo>
                <a:lnTo>
                  <a:pt x="403" y="714"/>
                </a:lnTo>
                <a:lnTo>
                  <a:pt x="418" y="708"/>
                </a:lnTo>
                <a:lnTo>
                  <a:pt x="435" y="704"/>
                </a:lnTo>
                <a:lnTo>
                  <a:pt x="450" y="700"/>
                </a:lnTo>
                <a:lnTo>
                  <a:pt x="466" y="698"/>
                </a:lnTo>
                <a:lnTo>
                  <a:pt x="482" y="696"/>
                </a:lnTo>
                <a:lnTo>
                  <a:pt x="498" y="694"/>
                </a:lnTo>
                <a:lnTo>
                  <a:pt x="514" y="694"/>
                </a:lnTo>
                <a:lnTo>
                  <a:pt x="514" y="694"/>
                </a:lnTo>
                <a:lnTo>
                  <a:pt x="531" y="694"/>
                </a:lnTo>
                <a:lnTo>
                  <a:pt x="548" y="696"/>
                </a:lnTo>
                <a:lnTo>
                  <a:pt x="564" y="698"/>
                </a:lnTo>
                <a:lnTo>
                  <a:pt x="580" y="700"/>
                </a:lnTo>
                <a:lnTo>
                  <a:pt x="595" y="704"/>
                </a:lnTo>
                <a:lnTo>
                  <a:pt x="610" y="708"/>
                </a:lnTo>
                <a:lnTo>
                  <a:pt x="625" y="714"/>
                </a:lnTo>
                <a:lnTo>
                  <a:pt x="640" y="720"/>
                </a:lnTo>
                <a:lnTo>
                  <a:pt x="655" y="726"/>
                </a:lnTo>
                <a:lnTo>
                  <a:pt x="669" y="732"/>
                </a:lnTo>
                <a:lnTo>
                  <a:pt x="681" y="741"/>
                </a:lnTo>
                <a:lnTo>
                  <a:pt x="695" y="749"/>
                </a:lnTo>
                <a:lnTo>
                  <a:pt x="708" y="758"/>
                </a:lnTo>
                <a:lnTo>
                  <a:pt x="719" y="767"/>
                </a:lnTo>
                <a:lnTo>
                  <a:pt x="731" y="777"/>
                </a:lnTo>
                <a:lnTo>
                  <a:pt x="742" y="789"/>
                </a:lnTo>
                <a:lnTo>
                  <a:pt x="753" y="799"/>
                </a:lnTo>
                <a:lnTo>
                  <a:pt x="763" y="811"/>
                </a:lnTo>
                <a:lnTo>
                  <a:pt x="772" y="824"/>
                </a:lnTo>
                <a:lnTo>
                  <a:pt x="782" y="836"/>
                </a:lnTo>
                <a:lnTo>
                  <a:pt x="790" y="849"/>
                </a:lnTo>
                <a:lnTo>
                  <a:pt x="798" y="863"/>
                </a:lnTo>
                <a:lnTo>
                  <a:pt x="805" y="877"/>
                </a:lnTo>
                <a:lnTo>
                  <a:pt x="812" y="890"/>
                </a:lnTo>
                <a:lnTo>
                  <a:pt x="817" y="905"/>
                </a:lnTo>
                <a:lnTo>
                  <a:pt x="822" y="920"/>
                </a:lnTo>
                <a:lnTo>
                  <a:pt x="827" y="935"/>
                </a:lnTo>
                <a:lnTo>
                  <a:pt x="830" y="952"/>
                </a:lnTo>
                <a:lnTo>
                  <a:pt x="834" y="968"/>
                </a:lnTo>
                <a:lnTo>
                  <a:pt x="836" y="984"/>
                </a:lnTo>
                <a:lnTo>
                  <a:pt x="837" y="1000"/>
                </a:lnTo>
                <a:lnTo>
                  <a:pt x="837" y="1016"/>
                </a:lnTo>
                <a:lnTo>
                  <a:pt x="837" y="1016"/>
                </a:lnTo>
                <a:close/>
                <a:moveTo>
                  <a:pt x="602" y="933"/>
                </a:moveTo>
                <a:lnTo>
                  <a:pt x="602" y="933"/>
                </a:lnTo>
                <a:lnTo>
                  <a:pt x="601" y="924"/>
                </a:lnTo>
                <a:lnTo>
                  <a:pt x="599" y="916"/>
                </a:lnTo>
                <a:lnTo>
                  <a:pt x="597" y="908"/>
                </a:lnTo>
                <a:lnTo>
                  <a:pt x="595" y="900"/>
                </a:lnTo>
                <a:lnTo>
                  <a:pt x="590" y="892"/>
                </a:lnTo>
                <a:lnTo>
                  <a:pt x="587" y="885"/>
                </a:lnTo>
                <a:lnTo>
                  <a:pt x="581" y="878"/>
                </a:lnTo>
                <a:lnTo>
                  <a:pt x="575" y="871"/>
                </a:lnTo>
                <a:lnTo>
                  <a:pt x="569" y="865"/>
                </a:lnTo>
                <a:lnTo>
                  <a:pt x="563" y="860"/>
                </a:lnTo>
                <a:lnTo>
                  <a:pt x="556" y="856"/>
                </a:lnTo>
                <a:lnTo>
                  <a:pt x="548" y="852"/>
                </a:lnTo>
                <a:lnTo>
                  <a:pt x="540" y="850"/>
                </a:lnTo>
                <a:lnTo>
                  <a:pt x="531" y="848"/>
                </a:lnTo>
                <a:lnTo>
                  <a:pt x="522" y="845"/>
                </a:lnTo>
                <a:lnTo>
                  <a:pt x="513" y="845"/>
                </a:lnTo>
                <a:lnTo>
                  <a:pt x="513" y="845"/>
                </a:lnTo>
                <a:lnTo>
                  <a:pt x="505" y="845"/>
                </a:lnTo>
                <a:lnTo>
                  <a:pt x="496" y="848"/>
                </a:lnTo>
                <a:lnTo>
                  <a:pt x="488" y="850"/>
                </a:lnTo>
                <a:lnTo>
                  <a:pt x="480" y="852"/>
                </a:lnTo>
                <a:lnTo>
                  <a:pt x="471" y="856"/>
                </a:lnTo>
                <a:lnTo>
                  <a:pt x="465" y="860"/>
                </a:lnTo>
                <a:lnTo>
                  <a:pt x="458" y="865"/>
                </a:lnTo>
                <a:lnTo>
                  <a:pt x="451" y="871"/>
                </a:lnTo>
                <a:lnTo>
                  <a:pt x="446" y="878"/>
                </a:lnTo>
                <a:lnTo>
                  <a:pt x="440" y="885"/>
                </a:lnTo>
                <a:lnTo>
                  <a:pt x="436" y="892"/>
                </a:lnTo>
                <a:lnTo>
                  <a:pt x="432" y="900"/>
                </a:lnTo>
                <a:lnTo>
                  <a:pt x="430" y="908"/>
                </a:lnTo>
                <a:lnTo>
                  <a:pt x="428" y="916"/>
                </a:lnTo>
                <a:lnTo>
                  <a:pt x="427" y="924"/>
                </a:lnTo>
                <a:lnTo>
                  <a:pt x="425" y="933"/>
                </a:lnTo>
                <a:lnTo>
                  <a:pt x="425" y="933"/>
                </a:lnTo>
                <a:lnTo>
                  <a:pt x="425" y="941"/>
                </a:lnTo>
                <a:lnTo>
                  <a:pt x="428" y="948"/>
                </a:lnTo>
                <a:lnTo>
                  <a:pt x="431" y="962"/>
                </a:lnTo>
                <a:lnTo>
                  <a:pt x="437" y="973"/>
                </a:lnTo>
                <a:lnTo>
                  <a:pt x="444" y="984"/>
                </a:lnTo>
                <a:lnTo>
                  <a:pt x="451" y="992"/>
                </a:lnTo>
                <a:lnTo>
                  <a:pt x="457" y="998"/>
                </a:lnTo>
                <a:lnTo>
                  <a:pt x="462" y="1002"/>
                </a:lnTo>
                <a:lnTo>
                  <a:pt x="462" y="1002"/>
                </a:lnTo>
                <a:lnTo>
                  <a:pt x="466" y="1006"/>
                </a:lnTo>
                <a:lnTo>
                  <a:pt x="468" y="1010"/>
                </a:lnTo>
                <a:lnTo>
                  <a:pt x="469" y="1015"/>
                </a:lnTo>
                <a:lnTo>
                  <a:pt x="469" y="1020"/>
                </a:lnTo>
                <a:lnTo>
                  <a:pt x="469" y="1216"/>
                </a:lnTo>
                <a:lnTo>
                  <a:pt x="469" y="1216"/>
                </a:lnTo>
                <a:lnTo>
                  <a:pt x="470" y="1219"/>
                </a:lnTo>
                <a:lnTo>
                  <a:pt x="473" y="1222"/>
                </a:lnTo>
                <a:lnTo>
                  <a:pt x="476" y="1225"/>
                </a:lnTo>
                <a:lnTo>
                  <a:pt x="480" y="1226"/>
                </a:lnTo>
                <a:lnTo>
                  <a:pt x="546" y="1226"/>
                </a:lnTo>
                <a:lnTo>
                  <a:pt x="546" y="1226"/>
                </a:lnTo>
                <a:lnTo>
                  <a:pt x="551" y="1225"/>
                </a:lnTo>
                <a:lnTo>
                  <a:pt x="555" y="1222"/>
                </a:lnTo>
                <a:lnTo>
                  <a:pt x="556" y="1219"/>
                </a:lnTo>
                <a:lnTo>
                  <a:pt x="557" y="1216"/>
                </a:lnTo>
                <a:lnTo>
                  <a:pt x="557" y="1020"/>
                </a:lnTo>
                <a:lnTo>
                  <a:pt x="557" y="1020"/>
                </a:lnTo>
                <a:lnTo>
                  <a:pt x="558" y="1015"/>
                </a:lnTo>
                <a:lnTo>
                  <a:pt x="559" y="1010"/>
                </a:lnTo>
                <a:lnTo>
                  <a:pt x="561" y="1006"/>
                </a:lnTo>
                <a:lnTo>
                  <a:pt x="565" y="1002"/>
                </a:lnTo>
                <a:lnTo>
                  <a:pt x="565" y="1002"/>
                </a:lnTo>
                <a:lnTo>
                  <a:pt x="571" y="998"/>
                </a:lnTo>
                <a:lnTo>
                  <a:pt x="576" y="991"/>
                </a:lnTo>
                <a:lnTo>
                  <a:pt x="583" y="983"/>
                </a:lnTo>
                <a:lnTo>
                  <a:pt x="589" y="972"/>
                </a:lnTo>
                <a:lnTo>
                  <a:pt x="596" y="961"/>
                </a:lnTo>
                <a:lnTo>
                  <a:pt x="599" y="948"/>
                </a:lnTo>
                <a:lnTo>
                  <a:pt x="601" y="941"/>
                </a:lnTo>
                <a:lnTo>
                  <a:pt x="602" y="933"/>
                </a:lnTo>
                <a:lnTo>
                  <a:pt x="602" y="9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Freeform 124"/>
          <p:cNvSpPr>
            <a:spLocks noEditPoints="1"/>
          </p:cNvSpPr>
          <p:nvPr/>
        </p:nvSpPr>
        <p:spPr bwMode="auto">
          <a:xfrm>
            <a:off x="5425597" y="4058255"/>
            <a:ext cx="203893" cy="209890"/>
          </a:xfrm>
          <a:custGeom>
            <a:avLst/>
            <a:gdLst>
              <a:gd name="T0" fmla="*/ 844 w 1188"/>
              <a:gd name="T1" fmla="*/ 647 h 1225"/>
              <a:gd name="T2" fmla="*/ 875 w 1188"/>
              <a:gd name="T3" fmla="*/ 568 h 1225"/>
              <a:gd name="T4" fmla="*/ 890 w 1188"/>
              <a:gd name="T5" fmla="*/ 482 h 1225"/>
              <a:gd name="T6" fmla="*/ 890 w 1188"/>
              <a:gd name="T7" fmla="*/ 401 h 1225"/>
              <a:gd name="T8" fmla="*/ 866 w 1188"/>
              <a:gd name="T9" fmla="*/ 293 h 1225"/>
              <a:gd name="T10" fmla="*/ 816 w 1188"/>
              <a:gd name="T11" fmla="*/ 197 h 1225"/>
              <a:gd name="T12" fmla="*/ 746 w 1188"/>
              <a:gd name="T13" fmla="*/ 116 h 1225"/>
              <a:gd name="T14" fmla="*/ 658 w 1188"/>
              <a:gd name="T15" fmla="*/ 54 h 1225"/>
              <a:gd name="T16" fmla="*/ 558 w 1188"/>
              <a:gd name="T17" fmla="*/ 14 h 1225"/>
              <a:gd name="T18" fmla="*/ 446 w 1188"/>
              <a:gd name="T19" fmla="*/ 0 h 1225"/>
              <a:gd name="T20" fmla="*/ 357 w 1188"/>
              <a:gd name="T21" fmla="*/ 8 h 1225"/>
              <a:gd name="T22" fmla="*/ 253 w 1188"/>
              <a:gd name="T23" fmla="*/ 44 h 1225"/>
              <a:gd name="T24" fmla="*/ 163 w 1188"/>
              <a:gd name="T25" fmla="*/ 102 h 1225"/>
              <a:gd name="T26" fmla="*/ 89 w 1188"/>
              <a:gd name="T27" fmla="*/ 180 h 1225"/>
              <a:gd name="T28" fmla="*/ 35 w 1188"/>
              <a:gd name="T29" fmla="*/ 273 h 1225"/>
              <a:gd name="T30" fmla="*/ 6 w 1188"/>
              <a:gd name="T31" fmla="*/ 378 h 1225"/>
              <a:gd name="T32" fmla="*/ 0 w 1188"/>
              <a:gd name="T33" fmla="*/ 469 h 1225"/>
              <a:gd name="T34" fmla="*/ 20 w 1188"/>
              <a:gd name="T35" fmla="*/ 579 h 1225"/>
              <a:gd name="T36" fmla="*/ 64 w 1188"/>
              <a:gd name="T37" fmla="*/ 677 h 1225"/>
              <a:gd name="T38" fmla="*/ 130 w 1188"/>
              <a:gd name="T39" fmla="*/ 762 h 1225"/>
              <a:gd name="T40" fmla="*/ 215 w 1188"/>
              <a:gd name="T41" fmla="*/ 828 h 1225"/>
              <a:gd name="T42" fmla="*/ 314 w 1188"/>
              <a:gd name="T43" fmla="*/ 873 h 1225"/>
              <a:gd name="T44" fmla="*/ 423 w 1188"/>
              <a:gd name="T45" fmla="*/ 892 h 1225"/>
              <a:gd name="T46" fmla="*/ 530 w 1188"/>
              <a:gd name="T47" fmla="*/ 883 h 1225"/>
              <a:gd name="T48" fmla="*/ 658 w 1188"/>
              <a:gd name="T49" fmla="*/ 836 h 1225"/>
              <a:gd name="T50" fmla="*/ 1042 w 1188"/>
              <a:gd name="T51" fmla="*/ 1213 h 1225"/>
              <a:gd name="T52" fmla="*/ 1089 w 1188"/>
              <a:gd name="T53" fmla="*/ 1225 h 1225"/>
              <a:gd name="T54" fmla="*/ 1134 w 1188"/>
              <a:gd name="T55" fmla="*/ 1213 h 1225"/>
              <a:gd name="T56" fmla="*/ 1166 w 1188"/>
              <a:gd name="T57" fmla="*/ 1188 h 1225"/>
              <a:gd name="T58" fmla="*/ 1186 w 1188"/>
              <a:gd name="T59" fmla="*/ 1145 h 1225"/>
              <a:gd name="T60" fmla="*/ 1184 w 1188"/>
              <a:gd name="T61" fmla="*/ 1097 h 1225"/>
              <a:gd name="T62" fmla="*/ 1159 w 1188"/>
              <a:gd name="T63" fmla="*/ 1056 h 1225"/>
              <a:gd name="T64" fmla="*/ 150 w 1188"/>
              <a:gd name="T65" fmla="*/ 416 h 1225"/>
              <a:gd name="T66" fmla="*/ 167 w 1188"/>
              <a:gd name="T67" fmla="*/ 343 h 1225"/>
              <a:gd name="T68" fmla="*/ 200 w 1188"/>
              <a:gd name="T69" fmla="*/ 280 h 1225"/>
              <a:gd name="T70" fmla="*/ 246 w 1188"/>
              <a:gd name="T71" fmla="*/ 226 h 1225"/>
              <a:gd name="T72" fmla="*/ 305 w 1188"/>
              <a:gd name="T73" fmla="*/ 185 h 1225"/>
              <a:gd name="T74" fmla="*/ 372 w 1188"/>
              <a:gd name="T75" fmla="*/ 158 h 1225"/>
              <a:gd name="T76" fmla="*/ 446 w 1188"/>
              <a:gd name="T77" fmla="*/ 148 h 1225"/>
              <a:gd name="T78" fmla="*/ 507 w 1188"/>
              <a:gd name="T79" fmla="*/ 155 h 1225"/>
              <a:gd name="T80" fmla="*/ 575 w 1188"/>
              <a:gd name="T81" fmla="*/ 178 h 1225"/>
              <a:gd name="T82" fmla="*/ 636 w 1188"/>
              <a:gd name="T83" fmla="*/ 217 h 1225"/>
              <a:gd name="T84" fmla="*/ 684 w 1188"/>
              <a:gd name="T85" fmla="*/ 269 h 1225"/>
              <a:gd name="T86" fmla="*/ 720 w 1188"/>
              <a:gd name="T87" fmla="*/ 330 h 1225"/>
              <a:gd name="T88" fmla="*/ 740 w 1188"/>
              <a:gd name="T89" fmla="*/ 401 h 1225"/>
              <a:gd name="T90" fmla="*/ 743 w 1188"/>
              <a:gd name="T91" fmla="*/ 462 h 1225"/>
              <a:gd name="T92" fmla="*/ 730 w 1188"/>
              <a:gd name="T93" fmla="*/ 534 h 1225"/>
              <a:gd name="T94" fmla="*/ 701 w 1188"/>
              <a:gd name="T95" fmla="*/ 600 h 1225"/>
              <a:gd name="T96" fmla="*/ 656 w 1188"/>
              <a:gd name="T97" fmla="*/ 656 h 1225"/>
              <a:gd name="T98" fmla="*/ 600 w 1188"/>
              <a:gd name="T99" fmla="*/ 700 h 1225"/>
              <a:gd name="T100" fmla="*/ 535 w 1188"/>
              <a:gd name="T101" fmla="*/ 729 h 1225"/>
              <a:gd name="T102" fmla="*/ 461 w 1188"/>
              <a:gd name="T103" fmla="*/ 742 h 1225"/>
              <a:gd name="T104" fmla="*/ 401 w 1188"/>
              <a:gd name="T105" fmla="*/ 740 h 1225"/>
              <a:gd name="T106" fmla="*/ 331 w 1188"/>
              <a:gd name="T107" fmla="*/ 720 h 1225"/>
              <a:gd name="T108" fmla="*/ 268 w 1188"/>
              <a:gd name="T109" fmla="*/ 684 h 1225"/>
              <a:gd name="T110" fmla="*/ 217 w 1188"/>
              <a:gd name="T111" fmla="*/ 635 h 1225"/>
              <a:gd name="T112" fmla="*/ 178 w 1188"/>
              <a:gd name="T113" fmla="*/ 574 h 1225"/>
              <a:gd name="T114" fmla="*/ 155 w 1188"/>
              <a:gd name="T115" fmla="*/ 506 h 1225"/>
              <a:gd name="T116" fmla="*/ 149 w 1188"/>
              <a:gd name="T117" fmla="*/ 446 h 1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88" h="1225">
                <a:moveTo>
                  <a:pt x="1159" y="1056"/>
                </a:moveTo>
                <a:lnTo>
                  <a:pt x="808" y="705"/>
                </a:lnTo>
                <a:lnTo>
                  <a:pt x="808" y="705"/>
                </a:lnTo>
                <a:lnTo>
                  <a:pt x="826" y="676"/>
                </a:lnTo>
                <a:lnTo>
                  <a:pt x="844" y="647"/>
                </a:lnTo>
                <a:lnTo>
                  <a:pt x="851" y="632"/>
                </a:lnTo>
                <a:lnTo>
                  <a:pt x="858" y="617"/>
                </a:lnTo>
                <a:lnTo>
                  <a:pt x="864" y="600"/>
                </a:lnTo>
                <a:lnTo>
                  <a:pt x="870" y="584"/>
                </a:lnTo>
                <a:lnTo>
                  <a:pt x="875" y="568"/>
                </a:lnTo>
                <a:lnTo>
                  <a:pt x="880" y="552"/>
                </a:lnTo>
                <a:lnTo>
                  <a:pt x="883" y="534"/>
                </a:lnTo>
                <a:lnTo>
                  <a:pt x="886" y="517"/>
                </a:lnTo>
                <a:lnTo>
                  <a:pt x="889" y="500"/>
                </a:lnTo>
                <a:lnTo>
                  <a:pt x="890" y="482"/>
                </a:lnTo>
                <a:lnTo>
                  <a:pt x="892" y="464"/>
                </a:lnTo>
                <a:lnTo>
                  <a:pt x="893" y="446"/>
                </a:lnTo>
                <a:lnTo>
                  <a:pt x="893" y="446"/>
                </a:lnTo>
                <a:lnTo>
                  <a:pt x="892" y="424"/>
                </a:lnTo>
                <a:lnTo>
                  <a:pt x="890" y="401"/>
                </a:lnTo>
                <a:lnTo>
                  <a:pt x="887" y="378"/>
                </a:lnTo>
                <a:lnTo>
                  <a:pt x="883" y="357"/>
                </a:lnTo>
                <a:lnTo>
                  <a:pt x="879" y="335"/>
                </a:lnTo>
                <a:lnTo>
                  <a:pt x="872" y="313"/>
                </a:lnTo>
                <a:lnTo>
                  <a:pt x="866" y="293"/>
                </a:lnTo>
                <a:lnTo>
                  <a:pt x="857" y="273"/>
                </a:lnTo>
                <a:lnTo>
                  <a:pt x="848" y="252"/>
                </a:lnTo>
                <a:lnTo>
                  <a:pt x="838" y="234"/>
                </a:lnTo>
                <a:lnTo>
                  <a:pt x="828" y="214"/>
                </a:lnTo>
                <a:lnTo>
                  <a:pt x="816" y="197"/>
                </a:lnTo>
                <a:lnTo>
                  <a:pt x="804" y="180"/>
                </a:lnTo>
                <a:lnTo>
                  <a:pt x="791" y="162"/>
                </a:lnTo>
                <a:lnTo>
                  <a:pt x="777" y="146"/>
                </a:lnTo>
                <a:lnTo>
                  <a:pt x="761" y="131"/>
                </a:lnTo>
                <a:lnTo>
                  <a:pt x="746" y="116"/>
                </a:lnTo>
                <a:lnTo>
                  <a:pt x="730" y="102"/>
                </a:lnTo>
                <a:lnTo>
                  <a:pt x="713" y="89"/>
                </a:lnTo>
                <a:lnTo>
                  <a:pt x="695" y="77"/>
                </a:lnTo>
                <a:lnTo>
                  <a:pt x="678" y="65"/>
                </a:lnTo>
                <a:lnTo>
                  <a:pt x="658" y="54"/>
                </a:lnTo>
                <a:lnTo>
                  <a:pt x="640" y="44"/>
                </a:lnTo>
                <a:lnTo>
                  <a:pt x="619" y="36"/>
                </a:lnTo>
                <a:lnTo>
                  <a:pt x="600" y="27"/>
                </a:lnTo>
                <a:lnTo>
                  <a:pt x="579" y="20"/>
                </a:lnTo>
                <a:lnTo>
                  <a:pt x="558" y="14"/>
                </a:lnTo>
                <a:lnTo>
                  <a:pt x="536" y="8"/>
                </a:lnTo>
                <a:lnTo>
                  <a:pt x="514" y="5"/>
                </a:lnTo>
                <a:lnTo>
                  <a:pt x="491" y="2"/>
                </a:lnTo>
                <a:lnTo>
                  <a:pt x="469" y="1"/>
                </a:lnTo>
                <a:lnTo>
                  <a:pt x="446" y="0"/>
                </a:lnTo>
                <a:lnTo>
                  <a:pt x="446" y="0"/>
                </a:lnTo>
                <a:lnTo>
                  <a:pt x="423" y="1"/>
                </a:lnTo>
                <a:lnTo>
                  <a:pt x="400" y="2"/>
                </a:lnTo>
                <a:lnTo>
                  <a:pt x="379" y="5"/>
                </a:lnTo>
                <a:lnTo>
                  <a:pt x="357" y="8"/>
                </a:lnTo>
                <a:lnTo>
                  <a:pt x="335" y="14"/>
                </a:lnTo>
                <a:lnTo>
                  <a:pt x="314" y="20"/>
                </a:lnTo>
                <a:lnTo>
                  <a:pt x="293" y="27"/>
                </a:lnTo>
                <a:lnTo>
                  <a:pt x="272" y="36"/>
                </a:lnTo>
                <a:lnTo>
                  <a:pt x="253" y="44"/>
                </a:lnTo>
                <a:lnTo>
                  <a:pt x="233" y="54"/>
                </a:lnTo>
                <a:lnTo>
                  <a:pt x="215" y="65"/>
                </a:lnTo>
                <a:lnTo>
                  <a:pt x="197" y="77"/>
                </a:lnTo>
                <a:lnTo>
                  <a:pt x="179" y="89"/>
                </a:lnTo>
                <a:lnTo>
                  <a:pt x="163" y="102"/>
                </a:lnTo>
                <a:lnTo>
                  <a:pt x="147" y="116"/>
                </a:lnTo>
                <a:lnTo>
                  <a:pt x="130" y="131"/>
                </a:lnTo>
                <a:lnTo>
                  <a:pt x="116" y="146"/>
                </a:lnTo>
                <a:lnTo>
                  <a:pt x="102" y="162"/>
                </a:lnTo>
                <a:lnTo>
                  <a:pt x="89" y="180"/>
                </a:lnTo>
                <a:lnTo>
                  <a:pt x="76" y="197"/>
                </a:lnTo>
                <a:lnTo>
                  <a:pt x="64" y="214"/>
                </a:lnTo>
                <a:lnTo>
                  <a:pt x="55" y="234"/>
                </a:lnTo>
                <a:lnTo>
                  <a:pt x="44" y="252"/>
                </a:lnTo>
                <a:lnTo>
                  <a:pt x="35" y="273"/>
                </a:lnTo>
                <a:lnTo>
                  <a:pt x="27" y="293"/>
                </a:lnTo>
                <a:lnTo>
                  <a:pt x="20" y="313"/>
                </a:lnTo>
                <a:lnTo>
                  <a:pt x="14" y="335"/>
                </a:lnTo>
                <a:lnTo>
                  <a:pt x="9" y="357"/>
                </a:lnTo>
                <a:lnTo>
                  <a:pt x="6" y="378"/>
                </a:lnTo>
                <a:lnTo>
                  <a:pt x="2" y="401"/>
                </a:lnTo>
                <a:lnTo>
                  <a:pt x="0" y="424"/>
                </a:lnTo>
                <a:lnTo>
                  <a:pt x="0" y="446"/>
                </a:lnTo>
                <a:lnTo>
                  <a:pt x="0" y="446"/>
                </a:lnTo>
                <a:lnTo>
                  <a:pt x="0" y="469"/>
                </a:lnTo>
                <a:lnTo>
                  <a:pt x="2" y="492"/>
                </a:lnTo>
                <a:lnTo>
                  <a:pt x="6" y="514"/>
                </a:lnTo>
                <a:lnTo>
                  <a:pt x="9" y="536"/>
                </a:lnTo>
                <a:lnTo>
                  <a:pt x="14" y="557"/>
                </a:lnTo>
                <a:lnTo>
                  <a:pt x="20" y="579"/>
                </a:lnTo>
                <a:lnTo>
                  <a:pt x="27" y="599"/>
                </a:lnTo>
                <a:lnTo>
                  <a:pt x="35" y="620"/>
                </a:lnTo>
                <a:lnTo>
                  <a:pt x="44" y="639"/>
                </a:lnTo>
                <a:lnTo>
                  <a:pt x="55" y="659"/>
                </a:lnTo>
                <a:lnTo>
                  <a:pt x="64" y="677"/>
                </a:lnTo>
                <a:lnTo>
                  <a:pt x="76" y="696"/>
                </a:lnTo>
                <a:lnTo>
                  <a:pt x="89" y="713"/>
                </a:lnTo>
                <a:lnTo>
                  <a:pt x="102" y="729"/>
                </a:lnTo>
                <a:lnTo>
                  <a:pt x="116" y="746"/>
                </a:lnTo>
                <a:lnTo>
                  <a:pt x="130" y="762"/>
                </a:lnTo>
                <a:lnTo>
                  <a:pt x="147" y="776"/>
                </a:lnTo>
                <a:lnTo>
                  <a:pt x="163" y="790"/>
                </a:lnTo>
                <a:lnTo>
                  <a:pt x="179" y="803"/>
                </a:lnTo>
                <a:lnTo>
                  <a:pt x="197" y="816"/>
                </a:lnTo>
                <a:lnTo>
                  <a:pt x="215" y="828"/>
                </a:lnTo>
                <a:lnTo>
                  <a:pt x="233" y="838"/>
                </a:lnTo>
                <a:lnTo>
                  <a:pt x="253" y="849"/>
                </a:lnTo>
                <a:lnTo>
                  <a:pt x="272" y="857"/>
                </a:lnTo>
                <a:lnTo>
                  <a:pt x="293" y="865"/>
                </a:lnTo>
                <a:lnTo>
                  <a:pt x="314" y="873"/>
                </a:lnTo>
                <a:lnTo>
                  <a:pt x="335" y="878"/>
                </a:lnTo>
                <a:lnTo>
                  <a:pt x="357" y="883"/>
                </a:lnTo>
                <a:lnTo>
                  <a:pt x="379" y="887"/>
                </a:lnTo>
                <a:lnTo>
                  <a:pt x="400" y="890"/>
                </a:lnTo>
                <a:lnTo>
                  <a:pt x="423" y="892"/>
                </a:lnTo>
                <a:lnTo>
                  <a:pt x="446" y="892"/>
                </a:lnTo>
                <a:lnTo>
                  <a:pt x="446" y="892"/>
                </a:lnTo>
                <a:lnTo>
                  <a:pt x="475" y="891"/>
                </a:lnTo>
                <a:lnTo>
                  <a:pt x="503" y="889"/>
                </a:lnTo>
                <a:lnTo>
                  <a:pt x="530" y="883"/>
                </a:lnTo>
                <a:lnTo>
                  <a:pt x="558" y="877"/>
                </a:lnTo>
                <a:lnTo>
                  <a:pt x="584" y="869"/>
                </a:lnTo>
                <a:lnTo>
                  <a:pt x="610" y="860"/>
                </a:lnTo>
                <a:lnTo>
                  <a:pt x="635" y="849"/>
                </a:lnTo>
                <a:lnTo>
                  <a:pt x="658" y="836"/>
                </a:lnTo>
                <a:lnTo>
                  <a:pt x="1018" y="1196"/>
                </a:lnTo>
                <a:lnTo>
                  <a:pt x="1018" y="1196"/>
                </a:lnTo>
                <a:lnTo>
                  <a:pt x="1026" y="1202"/>
                </a:lnTo>
                <a:lnTo>
                  <a:pt x="1035" y="1209"/>
                </a:lnTo>
                <a:lnTo>
                  <a:pt x="1042" y="1213"/>
                </a:lnTo>
                <a:lnTo>
                  <a:pt x="1052" y="1217"/>
                </a:lnTo>
                <a:lnTo>
                  <a:pt x="1061" y="1221"/>
                </a:lnTo>
                <a:lnTo>
                  <a:pt x="1069" y="1223"/>
                </a:lnTo>
                <a:lnTo>
                  <a:pt x="1079" y="1225"/>
                </a:lnTo>
                <a:lnTo>
                  <a:pt x="1089" y="1225"/>
                </a:lnTo>
                <a:lnTo>
                  <a:pt x="1099" y="1225"/>
                </a:lnTo>
                <a:lnTo>
                  <a:pt x="1107" y="1223"/>
                </a:lnTo>
                <a:lnTo>
                  <a:pt x="1117" y="1221"/>
                </a:lnTo>
                <a:lnTo>
                  <a:pt x="1126" y="1217"/>
                </a:lnTo>
                <a:lnTo>
                  <a:pt x="1134" y="1213"/>
                </a:lnTo>
                <a:lnTo>
                  <a:pt x="1143" y="1209"/>
                </a:lnTo>
                <a:lnTo>
                  <a:pt x="1152" y="1202"/>
                </a:lnTo>
                <a:lnTo>
                  <a:pt x="1159" y="1196"/>
                </a:lnTo>
                <a:lnTo>
                  <a:pt x="1159" y="1196"/>
                </a:lnTo>
                <a:lnTo>
                  <a:pt x="1166" y="1188"/>
                </a:lnTo>
                <a:lnTo>
                  <a:pt x="1171" y="1181"/>
                </a:lnTo>
                <a:lnTo>
                  <a:pt x="1177" y="1172"/>
                </a:lnTo>
                <a:lnTo>
                  <a:pt x="1181" y="1163"/>
                </a:lnTo>
                <a:lnTo>
                  <a:pt x="1184" y="1154"/>
                </a:lnTo>
                <a:lnTo>
                  <a:pt x="1186" y="1145"/>
                </a:lnTo>
                <a:lnTo>
                  <a:pt x="1188" y="1135"/>
                </a:lnTo>
                <a:lnTo>
                  <a:pt x="1188" y="1126"/>
                </a:lnTo>
                <a:lnTo>
                  <a:pt x="1188" y="1117"/>
                </a:lnTo>
                <a:lnTo>
                  <a:pt x="1186" y="1107"/>
                </a:lnTo>
                <a:lnTo>
                  <a:pt x="1184" y="1097"/>
                </a:lnTo>
                <a:lnTo>
                  <a:pt x="1181" y="1088"/>
                </a:lnTo>
                <a:lnTo>
                  <a:pt x="1177" y="1080"/>
                </a:lnTo>
                <a:lnTo>
                  <a:pt x="1171" y="1071"/>
                </a:lnTo>
                <a:lnTo>
                  <a:pt x="1166" y="1063"/>
                </a:lnTo>
                <a:lnTo>
                  <a:pt x="1159" y="1056"/>
                </a:lnTo>
                <a:lnTo>
                  <a:pt x="1159" y="1056"/>
                </a:lnTo>
                <a:close/>
                <a:moveTo>
                  <a:pt x="149" y="446"/>
                </a:moveTo>
                <a:lnTo>
                  <a:pt x="149" y="446"/>
                </a:lnTo>
                <a:lnTo>
                  <a:pt x="149" y="431"/>
                </a:lnTo>
                <a:lnTo>
                  <a:pt x="150" y="416"/>
                </a:lnTo>
                <a:lnTo>
                  <a:pt x="152" y="401"/>
                </a:lnTo>
                <a:lnTo>
                  <a:pt x="155" y="386"/>
                </a:lnTo>
                <a:lnTo>
                  <a:pt x="159" y="372"/>
                </a:lnTo>
                <a:lnTo>
                  <a:pt x="162" y="358"/>
                </a:lnTo>
                <a:lnTo>
                  <a:pt x="167" y="343"/>
                </a:lnTo>
                <a:lnTo>
                  <a:pt x="173" y="330"/>
                </a:lnTo>
                <a:lnTo>
                  <a:pt x="178" y="317"/>
                </a:lnTo>
                <a:lnTo>
                  <a:pt x="185" y="304"/>
                </a:lnTo>
                <a:lnTo>
                  <a:pt x="192" y="293"/>
                </a:lnTo>
                <a:lnTo>
                  <a:pt x="200" y="280"/>
                </a:lnTo>
                <a:lnTo>
                  <a:pt x="208" y="269"/>
                </a:lnTo>
                <a:lnTo>
                  <a:pt x="217" y="257"/>
                </a:lnTo>
                <a:lnTo>
                  <a:pt x="226" y="246"/>
                </a:lnTo>
                <a:lnTo>
                  <a:pt x="236" y="236"/>
                </a:lnTo>
                <a:lnTo>
                  <a:pt x="246" y="226"/>
                </a:lnTo>
                <a:lnTo>
                  <a:pt x="257" y="217"/>
                </a:lnTo>
                <a:lnTo>
                  <a:pt x="268" y="208"/>
                </a:lnTo>
                <a:lnTo>
                  <a:pt x="280" y="199"/>
                </a:lnTo>
                <a:lnTo>
                  <a:pt x="292" y="192"/>
                </a:lnTo>
                <a:lnTo>
                  <a:pt x="305" y="185"/>
                </a:lnTo>
                <a:lnTo>
                  <a:pt x="317" y="178"/>
                </a:lnTo>
                <a:lnTo>
                  <a:pt x="331" y="172"/>
                </a:lnTo>
                <a:lnTo>
                  <a:pt x="344" y="167"/>
                </a:lnTo>
                <a:lnTo>
                  <a:pt x="358" y="162"/>
                </a:lnTo>
                <a:lnTo>
                  <a:pt x="372" y="158"/>
                </a:lnTo>
                <a:lnTo>
                  <a:pt x="386" y="155"/>
                </a:lnTo>
                <a:lnTo>
                  <a:pt x="401" y="153"/>
                </a:lnTo>
                <a:lnTo>
                  <a:pt x="416" y="151"/>
                </a:lnTo>
                <a:lnTo>
                  <a:pt x="431" y="149"/>
                </a:lnTo>
                <a:lnTo>
                  <a:pt x="446" y="148"/>
                </a:lnTo>
                <a:lnTo>
                  <a:pt x="446" y="148"/>
                </a:lnTo>
                <a:lnTo>
                  <a:pt x="461" y="149"/>
                </a:lnTo>
                <a:lnTo>
                  <a:pt x="476" y="151"/>
                </a:lnTo>
                <a:lnTo>
                  <a:pt x="491" y="153"/>
                </a:lnTo>
                <a:lnTo>
                  <a:pt x="507" y="155"/>
                </a:lnTo>
                <a:lnTo>
                  <a:pt x="521" y="158"/>
                </a:lnTo>
                <a:lnTo>
                  <a:pt x="535" y="162"/>
                </a:lnTo>
                <a:lnTo>
                  <a:pt x="549" y="167"/>
                </a:lnTo>
                <a:lnTo>
                  <a:pt x="562" y="172"/>
                </a:lnTo>
                <a:lnTo>
                  <a:pt x="575" y="178"/>
                </a:lnTo>
                <a:lnTo>
                  <a:pt x="588" y="185"/>
                </a:lnTo>
                <a:lnTo>
                  <a:pt x="600" y="192"/>
                </a:lnTo>
                <a:lnTo>
                  <a:pt x="613" y="199"/>
                </a:lnTo>
                <a:lnTo>
                  <a:pt x="624" y="208"/>
                </a:lnTo>
                <a:lnTo>
                  <a:pt x="636" y="217"/>
                </a:lnTo>
                <a:lnTo>
                  <a:pt x="647" y="226"/>
                </a:lnTo>
                <a:lnTo>
                  <a:pt x="656" y="236"/>
                </a:lnTo>
                <a:lnTo>
                  <a:pt x="666" y="246"/>
                </a:lnTo>
                <a:lnTo>
                  <a:pt x="676" y="257"/>
                </a:lnTo>
                <a:lnTo>
                  <a:pt x="684" y="269"/>
                </a:lnTo>
                <a:lnTo>
                  <a:pt x="693" y="280"/>
                </a:lnTo>
                <a:lnTo>
                  <a:pt x="701" y="293"/>
                </a:lnTo>
                <a:lnTo>
                  <a:pt x="707" y="304"/>
                </a:lnTo>
                <a:lnTo>
                  <a:pt x="715" y="317"/>
                </a:lnTo>
                <a:lnTo>
                  <a:pt x="720" y="330"/>
                </a:lnTo>
                <a:lnTo>
                  <a:pt x="726" y="343"/>
                </a:lnTo>
                <a:lnTo>
                  <a:pt x="730" y="358"/>
                </a:lnTo>
                <a:lnTo>
                  <a:pt x="734" y="372"/>
                </a:lnTo>
                <a:lnTo>
                  <a:pt x="738" y="386"/>
                </a:lnTo>
                <a:lnTo>
                  <a:pt x="740" y="401"/>
                </a:lnTo>
                <a:lnTo>
                  <a:pt x="742" y="416"/>
                </a:lnTo>
                <a:lnTo>
                  <a:pt x="743" y="431"/>
                </a:lnTo>
                <a:lnTo>
                  <a:pt x="744" y="446"/>
                </a:lnTo>
                <a:lnTo>
                  <a:pt x="744" y="446"/>
                </a:lnTo>
                <a:lnTo>
                  <a:pt x="743" y="462"/>
                </a:lnTo>
                <a:lnTo>
                  <a:pt x="742" y="477"/>
                </a:lnTo>
                <a:lnTo>
                  <a:pt x="740" y="491"/>
                </a:lnTo>
                <a:lnTo>
                  <a:pt x="738" y="506"/>
                </a:lnTo>
                <a:lnTo>
                  <a:pt x="734" y="520"/>
                </a:lnTo>
                <a:lnTo>
                  <a:pt x="730" y="534"/>
                </a:lnTo>
                <a:lnTo>
                  <a:pt x="726" y="548"/>
                </a:lnTo>
                <a:lnTo>
                  <a:pt x="720" y="561"/>
                </a:lnTo>
                <a:lnTo>
                  <a:pt x="715" y="574"/>
                </a:lnTo>
                <a:lnTo>
                  <a:pt x="707" y="587"/>
                </a:lnTo>
                <a:lnTo>
                  <a:pt x="701" y="600"/>
                </a:lnTo>
                <a:lnTo>
                  <a:pt x="693" y="612"/>
                </a:lnTo>
                <a:lnTo>
                  <a:pt x="684" y="624"/>
                </a:lnTo>
                <a:lnTo>
                  <a:pt x="676" y="635"/>
                </a:lnTo>
                <a:lnTo>
                  <a:pt x="666" y="646"/>
                </a:lnTo>
                <a:lnTo>
                  <a:pt x="656" y="656"/>
                </a:lnTo>
                <a:lnTo>
                  <a:pt x="647" y="667"/>
                </a:lnTo>
                <a:lnTo>
                  <a:pt x="636" y="675"/>
                </a:lnTo>
                <a:lnTo>
                  <a:pt x="624" y="684"/>
                </a:lnTo>
                <a:lnTo>
                  <a:pt x="613" y="693"/>
                </a:lnTo>
                <a:lnTo>
                  <a:pt x="600" y="700"/>
                </a:lnTo>
                <a:lnTo>
                  <a:pt x="588" y="708"/>
                </a:lnTo>
                <a:lnTo>
                  <a:pt x="575" y="714"/>
                </a:lnTo>
                <a:lnTo>
                  <a:pt x="562" y="720"/>
                </a:lnTo>
                <a:lnTo>
                  <a:pt x="549" y="725"/>
                </a:lnTo>
                <a:lnTo>
                  <a:pt x="535" y="729"/>
                </a:lnTo>
                <a:lnTo>
                  <a:pt x="521" y="734"/>
                </a:lnTo>
                <a:lnTo>
                  <a:pt x="507" y="737"/>
                </a:lnTo>
                <a:lnTo>
                  <a:pt x="491" y="740"/>
                </a:lnTo>
                <a:lnTo>
                  <a:pt x="476" y="741"/>
                </a:lnTo>
                <a:lnTo>
                  <a:pt x="461" y="742"/>
                </a:lnTo>
                <a:lnTo>
                  <a:pt x="446" y="744"/>
                </a:lnTo>
                <a:lnTo>
                  <a:pt x="446" y="744"/>
                </a:lnTo>
                <a:lnTo>
                  <a:pt x="431" y="742"/>
                </a:lnTo>
                <a:lnTo>
                  <a:pt x="416" y="741"/>
                </a:lnTo>
                <a:lnTo>
                  <a:pt x="401" y="740"/>
                </a:lnTo>
                <a:lnTo>
                  <a:pt x="386" y="737"/>
                </a:lnTo>
                <a:lnTo>
                  <a:pt x="372" y="734"/>
                </a:lnTo>
                <a:lnTo>
                  <a:pt x="358" y="729"/>
                </a:lnTo>
                <a:lnTo>
                  <a:pt x="344" y="725"/>
                </a:lnTo>
                <a:lnTo>
                  <a:pt x="331" y="720"/>
                </a:lnTo>
                <a:lnTo>
                  <a:pt x="317" y="714"/>
                </a:lnTo>
                <a:lnTo>
                  <a:pt x="305" y="708"/>
                </a:lnTo>
                <a:lnTo>
                  <a:pt x="292" y="700"/>
                </a:lnTo>
                <a:lnTo>
                  <a:pt x="280" y="693"/>
                </a:lnTo>
                <a:lnTo>
                  <a:pt x="268" y="684"/>
                </a:lnTo>
                <a:lnTo>
                  <a:pt x="257" y="675"/>
                </a:lnTo>
                <a:lnTo>
                  <a:pt x="246" y="667"/>
                </a:lnTo>
                <a:lnTo>
                  <a:pt x="236" y="656"/>
                </a:lnTo>
                <a:lnTo>
                  <a:pt x="226" y="646"/>
                </a:lnTo>
                <a:lnTo>
                  <a:pt x="217" y="635"/>
                </a:lnTo>
                <a:lnTo>
                  <a:pt x="208" y="624"/>
                </a:lnTo>
                <a:lnTo>
                  <a:pt x="200" y="612"/>
                </a:lnTo>
                <a:lnTo>
                  <a:pt x="192" y="600"/>
                </a:lnTo>
                <a:lnTo>
                  <a:pt x="185" y="587"/>
                </a:lnTo>
                <a:lnTo>
                  <a:pt x="178" y="574"/>
                </a:lnTo>
                <a:lnTo>
                  <a:pt x="173" y="561"/>
                </a:lnTo>
                <a:lnTo>
                  <a:pt x="167" y="548"/>
                </a:lnTo>
                <a:lnTo>
                  <a:pt x="162" y="534"/>
                </a:lnTo>
                <a:lnTo>
                  <a:pt x="159" y="520"/>
                </a:lnTo>
                <a:lnTo>
                  <a:pt x="155" y="506"/>
                </a:lnTo>
                <a:lnTo>
                  <a:pt x="152" y="491"/>
                </a:lnTo>
                <a:lnTo>
                  <a:pt x="150" y="477"/>
                </a:lnTo>
                <a:lnTo>
                  <a:pt x="149" y="462"/>
                </a:lnTo>
                <a:lnTo>
                  <a:pt x="149" y="446"/>
                </a:lnTo>
                <a:lnTo>
                  <a:pt x="149" y="44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Freeform 76"/>
          <p:cNvSpPr>
            <a:spLocks noEditPoints="1"/>
          </p:cNvSpPr>
          <p:nvPr/>
        </p:nvSpPr>
        <p:spPr bwMode="auto">
          <a:xfrm>
            <a:off x="4469597" y="4072949"/>
            <a:ext cx="221419" cy="203510"/>
          </a:xfrm>
          <a:custGeom>
            <a:avLst/>
            <a:gdLst>
              <a:gd name="T0" fmla="*/ 817 w 817"/>
              <a:gd name="T1" fmla="*/ 511 h 749"/>
              <a:gd name="T2" fmla="*/ 580 w 817"/>
              <a:gd name="T3" fmla="*/ 272 h 749"/>
              <a:gd name="T4" fmla="*/ 580 w 817"/>
              <a:gd name="T5" fmla="*/ 408 h 749"/>
              <a:gd name="T6" fmla="*/ 306 w 817"/>
              <a:gd name="T7" fmla="*/ 408 h 749"/>
              <a:gd name="T8" fmla="*/ 306 w 817"/>
              <a:gd name="T9" fmla="*/ 613 h 749"/>
              <a:gd name="T10" fmla="*/ 580 w 817"/>
              <a:gd name="T11" fmla="*/ 613 h 749"/>
              <a:gd name="T12" fmla="*/ 580 w 817"/>
              <a:gd name="T13" fmla="*/ 749 h 749"/>
              <a:gd name="T14" fmla="*/ 817 w 817"/>
              <a:gd name="T15" fmla="*/ 511 h 749"/>
              <a:gd name="T16" fmla="*/ 511 w 817"/>
              <a:gd name="T17" fmla="*/ 341 h 749"/>
              <a:gd name="T18" fmla="*/ 511 w 817"/>
              <a:gd name="T19" fmla="*/ 136 h 749"/>
              <a:gd name="T20" fmla="*/ 238 w 817"/>
              <a:gd name="T21" fmla="*/ 136 h 749"/>
              <a:gd name="T22" fmla="*/ 238 w 817"/>
              <a:gd name="T23" fmla="*/ 0 h 749"/>
              <a:gd name="T24" fmla="*/ 0 w 817"/>
              <a:gd name="T25" fmla="*/ 238 h 749"/>
              <a:gd name="T26" fmla="*/ 238 w 817"/>
              <a:gd name="T27" fmla="*/ 477 h 749"/>
              <a:gd name="T28" fmla="*/ 238 w 817"/>
              <a:gd name="T29" fmla="*/ 341 h 749"/>
              <a:gd name="T30" fmla="*/ 511 w 817"/>
              <a:gd name="T31" fmla="*/ 341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17" h="749">
                <a:moveTo>
                  <a:pt x="817" y="511"/>
                </a:moveTo>
                <a:lnTo>
                  <a:pt x="580" y="272"/>
                </a:lnTo>
                <a:lnTo>
                  <a:pt x="580" y="408"/>
                </a:lnTo>
                <a:lnTo>
                  <a:pt x="306" y="408"/>
                </a:lnTo>
                <a:lnTo>
                  <a:pt x="306" y="613"/>
                </a:lnTo>
                <a:lnTo>
                  <a:pt x="580" y="613"/>
                </a:lnTo>
                <a:lnTo>
                  <a:pt x="580" y="749"/>
                </a:lnTo>
                <a:lnTo>
                  <a:pt x="817" y="511"/>
                </a:lnTo>
                <a:close/>
                <a:moveTo>
                  <a:pt x="511" y="341"/>
                </a:moveTo>
                <a:lnTo>
                  <a:pt x="511" y="136"/>
                </a:lnTo>
                <a:lnTo>
                  <a:pt x="238" y="136"/>
                </a:lnTo>
                <a:lnTo>
                  <a:pt x="238" y="0"/>
                </a:lnTo>
                <a:lnTo>
                  <a:pt x="0" y="238"/>
                </a:lnTo>
                <a:lnTo>
                  <a:pt x="238" y="477"/>
                </a:lnTo>
                <a:lnTo>
                  <a:pt x="238" y="341"/>
                </a:lnTo>
                <a:lnTo>
                  <a:pt x="511" y="3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Freeform 101"/>
          <p:cNvSpPr>
            <a:spLocks noEditPoints="1"/>
          </p:cNvSpPr>
          <p:nvPr/>
        </p:nvSpPr>
        <p:spPr bwMode="auto">
          <a:xfrm>
            <a:off x="4981724" y="4348067"/>
            <a:ext cx="122647" cy="184623"/>
          </a:xfrm>
          <a:custGeom>
            <a:avLst/>
            <a:gdLst>
              <a:gd name="T0" fmla="*/ 565 w 565"/>
              <a:gd name="T1" fmla="*/ 268 h 848"/>
              <a:gd name="T2" fmla="*/ 551 w 565"/>
              <a:gd name="T3" fmla="*/ 199 h 848"/>
              <a:gd name="T4" fmla="*/ 516 w 565"/>
              <a:gd name="T5" fmla="*/ 125 h 848"/>
              <a:gd name="T6" fmla="*/ 461 w 565"/>
              <a:gd name="T7" fmla="*/ 65 h 848"/>
              <a:gd name="T8" fmla="*/ 391 w 565"/>
              <a:gd name="T9" fmla="*/ 22 h 848"/>
              <a:gd name="T10" fmla="*/ 311 w 565"/>
              <a:gd name="T11" fmla="*/ 2 h 848"/>
              <a:gd name="T12" fmla="*/ 282 w 565"/>
              <a:gd name="T13" fmla="*/ 0 h 848"/>
              <a:gd name="T14" fmla="*/ 226 w 565"/>
              <a:gd name="T15" fmla="*/ 6 h 848"/>
              <a:gd name="T16" fmla="*/ 147 w 565"/>
              <a:gd name="T17" fmla="*/ 34 h 848"/>
              <a:gd name="T18" fmla="*/ 83 w 565"/>
              <a:gd name="T19" fmla="*/ 83 h 848"/>
              <a:gd name="T20" fmla="*/ 33 w 565"/>
              <a:gd name="T21" fmla="*/ 148 h 848"/>
              <a:gd name="T22" fmla="*/ 6 w 565"/>
              <a:gd name="T23" fmla="*/ 226 h 848"/>
              <a:gd name="T24" fmla="*/ 0 w 565"/>
              <a:gd name="T25" fmla="*/ 283 h 848"/>
              <a:gd name="T26" fmla="*/ 2 w 565"/>
              <a:gd name="T27" fmla="*/ 321 h 848"/>
              <a:gd name="T28" fmla="*/ 15 w 565"/>
              <a:gd name="T29" fmla="*/ 374 h 848"/>
              <a:gd name="T30" fmla="*/ 38 w 565"/>
              <a:gd name="T31" fmla="*/ 423 h 848"/>
              <a:gd name="T32" fmla="*/ 526 w 565"/>
              <a:gd name="T33" fmla="*/ 423 h 848"/>
              <a:gd name="T34" fmla="*/ 534 w 565"/>
              <a:gd name="T35" fmla="*/ 408 h 848"/>
              <a:gd name="T36" fmla="*/ 555 w 565"/>
              <a:gd name="T37" fmla="*/ 357 h 848"/>
              <a:gd name="T38" fmla="*/ 563 w 565"/>
              <a:gd name="T39" fmla="*/ 302 h 848"/>
              <a:gd name="T40" fmla="*/ 282 w 565"/>
              <a:gd name="T41" fmla="*/ 428 h 848"/>
              <a:gd name="T42" fmla="*/ 253 w 565"/>
              <a:gd name="T43" fmla="*/ 426 h 848"/>
              <a:gd name="T44" fmla="*/ 212 w 565"/>
              <a:gd name="T45" fmla="*/ 411 h 848"/>
              <a:gd name="T46" fmla="*/ 179 w 565"/>
              <a:gd name="T47" fmla="*/ 386 h 848"/>
              <a:gd name="T48" fmla="*/ 154 w 565"/>
              <a:gd name="T49" fmla="*/ 353 h 848"/>
              <a:gd name="T50" fmla="*/ 139 w 565"/>
              <a:gd name="T51" fmla="*/ 312 h 848"/>
              <a:gd name="T52" fmla="*/ 137 w 565"/>
              <a:gd name="T53" fmla="*/ 283 h 848"/>
              <a:gd name="T54" fmla="*/ 143 w 565"/>
              <a:gd name="T55" fmla="*/ 240 h 848"/>
              <a:gd name="T56" fmla="*/ 162 w 565"/>
              <a:gd name="T57" fmla="*/ 201 h 848"/>
              <a:gd name="T58" fmla="*/ 190 w 565"/>
              <a:gd name="T59" fmla="*/ 170 h 848"/>
              <a:gd name="T60" fmla="*/ 226 w 565"/>
              <a:gd name="T61" fmla="*/ 148 h 848"/>
              <a:gd name="T62" fmla="*/ 268 w 565"/>
              <a:gd name="T63" fmla="*/ 137 h 848"/>
              <a:gd name="T64" fmla="*/ 297 w 565"/>
              <a:gd name="T65" fmla="*/ 137 h 848"/>
              <a:gd name="T66" fmla="*/ 339 w 565"/>
              <a:gd name="T67" fmla="*/ 148 h 848"/>
              <a:gd name="T68" fmla="*/ 375 w 565"/>
              <a:gd name="T69" fmla="*/ 170 h 848"/>
              <a:gd name="T70" fmla="*/ 402 w 565"/>
              <a:gd name="T71" fmla="*/ 201 h 848"/>
              <a:gd name="T72" fmla="*/ 422 w 565"/>
              <a:gd name="T73" fmla="*/ 240 h 848"/>
              <a:gd name="T74" fmla="*/ 428 w 565"/>
              <a:gd name="T75" fmla="*/ 283 h 848"/>
              <a:gd name="T76" fmla="*/ 425 w 565"/>
              <a:gd name="T77" fmla="*/ 312 h 848"/>
              <a:gd name="T78" fmla="*/ 411 w 565"/>
              <a:gd name="T79" fmla="*/ 353 h 848"/>
              <a:gd name="T80" fmla="*/ 385 w 565"/>
              <a:gd name="T81" fmla="*/ 386 h 848"/>
              <a:gd name="T82" fmla="*/ 352 w 565"/>
              <a:gd name="T83" fmla="*/ 411 h 848"/>
              <a:gd name="T84" fmla="*/ 311 w 565"/>
              <a:gd name="T85" fmla="*/ 426 h 848"/>
              <a:gd name="T86" fmla="*/ 282 w 565"/>
              <a:gd name="T87" fmla="*/ 428 h 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65" h="848">
                <a:moveTo>
                  <a:pt x="565" y="283"/>
                </a:moveTo>
                <a:lnTo>
                  <a:pt x="565" y="283"/>
                </a:lnTo>
                <a:lnTo>
                  <a:pt x="565" y="268"/>
                </a:lnTo>
                <a:lnTo>
                  <a:pt x="563" y="254"/>
                </a:lnTo>
                <a:lnTo>
                  <a:pt x="559" y="226"/>
                </a:lnTo>
                <a:lnTo>
                  <a:pt x="551" y="199"/>
                </a:lnTo>
                <a:lnTo>
                  <a:pt x="543" y="173"/>
                </a:lnTo>
                <a:lnTo>
                  <a:pt x="531" y="148"/>
                </a:lnTo>
                <a:lnTo>
                  <a:pt x="516" y="125"/>
                </a:lnTo>
                <a:lnTo>
                  <a:pt x="500" y="104"/>
                </a:lnTo>
                <a:lnTo>
                  <a:pt x="482" y="83"/>
                </a:lnTo>
                <a:lnTo>
                  <a:pt x="461" y="65"/>
                </a:lnTo>
                <a:lnTo>
                  <a:pt x="440" y="48"/>
                </a:lnTo>
                <a:lnTo>
                  <a:pt x="417" y="34"/>
                </a:lnTo>
                <a:lnTo>
                  <a:pt x="391" y="22"/>
                </a:lnTo>
                <a:lnTo>
                  <a:pt x="366" y="14"/>
                </a:lnTo>
                <a:lnTo>
                  <a:pt x="339" y="6"/>
                </a:lnTo>
                <a:lnTo>
                  <a:pt x="311" y="2"/>
                </a:lnTo>
                <a:lnTo>
                  <a:pt x="297" y="0"/>
                </a:lnTo>
                <a:lnTo>
                  <a:pt x="282" y="0"/>
                </a:lnTo>
                <a:lnTo>
                  <a:pt x="282" y="0"/>
                </a:lnTo>
                <a:lnTo>
                  <a:pt x="268" y="0"/>
                </a:lnTo>
                <a:lnTo>
                  <a:pt x="253" y="2"/>
                </a:lnTo>
                <a:lnTo>
                  <a:pt x="226" y="6"/>
                </a:lnTo>
                <a:lnTo>
                  <a:pt x="198" y="14"/>
                </a:lnTo>
                <a:lnTo>
                  <a:pt x="173" y="22"/>
                </a:lnTo>
                <a:lnTo>
                  <a:pt x="147" y="34"/>
                </a:lnTo>
                <a:lnTo>
                  <a:pt x="125" y="48"/>
                </a:lnTo>
                <a:lnTo>
                  <a:pt x="103" y="65"/>
                </a:lnTo>
                <a:lnTo>
                  <a:pt x="83" y="83"/>
                </a:lnTo>
                <a:lnTo>
                  <a:pt x="65" y="104"/>
                </a:lnTo>
                <a:lnTo>
                  <a:pt x="48" y="125"/>
                </a:lnTo>
                <a:lnTo>
                  <a:pt x="33" y="148"/>
                </a:lnTo>
                <a:lnTo>
                  <a:pt x="21" y="173"/>
                </a:lnTo>
                <a:lnTo>
                  <a:pt x="13" y="199"/>
                </a:lnTo>
                <a:lnTo>
                  <a:pt x="6" y="226"/>
                </a:lnTo>
                <a:lnTo>
                  <a:pt x="1" y="254"/>
                </a:lnTo>
                <a:lnTo>
                  <a:pt x="0" y="268"/>
                </a:lnTo>
                <a:lnTo>
                  <a:pt x="0" y="283"/>
                </a:lnTo>
                <a:lnTo>
                  <a:pt x="0" y="283"/>
                </a:lnTo>
                <a:lnTo>
                  <a:pt x="1" y="302"/>
                </a:lnTo>
                <a:lnTo>
                  <a:pt x="2" y="321"/>
                </a:lnTo>
                <a:lnTo>
                  <a:pt x="6" y="339"/>
                </a:lnTo>
                <a:lnTo>
                  <a:pt x="9" y="357"/>
                </a:lnTo>
                <a:lnTo>
                  <a:pt x="15" y="374"/>
                </a:lnTo>
                <a:lnTo>
                  <a:pt x="21" y="391"/>
                </a:lnTo>
                <a:lnTo>
                  <a:pt x="30" y="408"/>
                </a:lnTo>
                <a:lnTo>
                  <a:pt x="38" y="423"/>
                </a:lnTo>
                <a:lnTo>
                  <a:pt x="38" y="423"/>
                </a:lnTo>
                <a:lnTo>
                  <a:pt x="282" y="848"/>
                </a:lnTo>
                <a:lnTo>
                  <a:pt x="526" y="423"/>
                </a:lnTo>
                <a:lnTo>
                  <a:pt x="526" y="423"/>
                </a:lnTo>
                <a:lnTo>
                  <a:pt x="526" y="423"/>
                </a:lnTo>
                <a:lnTo>
                  <a:pt x="534" y="408"/>
                </a:lnTo>
                <a:lnTo>
                  <a:pt x="543" y="391"/>
                </a:lnTo>
                <a:lnTo>
                  <a:pt x="549" y="374"/>
                </a:lnTo>
                <a:lnTo>
                  <a:pt x="555" y="357"/>
                </a:lnTo>
                <a:lnTo>
                  <a:pt x="559" y="339"/>
                </a:lnTo>
                <a:lnTo>
                  <a:pt x="562" y="321"/>
                </a:lnTo>
                <a:lnTo>
                  <a:pt x="563" y="302"/>
                </a:lnTo>
                <a:lnTo>
                  <a:pt x="565" y="283"/>
                </a:lnTo>
                <a:lnTo>
                  <a:pt x="565" y="283"/>
                </a:lnTo>
                <a:close/>
                <a:moveTo>
                  <a:pt x="282" y="428"/>
                </a:moveTo>
                <a:lnTo>
                  <a:pt x="282" y="428"/>
                </a:lnTo>
                <a:lnTo>
                  <a:pt x="268" y="428"/>
                </a:lnTo>
                <a:lnTo>
                  <a:pt x="253" y="426"/>
                </a:lnTo>
                <a:lnTo>
                  <a:pt x="239" y="422"/>
                </a:lnTo>
                <a:lnTo>
                  <a:pt x="226" y="417"/>
                </a:lnTo>
                <a:lnTo>
                  <a:pt x="212" y="411"/>
                </a:lnTo>
                <a:lnTo>
                  <a:pt x="200" y="403"/>
                </a:lnTo>
                <a:lnTo>
                  <a:pt x="190" y="396"/>
                </a:lnTo>
                <a:lnTo>
                  <a:pt x="179" y="386"/>
                </a:lnTo>
                <a:lnTo>
                  <a:pt x="169" y="375"/>
                </a:lnTo>
                <a:lnTo>
                  <a:pt x="162" y="365"/>
                </a:lnTo>
                <a:lnTo>
                  <a:pt x="154" y="353"/>
                </a:lnTo>
                <a:lnTo>
                  <a:pt x="147" y="339"/>
                </a:lnTo>
                <a:lnTo>
                  <a:pt x="143" y="326"/>
                </a:lnTo>
                <a:lnTo>
                  <a:pt x="139" y="312"/>
                </a:lnTo>
                <a:lnTo>
                  <a:pt x="137" y="297"/>
                </a:lnTo>
                <a:lnTo>
                  <a:pt x="137" y="283"/>
                </a:lnTo>
                <a:lnTo>
                  <a:pt x="137" y="283"/>
                </a:lnTo>
                <a:lnTo>
                  <a:pt x="137" y="268"/>
                </a:lnTo>
                <a:lnTo>
                  <a:pt x="139" y="254"/>
                </a:lnTo>
                <a:lnTo>
                  <a:pt x="143" y="240"/>
                </a:lnTo>
                <a:lnTo>
                  <a:pt x="147" y="226"/>
                </a:lnTo>
                <a:lnTo>
                  <a:pt x="154" y="213"/>
                </a:lnTo>
                <a:lnTo>
                  <a:pt x="162" y="201"/>
                </a:lnTo>
                <a:lnTo>
                  <a:pt x="169" y="190"/>
                </a:lnTo>
                <a:lnTo>
                  <a:pt x="179" y="179"/>
                </a:lnTo>
                <a:lnTo>
                  <a:pt x="190" y="170"/>
                </a:lnTo>
                <a:lnTo>
                  <a:pt x="200" y="163"/>
                </a:lnTo>
                <a:lnTo>
                  <a:pt x="212" y="154"/>
                </a:lnTo>
                <a:lnTo>
                  <a:pt x="226" y="148"/>
                </a:lnTo>
                <a:lnTo>
                  <a:pt x="239" y="143"/>
                </a:lnTo>
                <a:lnTo>
                  <a:pt x="253" y="140"/>
                </a:lnTo>
                <a:lnTo>
                  <a:pt x="268" y="137"/>
                </a:lnTo>
                <a:lnTo>
                  <a:pt x="282" y="137"/>
                </a:lnTo>
                <a:lnTo>
                  <a:pt x="282" y="137"/>
                </a:lnTo>
                <a:lnTo>
                  <a:pt x="297" y="137"/>
                </a:lnTo>
                <a:lnTo>
                  <a:pt x="311" y="140"/>
                </a:lnTo>
                <a:lnTo>
                  <a:pt x="325" y="143"/>
                </a:lnTo>
                <a:lnTo>
                  <a:pt x="339" y="148"/>
                </a:lnTo>
                <a:lnTo>
                  <a:pt x="352" y="154"/>
                </a:lnTo>
                <a:lnTo>
                  <a:pt x="364" y="163"/>
                </a:lnTo>
                <a:lnTo>
                  <a:pt x="375" y="170"/>
                </a:lnTo>
                <a:lnTo>
                  <a:pt x="385" y="179"/>
                </a:lnTo>
                <a:lnTo>
                  <a:pt x="394" y="190"/>
                </a:lnTo>
                <a:lnTo>
                  <a:pt x="402" y="201"/>
                </a:lnTo>
                <a:lnTo>
                  <a:pt x="411" y="213"/>
                </a:lnTo>
                <a:lnTo>
                  <a:pt x="417" y="226"/>
                </a:lnTo>
                <a:lnTo>
                  <a:pt x="422" y="240"/>
                </a:lnTo>
                <a:lnTo>
                  <a:pt x="425" y="254"/>
                </a:lnTo>
                <a:lnTo>
                  <a:pt x="428" y="268"/>
                </a:lnTo>
                <a:lnTo>
                  <a:pt x="428" y="283"/>
                </a:lnTo>
                <a:lnTo>
                  <a:pt x="428" y="283"/>
                </a:lnTo>
                <a:lnTo>
                  <a:pt x="428" y="297"/>
                </a:lnTo>
                <a:lnTo>
                  <a:pt x="425" y="312"/>
                </a:lnTo>
                <a:lnTo>
                  <a:pt x="422" y="326"/>
                </a:lnTo>
                <a:lnTo>
                  <a:pt x="417" y="339"/>
                </a:lnTo>
                <a:lnTo>
                  <a:pt x="411" y="353"/>
                </a:lnTo>
                <a:lnTo>
                  <a:pt x="402" y="365"/>
                </a:lnTo>
                <a:lnTo>
                  <a:pt x="394" y="375"/>
                </a:lnTo>
                <a:lnTo>
                  <a:pt x="385" y="386"/>
                </a:lnTo>
                <a:lnTo>
                  <a:pt x="375" y="396"/>
                </a:lnTo>
                <a:lnTo>
                  <a:pt x="364" y="403"/>
                </a:lnTo>
                <a:lnTo>
                  <a:pt x="352" y="411"/>
                </a:lnTo>
                <a:lnTo>
                  <a:pt x="339" y="417"/>
                </a:lnTo>
                <a:lnTo>
                  <a:pt x="325" y="422"/>
                </a:lnTo>
                <a:lnTo>
                  <a:pt x="311" y="426"/>
                </a:lnTo>
                <a:lnTo>
                  <a:pt x="297" y="428"/>
                </a:lnTo>
                <a:lnTo>
                  <a:pt x="282" y="428"/>
                </a:lnTo>
                <a:lnTo>
                  <a:pt x="282" y="4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B1758D-09E2-4300-8BA2-DA08603440EF}"/>
              </a:ext>
            </a:extLst>
          </p:cNvPr>
          <p:cNvSpPr txBox="1"/>
          <p:nvPr/>
        </p:nvSpPr>
        <p:spPr>
          <a:xfrm>
            <a:off x="505009" y="3361217"/>
            <a:ext cx="2389434" cy="67925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usmod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or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ididunt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bore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t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lore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agna </a:t>
            </a:r>
            <a:r>
              <a:rPr lang="en-GB" sz="1050" dirty="0" err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qua</a:t>
            </a:r>
            <a:r>
              <a:rPr lang="en-GB" sz="105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B7A0C21-17DA-4C5A-9DDA-A94D29F5F18B}"/>
              </a:ext>
            </a:extLst>
          </p:cNvPr>
          <p:cNvSpPr txBox="1"/>
          <p:nvPr/>
        </p:nvSpPr>
        <p:spPr>
          <a:xfrm>
            <a:off x="1447069" y="2203292"/>
            <a:ext cx="2389434" cy="6776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ng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i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do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iusmo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mp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cididun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u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b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magna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iqua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532CFAE-C51E-4C98-94ED-76BFCAC3E770}"/>
              </a:ext>
            </a:extLst>
          </p:cNvPr>
          <p:cNvSpPr txBox="1"/>
          <p:nvPr/>
        </p:nvSpPr>
        <p:spPr>
          <a:xfrm>
            <a:off x="963703" y="4699757"/>
            <a:ext cx="2389434" cy="7147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ng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i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do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iusmo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mp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cididun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u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b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magna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iqua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60D135-93EA-424D-BCFB-4B9B86DB6BF7}"/>
              </a:ext>
            </a:extLst>
          </p:cNvPr>
          <p:cNvSpPr txBox="1"/>
          <p:nvPr/>
        </p:nvSpPr>
        <p:spPr>
          <a:xfrm>
            <a:off x="6700994" y="2554429"/>
            <a:ext cx="2389434" cy="68012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ng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i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do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iusmo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mp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cididun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u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b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magna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iqua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74AD11-645B-48F1-B169-1F4F120D8ED4}"/>
              </a:ext>
            </a:extLst>
          </p:cNvPr>
          <p:cNvSpPr txBox="1"/>
          <p:nvPr/>
        </p:nvSpPr>
        <p:spPr>
          <a:xfrm>
            <a:off x="2716603" y="1979519"/>
            <a:ext cx="1089762" cy="240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050" b="1" dirty="0">
                <a:solidFill>
                  <a:srgbClr val="2B256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itle 1</a:t>
            </a:r>
            <a:endParaRPr lang="en-GB" sz="1050" b="1" dirty="0">
              <a:solidFill>
                <a:srgbClr val="2B256F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E6D23AD-6E6D-4271-8D29-163B482835D8}"/>
              </a:ext>
            </a:extLst>
          </p:cNvPr>
          <p:cNvSpPr txBox="1"/>
          <p:nvPr/>
        </p:nvSpPr>
        <p:spPr>
          <a:xfrm>
            <a:off x="6700755" y="2315210"/>
            <a:ext cx="1089762" cy="240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50" b="1" dirty="0">
                <a:solidFill>
                  <a:srgbClr val="51508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itle 2</a:t>
            </a:r>
            <a:endParaRPr lang="en-GB" sz="1050" b="1" dirty="0">
              <a:solidFill>
                <a:srgbClr val="51508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96E5CC1-4F31-4D9E-9F98-9004F59E51A7}"/>
              </a:ext>
            </a:extLst>
          </p:cNvPr>
          <p:cNvSpPr txBox="1"/>
          <p:nvPr/>
        </p:nvSpPr>
        <p:spPr>
          <a:xfrm>
            <a:off x="1777132" y="3136213"/>
            <a:ext cx="1089762" cy="240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050" b="1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itle 6</a:t>
            </a:r>
            <a:endParaRPr lang="en-GB" sz="1050" b="1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8A76E9D-7C6E-4CAC-9D74-71D162E938FA}"/>
              </a:ext>
            </a:extLst>
          </p:cNvPr>
          <p:cNvSpPr txBox="1"/>
          <p:nvPr/>
        </p:nvSpPr>
        <p:spPr>
          <a:xfrm>
            <a:off x="2240152" y="4491188"/>
            <a:ext cx="1089762" cy="240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050" b="1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itle 5</a:t>
            </a:r>
            <a:endParaRPr lang="en-GB" sz="1050" b="1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BBFCFAF-2C48-42F6-9639-2421FCF66170}"/>
              </a:ext>
            </a:extLst>
          </p:cNvPr>
          <p:cNvSpPr txBox="1"/>
          <p:nvPr/>
        </p:nvSpPr>
        <p:spPr>
          <a:xfrm>
            <a:off x="7158192" y="3909404"/>
            <a:ext cx="2389434" cy="68012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ng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i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do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iusmo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mp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cididun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u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b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magna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iqua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36C9692-39EF-4C3B-80E2-45E894189916}"/>
              </a:ext>
            </a:extLst>
          </p:cNvPr>
          <p:cNvSpPr txBox="1"/>
          <p:nvPr/>
        </p:nvSpPr>
        <p:spPr>
          <a:xfrm>
            <a:off x="7157953" y="3670185"/>
            <a:ext cx="1089762" cy="240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50" b="1" dirty="0">
                <a:solidFill>
                  <a:srgbClr val="9090BA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itle 3</a:t>
            </a:r>
            <a:endParaRPr lang="en-GB" sz="1050" b="1" dirty="0">
              <a:solidFill>
                <a:srgbClr val="9090BA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D241644-D091-4EE4-8B90-E5C399AE6C1C}"/>
              </a:ext>
            </a:extLst>
          </p:cNvPr>
          <p:cNvSpPr txBox="1"/>
          <p:nvPr/>
        </p:nvSpPr>
        <p:spPr>
          <a:xfrm>
            <a:off x="6318607" y="5197877"/>
            <a:ext cx="2389434" cy="68012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ng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i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do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iusmod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mpor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cididun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ut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b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t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e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magna </a:t>
            </a:r>
            <a:r>
              <a:rPr lang="en-GB" sz="105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iqua</a:t>
            </a:r>
            <a:r>
              <a:rPr lang="en-GB" sz="105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9036C66-4008-49E7-9B94-406FE8E8D128}"/>
              </a:ext>
            </a:extLst>
          </p:cNvPr>
          <p:cNvSpPr txBox="1"/>
          <p:nvPr/>
        </p:nvSpPr>
        <p:spPr>
          <a:xfrm>
            <a:off x="6318368" y="4958658"/>
            <a:ext cx="1089762" cy="240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50" b="1" dirty="0">
                <a:solidFill>
                  <a:srgbClr val="7F7F7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itle 4</a:t>
            </a:r>
            <a:endParaRPr lang="en-GB" sz="1050" b="1" dirty="0">
              <a:solidFill>
                <a:srgbClr val="7F7F7F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A2E1E38-63B9-4858-9557-D9A04BD4E0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6 bullet points</a:t>
            </a:r>
            <a:endParaRPr lang="da-DK" dirty="0"/>
          </a:p>
        </p:txBody>
      </p:sp>
      <p:sp>
        <p:nvSpPr>
          <p:cNvPr id="56" name="Text Placeholder 32">
            <a:extLst>
              <a:ext uri="{FF2B5EF4-FFF2-40B4-BE49-F238E27FC236}">
                <a16:creationId xmlns:a16="http://schemas.microsoft.com/office/drawing/2014/main" id="{C5F985F0-AF01-42D6-A1C0-7DEAB47A5483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08988880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Freeform 12"/>
          <p:cNvSpPr>
            <a:spLocks/>
          </p:cNvSpPr>
          <p:nvPr/>
        </p:nvSpPr>
        <p:spPr bwMode="auto">
          <a:xfrm rot="21025029">
            <a:off x="4351989" y="4102942"/>
            <a:ext cx="2382228" cy="2572748"/>
          </a:xfrm>
          <a:custGeom>
            <a:avLst/>
            <a:gdLst>
              <a:gd name="T0" fmla="*/ 0 w 273"/>
              <a:gd name="T1" fmla="*/ 157 h 295"/>
              <a:gd name="T2" fmla="*/ 165 w 273"/>
              <a:gd name="T3" fmla="*/ 295 h 295"/>
              <a:gd name="T4" fmla="*/ 273 w 273"/>
              <a:gd name="T5" fmla="*/ 0 h 295"/>
              <a:gd name="T6" fmla="*/ 0 w 273"/>
              <a:gd name="T7" fmla="*/ 157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3" h="295">
                <a:moveTo>
                  <a:pt x="0" y="157"/>
                </a:moveTo>
                <a:cubicBezTo>
                  <a:pt x="37" y="221"/>
                  <a:pt x="95" y="270"/>
                  <a:pt x="165" y="295"/>
                </a:cubicBezTo>
                <a:lnTo>
                  <a:pt x="273" y="0"/>
                </a:lnTo>
                <a:lnTo>
                  <a:pt x="0" y="157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711264" y="5743283"/>
            <a:ext cx="1404773" cy="197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mplementation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191222" y="5383761"/>
            <a:ext cx="476205" cy="39474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45" name="Freeform 11"/>
          <p:cNvSpPr>
            <a:spLocks/>
          </p:cNvSpPr>
          <p:nvPr/>
        </p:nvSpPr>
        <p:spPr bwMode="auto">
          <a:xfrm rot="21025029">
            <a:off x="5781861" y="3888356"/>
            <a:ext cx="1876113" cy="2747270"/>
          </a:xfrm>
          <a:custGeom>
            <a:avLst/>
            <a:gdLst>
              <a:gd name="T0" fmla="*/ 0 w 215"/>
              <a:gd name="T1" fmla="*/ 295 h 315"/>
              <a:gd name="T2" fmla="*/ 108 w 215"/>
              <a:gd name="T3" fmla="*/ 315 h 315"/>
              <a:gd name="T4" fmla="*/ 215 w 215"/>
              <a:gd name="T5" fmla="*/ 295 h 315"/>
              <a:gd name="T6" fmla="*/ 108 w 215"/>
              <a:gd name="T7" fmla="*/ 0 h 315"/>
              <a:gd name="T8" fmla="*/ 0 w 215"/>
              <a:gd name="T9" fmla="*/ 295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5" h="315">
                <a:moveTo>
                  <a:pt x="0" y="295"/>
                </a:moveTo>
                <a:cubicBezTo>
                  <a:pt x="34" y="308"/>
                  <a:pt x="71" y="315"/>
                  <a:pt x="108" y="315"/>
                </a:cubicBezTo>
                <a:cubicBezTo>
                  <a:pt x="144" y="314"/>
                  <a:pt x="181" y="308"/>
                  <a:pt x="215" y="295"/>
                </a:cubicBezTo>
                <a:lnTo>
                  <a:pt x="108" y="0"/>
                </a:lnTo>
                <a:lnTo>
                  <a:pt x="0" y="29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372274" y="5875554"/>
            <a:ext cx="1000427" cy="3947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rtner</a:t>
            </a:r>
            <a:b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valuation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610678" y="5515490"/>
            <a:ext cx="476205" cy="39474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44" name="Freeform 10"/>
          <p:cNvSpPr>
            <a:spLocks/>
          </p:cNvSpPr>
          <p:nvPr/>
        </p:nvSpPr>
        <p:spPr bwMode="auto">
          <a:xfrm rot="21025029">
            <a:off x="6645718" y="3714993"/>
            <a:ext cx="2373502" cy="2572748"/>
          </a:xfrm>
          <a:custGeom>
            <a:avLst/>
            <a:gdLst>
              <a:gd name="T0" fmla="*/ 107 w 272"/>
              <a:gd name="T1" fmla="*/ 295 h 295"/>
              <a:gd name="T2" fmla="*/ 272 w 272"/>
              <a:gd name="T3" fmla="*/ 157 h 295"/>
              <a:gd name="T4" fmla="*/ 0 w 272"/>
              <a:gd name="T5" fmla="*/ 0 h 295"/>
              <a:gd name="T6" fmla="*/ 107 w 272"/>
              <a:gd name="T7" fmla="*/ 295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72" h="295">
                <a:moveTo>
                  <a:pt x="107" y="295"/>
                </a:moveTo>
                <a:cubicBezTo>
                  <a:pt x="177" y="270"/>
                  <a:pt x="235" y="221"/>
                  <a:pt x="272" y="157"/>
                </a:cubicBezTo>
                <a:lnTo>
                  <a:pt x="0" y="0"/>
                </a:lnTo>
                <a:lnTo>
                  <a:pt x="107" y="295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591224" y="5247274"/>
            <a:ext cx="1000427" cy="3947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rket</a:t>
            </a:r>
            <a:b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ntry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7853335" y="4893109"/>
            <a:ext cx="476205" cy="39474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3" name="Freeform 9"/>
          <p:cNvSpPr>
            <a:spLocks/>
          </p:cNvSpPr>
          <p:nvPr/>
        </p:nvSpPr>
        <p:spPr bwMode="auto">
          <a:xfrm rot="21025029">
            <a:off x="6517997" y="3230617"/>
            <a:ext cx="2748724" cy="1857207"/>
          </a:xfrm>
          <a:custGeom>
            <a:avLst/>
            <a:gdLst>
              <a:gd name="T0" fmla="*/ 272 w 315"/>
              <a:gd name="T1" fmla="*/ 213 h 213"/>
              <a:gd name="T2" fmla="*/ 315 w 315"/>
              <a:gd name="T3" fmla="*/ 56 h 213"/>
              <a:gd name="T4" fmla="*/ 310 w 315"/>
              <a:gd name="T5" fmla="*/ 0 h 213"/>
              <a:gd name="T6" fmla="*/ 0 w 315"/>
              <a:gd name="T7" fmla="*/ 56 h 213"/>
              <a:gd name="T8" fmla="*/ 272 w 315"/>
              <a:gd name="T9" fmla="*/ 213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5" h="213">
                <a:moveTo>
                  <a:pt x="272" y="213"/>
                </a:moveTo>
                <a:cubicBezTo>
                  <a:pt x="300" y="165"/>
                  <a:pt x="315" y="111"/>
                  <a:pt x="315" y="56"/>
                </a:cubicBezTo>
                <a:cubicBezTo>
                  <a:pt x="315" y="37"/>
                  <a:pt x="313" y="19"/>
                  <a:pt x="310" y="0"/>
                </a:cubicBezTo>
                <a:lnTo>
                  <a:pt x="0" y="56"/>
                </a:lnTo>
                <a:lnTo>
                  <a:pt x="272" y="213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  <a:effectLst>
            <a:outerShdw blurRad="50800" dist="508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040642" y="3860013"/>
            <a:ext cx="1000427" cy="3947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ternal</a:t>
            </a:r>
            <a:b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agnostic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302753" y="3506051"/>
            <a:ext cx="476205" cy="39474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2" name="Freeform 8"/>
          <p:cNvSpPr>
            <a:spLocks/>
          </p:cNvSpPr>
          <p:nvPr/>
        </p:nvSpPr>
        <p:spPr bwMode="auto">
          <a:xfrm rot="21025029">
            <a:off x="6277192" y="1632065"/>
            <a:ext cx="2705094" cy="2111718"/>
          </a:xfrm>
          <a:custGeom>
            <a:avLst/>
            <a:gdLst>
              <a:gd name="T0" fmla="*/ 310 w 310"/>
              <a:gd name="T1" fmla="*/ 186 h 242"/>
              <a:gd name="T2" fmla="*/ 202 w 310"/>
              <a:gd name="T3" fmla="*/ 0 h 242"/>
              <a:gd name="T4" fmla="*/ 0 w 310"/>
              <a:gd name="T5" fmla="*/ 242 h 242"/>
              <a:gd name="T6" fmla="*/ 310 w 310"/>
              <a:gd name="T7" fmla="*/ 186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10" h="242">
                <a:moveTo>
                  <a:pt x="310" y="186"/>
                </a:moveTo>
                <a:cubicBezTo>
                  <a:pt x="297" y="114"/>
                  <a:pt x="259" y="48"/>
                  <a:pt x="202" y="0"/>
                </a:cubicBezTo>
                <a:lnTo>
                  <a:pt x="0" y="242"/>
                </a:lnTo>
                <a:lnTo>
                  <a:pt x="310" y="186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619147" y="2498453"/>
            <a:ext cx="1000427" cy="3947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rket Assessment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881259" y="2140056"/>
            <a:ext cx="476205" cy="39474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417513" y="4902360"/>
            <a:ext cx="3990740" cy="797575"/>
          </a:xfrm>
          <a:prstGeom prst="rect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7" name="Freeform 13"/>
          <p:cNvSpPr>
            <a:spLocks/>
          </p:cNvSpPr>
          <p:nvPr/>
        </p:nvSpPr>
        <p:spPr bwMode="auto">
          <a:xfrm rot="21025029">
            <a:off x="3838476" y="3696836"/>
            <a:ext cx="2757450" cy="1857207"/>
          </a:xfrm>
          <a:custGeom>
            <a:avLst/>
            <a:gdLst>
              <a:gd name="T0" fmla="*/ 5 w 316"/>
              <a:gd name="T1" fmla="*/ 0 h 213"/>
              <a:gd name="T2" fmla="*/ 1 w 316"/>
              <a:gd name="T3" fmla="*/ 55 h 213"/>
              <a:gd name="T4" fmla="*/ 43 w 316"/>
              <a:gd name="T5" fmla="*/ 213 h 213"/>
              <a:gd name="T6" fmla="*/ 316 w 316"/>
              <a:gd name="T7" fmla="*/ 56 h 213"/>
              <a:gd name="T8" fmla="*/ 5 w 316"/>
              <a:gd name="T9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" h="213">
                <a:moveTo>
                  <a:pt x="5" y="0"/>
                </a:moveTo>
                <a:cubicBezTo>
                  <a:pt x="2" y="19"/>
                  <a:pt x="1" y="37"/>
                  <a:pt x="1" y="55"/>
                </a:cubicBezTo>
                <a:cubicBezTo>
                  <a:pt x="0" y="111"/>
                  <a:pt x="15" y="165"/>
                  <a:pt x="43" y="213"/>
                </a:cubicBezTo>
                <a:lnTo>
                  <a:pt x="316" y="56"/>
                </a:lnTo>
                <a:lnTo>
                  <a:pt x="5" y="0"/>
                </a:lnTo>
                <a:close/>
              </a:path>
            </a:pathLst>
          </a:custGeom>
          <a:solidFill>
            <a:schemeClr val="accent1">
              <a:alpha val="83000"/>
            </a:schemeClr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48" name="Freeform 14"/>
          <p:cNvSpPr>
            <a:spLocks/>
          </p:cNvSpPr>
          <p:nvPr/>
        </p:nvSpPr>
        <p:spPr bwMode="auto">
          <a:xfrm rot="21025029">
            <a:off x="3632791" y="2091021"/>
            <a:ext cx="2713820" cy="2111718"/>
          </a:xfrm>
          <a:custGeom>
            <a:avLst/>
            <a:gdLst>
              <a:gd name="T0" fmla="*/ 108 w 311"/>
              <a:gd name="T1" fmla="*/ 0 h 242"/>
              <a:gd name="T2" fmla="*/ 0 w 311"/>
              <a:gd name="T3" fmla="*/ 186 h 242"/>
              <a:gd name="T4" fmla="*/ 311 w 311"/>
              <a:gd name="T5" fmla="*/ 242 h 242"/>
              <a:gd name="T6" fmla="*/ 108 w 311"/>
              <a:gd name="T7" fmla="*/ 0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11" h="242">
                <a:moveTo>
                  <a:pt x="108" y="0"/>
                </a:moveTo>
                <a:cubicBezTo>
                  <a:pt x="51" y="48"/>
                  <a:pt x="13" y="114"/>
                  <a:pt x="0" y="186"/>
                </a:cubicBezTo>
                <a:lnTo>
                  <a:pt x="311" y="242"/>
                </a:lnTo>
                <a:lnTo>
                  <a:pt x="108" y="0"/>
                </a:lnTo>
                <a:close/>
              </a:path>
            </a:pathLst>
          </a:custGeom>
          <a:solidFill>
            <a:schemeClr val="accent1">
              <a:alpha val="83000"/>
            </a:schemeClr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41" name="Freeform 7"/>
          <p:cNvSpPr>
            <a:spLocks/>
          </p:cNvSpPr>
          <p:nvPr/>
        </p:nvSpPr>
        <p:spPr bwMode="auto">
          <a:xfrm rot="21025029">
            <a:off x="6246550" y="1085850"/>
            <a:ext cx="1762674" cy="2748724"/>
          </a:xfrm>
          <a:custGeom>
            <a:avLst/>
            <a:gdLst>
              <a:gd name="T0" fmla="*/ 202 w 202"/>
              <a:gd name="T1" fmla="*/ 73 h 315"/>
              <a:gd name="T2" fmla="*/ 0 w 202"/>
              <a:gd name="T3" fmla="*/ 0 h 315"/>
              <a:gd name="T4" fmla="*/ 0 w 202"/>
              <a:gd name="T5" fmla="*/ 315 h 315"/>
              <a:gd name="T6" fmla="*/ 202 w 202"/>
              <a:gd name="T7" fmla="*/ 73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2" h="315">
                <a:moveTo>
                  <a:pt x="202" y="73"/>
                </a:moveTo>
                <a:cubicBezTo>
                  <a:pt x="145" y="26"/>
                  <a:pt x="73" y="0"/>
                  <a:pt x="0" y="0"/>
                </a:cubicBezTo>
                <a:lnTo>
                  <a:pt x="0" y="315"/>
                </a:lnTo>
                <a:lnTo>
                  <a:pt x="202" y="73"/>
                </a:lnTo>
                <a:close/>
              </a:path>
            </a:pathLst>
          </a:custGeom>
          <a:solidFill>
            <a:schemeClr val="tx1">
              <a:lumMod val="90000"/>
              <a:lumOff val="10000"/>
            </a:schemeClr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372586" y="1917190"/>
            <a:ext cx="1000427" cy="3947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rket Diagnostic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634698" y="1527137"/>
            <a:ext cx="476205" cy="39474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9" name="Freeform 15"/>
          <p:cNvSpPr>
            <a:spLocks/>
          </p:cNvSpPr>
          <p:nvPr/>
        </p:nvSpPr>
        <p:spPr bwMode="auto">
          <a:xfrm rot="21025029">
            <a:off x="4515613" y="1380015"/>
            <a:ext cx="1771400" cy="2748724"/>
          </a:xfrm>
          <a:custGeom>
            <a:avLst/>
            <a:gdLst>
              <a:gd name="T0" fmla="*/ 202 w 203"/>
              <a:gd name="T1" fmla="*/ 0 h 315"/>
              <a:gd name="T2" fmla="*/ 0 w 203"/>
              <a:gd name="T3" fmla="*/ 73 h 315"/>
              <a:gd name="T4" fmla="*/ 203 w 203"/>
              <a:gd name="T5" fmla="*/ 315 h 315"/>
              <a:gd name="T6" fmla="*/ 202 w 203"/>
              <a:gd name="T7" fmla="*/ 0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3" h="315">
                <a:moveTo>
                  <a:pt x="202" y="0"/>
                </a:moveTo>
                <a:cubicBezTo>
                  <a:pt x="129" y="0"/>
                  <a:pt x="57" y="26"/>
                  <a:pt x="0" y="73"/>
                </a:cubicBezTo>
                <a:lnTo>
                  <a:pt x="203" y="315"/>
                </a:lnTo>
                <a:lnTo>
                  <a:pt x="202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  <a:effectLst>
            <a:outerShdw blurRad="50800" dist="508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+mn-l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033773" y="2047283"/>
            <a:ext cx="1000427" cy="3947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rket Dynamic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295884" y="1682490"/>
            <a:ext cx="476205" cy="39474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0" name="Pentagon 49"/>
          <p:cNvSpPr/>
          <p:nvPr/>
        </p:nvSpPr>
        <p:spPr bwMode="auto">
          <a:xfrm>
            <a:off x="0" y="2169384"/>
            <a:ext cx="6527157" cy="3534282"/>
          </a:xfrm>
          <a:prstGeom prst="homePlate">
            <a:avLst>
              <a:gd name="adj" fmla="val 59789"/>
            </a:avLst>
          </a:prstGeom>
          <a:solidFill>
            <a:schemeClr val="tx1"/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1" name="Oval 50"/>
          <p:cNvSpPr/>
          <p:nvPr/>
        </p:nvSpPr>
        <p:spPr bwMode="auto">
          <a:xfrm>
            <a:off x="5175447" y="2566414"/>
            <a:ext cx="2756029" cy="275602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</a:pP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7-stage</a:t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Go-to-marke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b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rategy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407432" y="3327710"/>
            <a:ext cx="1000427" cy="197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ver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07432" y="3400228"/>
            <a:ext cx="1254146" cy="13534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752974" y="4313613"/>
            <a:ext cx="1000427" cy="197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yea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13BE50D-C157-4AFA-B8B7-369EF8459912}"/>
              </a:ext>
            </a:extLst>
          </p:cNvPr>
          <p:cNvGrpSpPr/>
          <p:nvPr/>
        </p:nvGrpSpPr>
        <p:grpSpPr>
          <a:xfrm>
            <a:off x="407432" y="4614484"/>
            <a:ext cx="2113250" cy="400566"/>
            <a:chOff x="411162" y="4313459"/>
            <a:chExt cx="2306722" cy="437238"/>
          </a:xfrm>
        </p:grpSpPr>
        <p:sp>
          <p:nvSpPr>
            <p:cNvPr id="70" name="TextBox 69"/>
            <p:cNvSpPr txBox="1"/>
            <p:nvPr/>
          </p:nvSpPr>
          <p:spPr>
            <a:xfrm>
              <a:off x="411162" y="4313459"/>
              <a:ext cx="215764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xperience of go-to-market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411162" y="4535253"/>
              <a:ext cx="230672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trategy in emerging markets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6BA3321D-1630-44F4-87DB-A278AB149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Go-to-market strategy</a:t>
            </a:r>
            <a:endParaRPr lang="da-DK" dirty="0"/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72D1FE34-1BD1-4F35-BC68-411D852CB0A3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0535906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 txBox="1">
            <a:spLocks/>
          </p:cNvSpPr>
          <p:nvPr/>
        </p:nvSpPr>
        <p:spPr>
          <a:xfrm>
            <a:off x="7343999" y="1584822"/>
            <a:ext cx="2013460" cy="26178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AKNESS</a:t>
            </a:r>
            <a:endParaRPr lang="id-ID" sz="160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39288" y="2164341"/>
            <a:ext cx="208551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is simply dummy text of the printing and typesetting industry 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572177" y="1584822"/>
            <a:ext cx="2013460" cy="261780"/>
          </a:xfrm>
          <a:prstGeom prst="rect">
            <a:avLst/>
          </a:prstGeom>
          <a:noFill/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RENGTH</a:t>
            </a:r>
            <a:endParaRPr lang="id-ID" sz="160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6020" y="2164341"/>
            <a:ext cx="2172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is simply dummy text of the printing and typesetting industry </a:t>
            </a:r>
          </a:p>
        </p:txBody>
      </p:sp>
      <p:sp>
        <p:nvSpPr>
          <p:cNvPr id="12" name="Text Placeholder 2"/>
          <p:cNvSpPr txBox="1">
            <a:spLocks/>
          </p:cNvSpPr>
          <p:nvPr/>
        </p:nvSpPr>
        <p:spPr>
          <a:xfrm>
            <a:off x="572177" y="5265424"/>
            <a:ext cx="2013460" cy="261780"/>
          </a:xfrm>
          <a:prstGeom prst="rect">
            <a:avLst/>
          </a:prstGeom>
          <a:noFill/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PPORTUNITIES</a:t>
            </a:r>
            <a:endParaRPr lang="id-ID" sz="160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2177" y="5846733"/>
            <a:ext cx="220591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is simply dummy text of the printing and typesetting industry </a:t>
            </a: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7343999" y="5265424"/>
            <a:ext cx="2013460" cy="26178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REAT</a:t>
            </a:r>
            <a:endParaRPr lang="id-ID" sz="160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076235" y="5861505"/>
            <a:ext cx="22009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 is simply dummy text of the printing and typesetting industry </a:t>
            </a:r>
          </a:p>
        </p:txBody>
      </p:sp>
      <p:sp>
        <p:nvSpPr>
          <p:cNvPr id="19" name="Diamond 18"/>
          <p:cNvSpPr/>
          <p:nvPr/>
        </p:nvSpPr>
        <p:spPr bwMode="auto">
          <a:xfrm>
            <a:off x="3553097" y="2368600"/>
            <a:ext cx="2762311" cy="2778851"/>
          </a:xfrm>
          <a:prstGeom prst="diamond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Diamond 19"/>
          <p:cNvSpPr/>
          <p:nvPr/>
        </p:nvSpPr>
        <p:spPr bwMode="auto">
          <a:xfrm>
            <a:off x="3702985" y="2519385"/>
            <a:ext cx="2462536" cy="2477281"/>
          </a:xfrm>
          <a:prstGeom prst="diamond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Diamond 20"/>
          <p:cNvSpPr/>
          <p:nvPr/>
        </p:nvSpPr>
        <p:spPr bwMode="auto">
          <a:xfrm>
            <a:off x="3410267" y="2224914"/>
            <a:ext cx="3047972" cy="3066223"/>
          </a:xfrm>
          <a:prstGeom prst="diamond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Pentagon 21"/>
          <p:cNvSpPr/>
          <p:nvPr/>
        </p:nvSpPr>
        <p:spPr bwMode="auto">
          <a:xfrm rot="18888017">
            <a:off x="3186035" y="2054446"/>
            <a:ext cx="1611110" cy="1548664"/>
          </a:xfrm>
          <a:prstGeom prst="pentagon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  <a:effectLst>
            <a:glow rad="76200">
              <a:schemeClr val="accent2">
                <a:satMod val="175000"/>
                <a:alpha val="40000"/>
              </a:schemeClr>
            </a:glo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Pentagon 22"/>
          <p:cNvSpPr/>
          <p:nvPr/>
        </p:nvSpPr>
        <p:spPr bwMode="auto">
          <a:xfrm rot="8119099" flipH="1">
            <a:off x="5045244" y="3929468"/>
            <a:ext cx="1611110" cy="1548664"/>
          </a:xfrm>
          <a:prstGeom prst="pentagon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  <a:effectLst>
            <a:glow rad="76200">
              <a:schemeClr val="accent2">
                <a:satMod val="175000"/>
                <a:alpha val="40000"/>
              </a:schemeClr>
            </a:glo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Pentagon 23"/>
          <p:cNvSpPr/>
          <p:nvPr/>
        </p:nvSpPr>
        <p:spPr bwMode="auto">
          <a:xfrm rot="2847010" flipH="1">
            <a:off x="5058820" y="2070433"/>
            <a:ext cx="1611110" cy="1548664"/>
          </a:xfrm>
          <a:prstGeom prst="pentagon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  <a:effectLst>
            <a:glow rad="76200">
              <a:schemeClr val="accent2">
                <a:satMod val="175000"/>
                <a:alpha val="40000"/>
              </a:schemeClr>
            </a:glo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Pentagon 24"/>
          <p:cNvSpPr/>
          <p:nvPr/>
        </p:nvSpPr>
        <p:spPr bwMode="auto">
          <a:xfrm rot="13507277" flipH="1">
            <a:off x="3181648" y="3929649"/>
            <a:ext cx="1611110" cy="1548664"/>
          </a:xfrm>
          <a:prstGeom prst="pentagon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  <a:effectLst>
            <a:glow rad="76200">
              <a:schemeClr val="accent2">
                <a:satMod val="175000"/>
                <a:alpha val="40000"/>
              </a:schemeClr>
            </a:glo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 rot="18863521">
            <a:off x="3736296" y="2796118"/>
            <a:ext cx="162428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38" name="TextBox 37"/>
          <p:cNvSpPr txBox="1"/>
          <p:nvPr/>
        </p:nvSpPr>
        <p:spPr>
          <a:xfrm rot="2818070">
            <a:off x="5013921" y="3079284"/>
            <a:ext cx="10255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44" name="Freeform: Shape 43"/>
          <p:cNvSpPr/>
          <p:nvPr/>
        </p:nvSpPr>
        <p:spPr bwMode="auto">
          <a:xfrm flipH="1">
            <a:off x="6479308" y="1922905"/>
            <a:ext cx="2834640" cy="323850"/>
          </a:xfrm>
          <a:custGeom>
            <a:avLst/>
            <a:gdLst>
              <a:gd name="connsiteX0" fmla="*/ 0 w 3009900"/>
              <a:gd name="connsiteY0" fmla="*/ 0 h 209550"/>
              <a:gd name="connsiteX1" fmla="*/ 2781300 w 3009900"/>
              <a:gd name="connsiteY1" fmla="*/ 0 h 209550"/>
              <a:gd name="connsiteX2" fmla="*/ 3009900 w 3009900"/>
              <a:gd name="connsiteY2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9900" h="209550">
                <a:moveTo>
                  <a:pt x="0" y="0"/>
                </a:moveTo>
                <a:lnTo>
                  <a:pt x="2781300" y="0"/>
                </a:lnTo>
                <a:lnTo>
                  <a:pt x="3009900" y="20955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Freeform: Shape 44"/>
          <p:cNvSpPr/>
          <p:nvPr/>
        </p:nvSpPr>
        <p:spPr bwMode="auto">
          <a:xfrm flipV="1">
            <a:off x="548541" y="5300662"/>
            <a:ext cx="2834640" cy="323850"/>
          </a:xfrm>
          <a:custGeom>
            <a:avLst/>
            <a:gdLst>
              <a:gd name="connsiteX0" fmla="*/ 0 w 3009900"/>
              <a:gd name="connsiteY0" fmla="*/ 0 h 209550"/>
              <a:gd name="connsiteX1" fmla="*/ 2781300 w 3009900"/>
              <a:gd name="connsiteY1" fmla="*/ 0 h 209550"/>
              <a:gd name="connsiteX2" fmla="*/ 3009900 w 3009900"/>
              <a:gd name="connsiteY2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9900" h="209550">
                <a:moveTo>
                  <a:pt x="0" y="0"/>
                </a:moveTo>
                <a:lnTo>
                  <a:pt x="2781300" y="0"/>
                </a:lnTo>
                <a:lnTo>
                  <a:pt x="3009900" y="20955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: Shape 45"/>
          <p:cNvSpPr/>
          <p:nvPr/>
        </p:nvSpPr>
        <p:spPr bwMode="auto">
          <a:xfrm flipH="1" flipV="1">
            <a:off x="6442561" y="5287819"/>
            <a:ext cx="2834640" cy="285750"/>
          </a:xfrm>
          <a:custGeom>
            <a:avLst/>
            <a:gdLst>
              <a:gd name="connsiteX0" fmla="*/ 0 w 3009900"/>
              <a:gd name="connsiteY0" fmla="*/ 0 h 209550"/>
              <a:gd name="connsiteX1" fmla="*/ 2781300 w 3009900"/>
              <a:gd name="connsiteY1" fmla="*/ 0 h 209550"/>
              <a:gd name="connsiteX2" fmla="*/ 3009900 w 3009900"/>
              <a:gd name="connsiteY2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9900" h="209550">
                <a:moveTo>
                  <a:pt x="0" y="0"/>
                </a:moveTo>
                <a:lnTo>
                  <a:pt x="2781300" y="0"/>
                </a:lnTo>
                <a:lnTo>
                  <a:pt x="3009900" y="20955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val 57"/>
          <p:cNvSpPr/>
          <p:nvPr/>
        </p:nvSpPr>
        <p:spPr bwMode="auto">
          <a:xfrm>
            <a:off x="3515948" y="4399887"/>
            <a:ext cx="738072" cy="738072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Freeform 5"/>
          <p:cNvSpPr>
            <a:spLocks noEditPoints="1"/>
          </p:cNvSpPr>
          <p:nvPr/>
        </p:nvSpPr>
        <p:spPr bwMode="auto">
          <a:xfrm>
            <a:off x="3857716" y="4707568"/>
            <a:ext cx="268964" cy="272805"/>
          </a:xfrm>
          <a:custGeom>
            <a:avLst/>
            <a:gdLst>
              <a:gd name="T0" fmla="*/ 205 w 205"/>
              <a:gd name="T1" fmla="*/ 125 h 205"/>
              <a:gd name="T2" fmla="*/ 180 w 205"/>
              <a:gd name="T3" fmla="*/ 110 h 205"/>
              <a:gd name="T4" fmla="*/ 177 w 205"/>
              <a:gd name="T5" fmla="*/ 81 h 205"/>
              <a:gd name="T6" fmla="*/ 198 w 205"/>
              <a:gd name="T7" fmla="*/ 60 h 205"/>
              <a:gd name="T8" fmla="*/ 183 w 205"/>
              <a:gd name="T9" fmla="*/ 37 h 205"/>
              <a:gd name="T10" fmla="*/ 156 w 205"/>
              <a:gd name="T11" fmla="*/ 48 h 205"/>
              <a:gd name="T12" fmla="*/ 131 w 205"/>
              <a:gd name="T13" fmla="*/ 32 h 205"/>
              <a:gd name="T14" fmla="*/ 131 w 205"/>
              <a:gd name="T15" fmla="*/ 32 h 205"/>
              <a:gd name="T16" fmla="*/ 128 w 205"/>
              <a:gd name="T17" fmla="*/ 3 h 205"/>
              <a:gd name="T18" fmla="*/ 101 w 205"/>
              <a:gd name="T19" fmla="*/ 0 h 205"/>
              <a:gd name="T20" fmla="*/ 93 w 205"/>
              <a:gd name="T21" fmla="*/ 28 h 205"/>
              <a:gd name="T22" fmla="*/ 65 w 205"/>
              <a:gd name="T23" fmla="*/ 38 h 205"/>
              <a:gd name="T24" fmla="*/ 65 w 205"/>
              <a:gd name="T25" fmla="*/ 38 h 205"/>
              <a:gd name="T26" fmla="*/ 40 w 205"/>
              <a:gd name="T27" fmla="*/ 22 h 205"/>
              <a:gd name="T28" fmla="*/ 21 w 205"/>
              <a:gd name="T29" fmla="*/ 41 h 205"/>
              <a:gd name="T30" fmla="*/ 37 w 205"/>
              <a:gd name="T31" fmla="*/ 65 h 205"/>
              <a:gd name="T32" fmla="*/ 28 w 205"/>
              <a:gd name="T33" fmla="*/ 93 h 205"/>
              <a:gd name="T34" fmla="*/ 0 w 205"/>
              <a:gd name="T35" fmla="*/ 102 h 205"/>
              <a:gd name="T36" fmla="*/ 3 w 205"/>
              <a:gd name="T37" fmla="*/ 129 h 205"/>
              <a:gd name="T38" fmla="*/ 32 w 205"/>
              <a:gd name="T39" fmla="*/ 132 h 205"/>
              <a:gd name="T40" fmla="*/ 32 w 205"/>
              <a:gd name="T41" fmla="*/ 132 h 205"/>
              <a:gd name="T42" fmla="*/ 48 w 205"/>
              <a:gd name="T43" fmla="*/ 157 h 205"/>
              <a:gd name="T44" fmla="*/ 38 w 205"/>
              <a:gd name="T45" fmla="*/ 184 h 205"/>
              <a:gd name="T46" fmla="*/ 61 w 205"/>
              <a:gd name="T47" fmla="*/ 198 h 205"/>
              <a:gd name="T48" fmla="*/ 81 w 205"/>
              <a:gd name="T49" fmla="*/ 177 h 205"/>
              <a:gd name="T50" fmla="*/ 95 w 205"/>
              <a:gd name="T51" fmla="*/ 180 h 205"/>
              <a:gd name="T52" fmla="*/ 110 w 205"/>
              <a:gd name="T53" fmla="*/ 180 h 205"/>
              <a:gd name="T54" fmla="*/ 125 w 205"/>
              <a:gd name="T55" fmla="*/ 205 h 205"/>
              <a:gd name="T56" fmla="*/ 151 w 205"/>
              <a:gd name="T57" fmla="*/ 196 h 205"/>
              <a:gd name="T58" fmla="*/ 147 w 205"/>
              <a:gd name="T59" fmla="*/ 167 h 205"/>
              <a:gd name="T60" fmla="*/ 167 w 205"/>
              <a:gd name="T61" fmla="*/ 146 h 205"/>
              <a:gd name="T62" fmla="*/ 167 w 205"/>
              <a:gd name="T63" fmla="*/ 146 h 205"/>
              <a:gd name="T64" fmla="*/ 196 w 205"/>
              <a:gd name="T65" fmla="*/ 150 h 205"/>
              <a:gd name="T66" fmla="*/ 205 w 205"/>
              <a:gd name="T67" fmla="*/ 125 h 205"/>
              <a:gd name="T68" fmla="*/ 101 w 205"/>
              <a:gd name="T69" fmla="*/ 126 h 205"/>
              <a:gd name="T70" fmla="*/ 89 w 205"/>
              <a:gd name="T71" fmla="*/ 126 h 205"/>
              <a:gd name="T72" fmla="*/ 83 w 205"/>
              <a:gd name="T73" fmla="*/ 115 h 205"/>
              <a:gd name="T74" fmla="*/ 76 w 205"/>
              <a:gd name="T75" fmla="*/ 105 h 205"/>
              <a:gd name="T76" fmla="*/ 81 w 205"/>
              <a:gd name="T77" fmla="*/ 93 h 205"/>
              <a:gd name="T78" fmla="*/ 84 w 205"/>
              <a:gd name="T79" fmla="*/ 82 h 205"/>
              <a:gd name="T80" fmla="*/ 96 w 205"/>
              <a:gd name="T81" fmla="*/ 78 h 205"/>
              <a:gd name="T82" fmla="*/ 107 w 205"/>
              <a:gd name="T83" fmla="*/ 73 h 205"/>
              <a:gd name="T84" fmla="*/ 117 w 205"/>
              <a:gd name="T85" fmla="*/ 81 h 205"/>
              <a:gd name="T86" fmla="*/ 128 w 205"/>
              <a:gd name="T87" fmla="*/ 86 h 205"/>
              <a:gd name="T88" fmla="*/ 129 w 205"/>
              <a:gd name="T89" fmla="*/ 99 h 205"/>
              <a:gd name="T90" fmla="*/ 131 w 205"/>
              <a:gd name="T91" fmla="*/ 111 h 205"/>
              <a:gd name="T92" fmla="*/ 122 w 205"/>
              <a:gd name="T93" fmla="*/ 119 h 205"/>
              <a:gd name="T94" fmla="*/ 113 w 205"/>
              <a:gd name="T95" fmla="*/ 128 h 205"/>
              <a:gd name="T96" fmla="*/ 101 w 205"/>
              <a:gd name="T97" fmla="*/ 126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5" h="205">
                <a:moveTo>
                  <a:pt x="205" y="125"/>
                </a:moveTo>
                <a:cubicBezTo>
                  <a:pt x="180" y="110"/>
                  <a:pt x="180" y="110"/>
                  <a:pt x="180" y="110"/>
                </a:cubicBezTo>
                <a:cubicBezTo>
                  <a:pt x="181" y="100"/>
                  <a:pt x="180" y="90"/>
                  <a:pt x="177" y="81"/>
                </a:cubicBezTo>
                <a:cubicBezTo>
                  <a:pt x="198" y="60"/>
                  <a:pt x="198" y="60"/>
                  <a:pt x="198" y="60"/>
                </a:cubicBezTo>
                <a:cubicBezTo>
                  <a:pt x="183" y="37"/>
                  <a:pt x="183" y="37"/>
                  <a:pt x="183" y="37"/>
                </a:cubicBezTo>
                <a:cubicBezTo>
                  <a:pt x="156" y="48"/>
                  <a:pt x="156" y="48"/>
                  <a:pt x="156" y="48"/>
                </a:cubicBezTo>
                <a:cubicBezTo>
                  <a:pt x="149" y="41"/>
                  <a:pt x="140" y="36"/>
                  <a:pt x="131" y="32"/>
                </a:cubicBezTo>
                <a:cubicBezTo>
                  <a:pt x="131" y="32"/>
                  <a:pt x="131" y="32"/>
                  <a:pt x="131" y="32"/>
                </a:cubicBezTo>
                <a:cubicBezTo>
                  <a:pt x="128" y="3"/>
                  <a:pt x="128" y="3"/>
                  <a:pt x="128" y="3"/>
                </a:cubicBezTo>
                <a:cubicBezTo>
                  <a:pt x="101" y="0"/>
                  <a:pt x="101" y="0"/>
                  <a:pt x="101" y="0"/>
                </a:cubicBezTo>
                <a:cubicBezTo>
                  <a:pt x="93" y="28"/>
                  <a:pt x="93" y="28"/>
                  <a:pt x="93" y="28"/>
                </a:cubicBezTo>
                <a:cubicBezTo>
                  <a:pt x="83" y="30"/>
                  <a:pt x="73" y="33"/>
                  <a:pt x="65" y="38"/>
                </a:cubicBezTo>
                <a:cubicBezTo>
                  <a:pt x="65" y="38"/>
                  <a:pt x="65" y="38"/>
                  <a:pt x="65" y="38"/>
                </a:cubicBezTo>
                <a:cubicBezTo>
                  <a:pt x="40" y="22"/>
                  <a:pt x="40" y="22"/>
                  <a:pt x="40" y="22"/>
                </a:cubicBezTo>
                <a:cubicBezTo>
                  <a:pt x="21" y="41"/>
                  <a:pt x="21" y="41"/>
                  <a:pt x="21" y="41"/>
                </a:cubicBezTo>
                <a:cubicBezTo>
                  <a:pt x="37" y="65"/>
                  <a:pt x="37" y="65"/>
                  <a:pt x="37" y="65"/>
                </a:cubicBezTo>
                <a:cubicBezTo>
                  <a:pt x="33" y="74"/>
                  <a:pt x="29" y="83"/>
                  <a:pt x="28" y="93"/>
                </a:cubicBezTo>
                <a:cubicBezTo>
                  <a:pt x="0" y="102"/>
                  <a:pt x="0" y="102"/>
                  <a:pt x="0" y="102"/>
                </a:cubicBezTo>
                <a:cubicBezTo>
                  <a:pt x="3" y="129"/>
                  <a:pt x="3" y="129"/>
                  <a:pt x="3" y="129"/>
                </a:cubicBezTo>
                <a:cubicBezTo>
                  <a:pt x="32" y="132"/>
                  <a:pt x="32" y="132"/>
                  <a:pt x="32" y="132"/>
                </a:cubicBezTo>
                <a:cubicBezTo>
                  <a:pt x="32" y="132"/>
                  <a:pt x="32" y="132"/>
                  <a:pt x="32" y="132"/>
                </a:cubicBezTo>
                <a:cubicBezTo>
                  <a:pt x="36" y="141"/>
                  <a:pt x="41" y="149"/>
                  <a:pt x="48" y="157"/>
                </a:cubicBezTo>
                <a:cubicBezTo>
                  <a:pt x="38" y="184"/>
                  <a:pt x="38" y="184"/>
                  <a:pt x="38" y="184"/>
                </a:cubicBezTo>
                <a:cubicBezTo>
                  <a:pt x="61" y="198"/>
                  <a:pt x="61" y="198"/>
                  <a:pt x="61" y="198"/>
                </a:cubicBezTo>
                <a:cubicBezTo>
                  <a:pt x="81" y="177"/>
                  <a:pt x="81" y="177"/>
                  <a:pt x="81" y="177"/>
                </a:cubicBezTo>
                <a:cubicBezTo>
                  <a:pt x="86" y="179"/>
                  <a:pt x="90" y="180"/>
                  <a:pt x="95" y="180"/>
                </a:cubicBezTo>
                <a:cubicBezTo>
                  <a:pt x="100" y="181"/>
                  <a:pt x="105" y="181"/>
                  <a:pt x="110" y="180"/>
                </a:cubicBezTo>
                <a:cubicBezTo>
                  <a:pt x="125" y="205"/>
                  <a:pt x="125" y="205"/>
                  <a:pt x="125" y="205"/>
                </a:cubicBezTo>
                <a:cubicBezTo>
                  <a:pt x="151" y="196"/>
                  <a:pt x="151" y="196"/>
                  <a:pt x="151" y="196"/>
                </a:cubicBezTo>
                <a:cubicBezTo>
                  <a:pt x="147" y="167"/>
                  <a:pt x="147" y="167"/>
                  <a:pt x="147" y="167"/>
                </a:cubicBezTo>
                <a:cubicBezTo>
                  <a:pt x="155" y="162"/>
                  <a:pt x="162" y="155"/>
                  <a:pt x="167" y="146"/>
                </a:cubicBezTo>
                <a:cubicBezTo>
                  <a:pt x="167" y="146"/>
                  <a:pt x="167" y="146"/>
                  <a:pt x="167" y="146"/>
                </a:cubicBezTo>
                <a:cubicBezTo>
                  <a:pt x="196" y="150"/>
                  <a:pt x="196" y="150"/>
                  <a:pt x="196" y="150"/>
                </a:cubicBezTo>
                <a:lnTo>
                  <a:pt x="205" y="125"/>
                </a:lnTo>
                <a:close/>
                <a:moveTo>
                  <a:pt x="101" y="126"/>
                </a:moveTo>
                <a:cubicBezTo>
                  <a:pt x="89" y="126"/>
                  <a:pt x="89" y="126"/>
                  <a:pt x="89" y="126"/>
                </a:cubicBezTo>
                <a:cubicBezTo>
                  <a:pt x="83" y="115"/>
                  <a:pt x="83" y="115"/>
                  <a:pt x="83" y="115"/>
                </a:cubicBezTo>
                <a:cubicBezTo>
                  <a:pt x="76" y="105"/>
                  <a:pt x="76" y="105"/>
                  <a:pt x="76" y="105"/>
                </a:cubicBezTo>
                <a:cubicBezTo>
                  <a:pt x="81" y="93"/>
                  <a:pt x="81" y="93"/>
                  <a:pt x="81" y="93"/>
                </a:cubicBezTo>
                <a:cubicBezTo>
                  <a:pt x="84" y="82"/>
                  <a:pt x="84" y="82"/>
                  <a:pt x="84" y="82"/>
                </a:cubicBezTo>
                <a:cubicBezTo>
                  <a:pt x="96" y="78"/>
                  <a:pt x="96" y="78"/>
                  <a:pt x="96" y="78"/>
                </a:cubicBezTo>
                <a:cubicBezTo>
                  <a:pt x="107" y="73"/>
                  <a:pt x="107" y="73"/>
                  <a:pt x="107" y="73"/>
                </a:cubicBezTo>
                <a:cubicBezTo>
                  <a:pt x="117" y="81"/>
                  <a:pt x="117" y="81"/>
                  <a:pt x="117" y="81"/>
                </a:cubicBezTo>
                <a:cubicBezTo>
                  <a:pt x="128" y="86"/>
                  <a:pt x="128" y="86"/>
                  <a:pt x="128" y="86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31" y="111"/>
                  <a:pt x="131" y="111"/>
                  <a:pt x="131" y="111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13" y="128"/>
                  <a:pt x="113" y="128"/>
                  <a:pt x="113" y="128"/>
                </a:cubicBezTo>
                <a:lnTo>
                  <a:pt x="101" y="12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Freeform 6"/>
          <p:cNvSpPr>
            <a:spLocks noEditPoints="1"/>
          </p:cNvSpPr>
          <p:nvPr/>
        </p:nvSpPr>
        <p:spPr bwMode="auto">
          <a:xfrm>
            <a:off x="3838505" y="4557717"/>
            <a:ext cx="176747" cy="176747"/>
          </a:xfrm>
          <a:custGeom>
            <a:avLst/>
            <a:gdLst>
              <a:gd name="T0" fmla="*/ 18 w 134"/>
              <a:gd name="T1" fmla="*/ 62 h 133"/>
              <a:gd name="T2" fmla="*/ 0 w 134"/>
              <a:gd name="T3" fmla="*/ 68 h 133"/>
              <a:gd name="T4" fmla="*/ 3 w 134"/>
              <a:gd name="T5" fmla="*/ 86 h 133"/>
              <a:gd name="T6" fmla="*/ 22 w 134"/>
              <a:gd name="T7" fmla="*/ 87 h 133"/>
              <a:gd name="T8" fmla="*/ 22 w 134"/>
              <a:gd name="T9" fmla="*/ 87 h 133"/>
              <a:gd name="T10" fmla="*/ 32 w 134"/>
              <a:gd name="T11" fmla="*/ 103 h 133"/>
              <a:gd name="T12" fmla="*/ 26 w 134"/>
              <a:gd name="T13" fmla="*/ 121 h 133"/>
              <a:gd name="T14" fmla="*/ 41 w 134"/>
              <a:gd name="T15" fmla="*/ 129 h 133"/>
              <a:gd name="T16" fmla="*/ 54 w 134"/>
              <a:gd name="T17" fmla="*/ 115 h 133"/>
              <a:gd name="T18" fmla="*/ 54 w 134"/>
              <a:gd name="T19" fmla="*/ 115 h 133"/>
              <a:gd name="T20" fmla="*/ 63 w 134"/>
              <a:gd name="T21" fmla="*/ 117 h 133"/>
              <a:gd name="T22" fmla="*/ 73 w 134"/>
              <a:gd name="T23" fmla="*/ 117 h 133"/>
              <a:gd name="T24" fmla="*/ 73 w 134"/>
              <a:gd name="T25" fmla="*/ 117 h 133"/>
              <a:gd name="T26" fmla="*/ 83 w 134"/>
              <a:gd name="T27" fmla="*/ 133 h 133"/>
              <a:gd name="T28" fmla="*/ 100 w 134"/>
              <a:gd name="T29" fmla="*/ 126 h 133"/>
              <a:gd name="T30" fmla="*/ 97 w 134"/>
              <a:gd name="T31" fmla="*/ 108 h 133"/>
              <a:gd name="T32" fmla="*/ 110 w 134"/>
              <a:gd name="T33" fmla="*/ 94 h 133"/>
              <a:gd name="T34" fmla="*/ 110 w 134"/>
              <a:gd name="T35" fmla="*/ 94 h 133"/>
              <a:gd name="T36" fmla="*/ 128 w 134"/>
              <a:gd name="T37" fmla="*/ 96 h 133"/>
              <a:gd name="T38" fmla="*/ 134 w 134"/>
              <a:gd name="T39" fmla="*/ 79 h 133"/>
              <a:gd name="T40" fmla="*/ 117 w 134"/>
              <a:gd name="T41" fmla="*/ 70 h 133"/>
              <a:gd name="T42" fmla="*/ 117 w 134"/>
              <a:gd name="T43" fmla="*/ 70 h 133"/>
              <a:gd name="T44" fmla="*/ 114 w 134"/>
              <a:gd name="T45" fmla="*/ 51 h 133"/>
              <a:gd name="T46" fmla="*/ 114 w 134"/>
              <a:gd name="T47" fmla="*/ 51 h 133"/>
              <a:gd name="T48" fmla="*/ 128 w 134"/>
              <a:gd name="T49" fmla="*/ 37 h 133"/>
              <a:gd name="T50" fmla="*/ 118 w 134"/>
              <a:gd name="T51" fmla="*/ 23 h 133"/>
              <a:gd name="T52" fmla="*/ 100 w 134"/>
              <a:gd name="T53" fmla="*/ 30 h 133"/>
              <a:gd name="T54" fmla="*/ 84 w 134"/>
              <a:gd name="T55" fmla="*/ 20 h 133"/>
              <a:gd name="T56" fmla="*/ 81 w 134"/>
              <a:gd name="T57" fmla="*/ 1 h 133"/>
              <a:gd name="T58" fmla="*/ 64 w 134"/>
              <a:gd name="T59" fmla="*/ 0 h 133"/>
              <a:gd name="T60" fmla="*/ 59 w 134"/>
              <a:gd name="T61" fmla="*/ 18 h 133"/>
              <a:gd name="T62" fmla="*/ 41 w 134"/>
              <a:gd name="T63" fmla="*/ 25 h 133"/>
              <a:gd name="T64" fmla="*/ 41 w 134"/>
              <a:gd name="T65" fmla="*/ 25 h 133"/>
              <a:gd name="T66" fmla="*/ 25 w 134"/>
              <a:gd name="T67" fmla="*/ 15 h 133"/>
              <a:gd name="T68" fmla="*/ 12 w 134"/>
              <a:gd name="T69" fmla="*/ 28 h 133"/>
              <a:gd name="T70" fmla="*/ 24 w 134"/>
              <a:gd name="T71" fmla="*/ 44 h 133"/>
              <a:gd name="T72" fmla="*/ 24 w 134"/>
              <a:gd name="T73" fmla="*/ 44 h 133"/>
              <a:gd name="T74" fmla="*/ 18 w 134"/>
              <a:gd name="T75" fmla="*/ 62 h 133"/>
              <a:gd name="T76" fmla="*/ 52 w 134"/>
              <a:gd name="T77" fmla="*/ 61 h 133"/>
              <a:gd name="T78" fmla="*/ 54 w 134"/>
              <a:gd name="T79" fmla="*/ 53 h 133"/>
              <a:gd name="T80" fmla="*/ 62 w 134"/>
              <a:gd name="T81" fmla="*/ 51 h 133"/>
              <a:gd name="T82" fmla="*/ 69 w 134"/>
              <a:gd name="T83" fmla="*/ 47 h 133"/>
              <a:gd name="T84" fmla="*/ 76 w 134"/>
              <a:gd name="T85" fmla="*/ 52 h 133"/>
              <a:gd name="T86" fmla="*/ 83 w 134"/>
              <a:gd name="T87" fmla="*/ 55 h 133"/>
              <a:gd name="T88" fmla="*/ 83 w 134"/>
              <a:gd name="T89" fmla="*/ 63 h 133"/>
              <a:gd name="T90" fmla="*/ 85 w 134"/>
              <a:gd name="T91" fmla="*/ 71 h 133"/>
              <a:gd name="T92" fmla="*/ 79 w 134"/>
              <a:gd name="T93" fmla="*/ 77 h 133"/>
              <a:gd name="T94" fmla="*/ 74 w 134"/>
              <a:gd name="T95" fmla="*/ 83 h 133"/>
              <a:gd name="T96" fmla="*/ 66 w 134"/>
              <a:gd name="T97" fmla="*/ 82 h 133"/>
              <a:gd name="T98" fmla="*/ 58 w 134"/>
              <a:gd name="T99" fmla="*/ 82 h 133"/>
              <a:gd name="T100" fmla="*/ 54 w 134"/>
              <a:gd name="T101" fmla="*/ 75 h 133"/>
              <a:gd name="T102" fmla="*/ 49 w 134"/>
              <a:gd name="T103" fmla="*/ 68 h 133"/>
              <a:gd name="T104" fmla="*/ 52 w 134"/>
              <a:gd name="T105" fmla="*/ 61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4" h="133">
                <a:moveTo>
                  <a:pt x="18" y="62"/>
                </a:moveTo>
                <a:cubicBezTo>
                  <a:pt x="0" y="68"/>
                  <a:pt x="0" y="68"/>
                  <a:pt x="0" y="68"/>
                </a:cubicBezTo>
                <a:cubicBezTo>
                  <a:pt x="3" y="86"/>
                  <a:pt x="3" y="86"/>
                  <a:pt x="3" y="86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4" y="93"/>
                  <a:pt x="28" y="98"/>
                  <a:pt x="32" y="103"/>
                </a:cubicBezTo>
                <a:cubicBezTo>
                  <a:pt x="26" y="121"/>
                  <a:pt x="26" y="121"/>
                  <a:pt x="26" y="121"/>
                </a:cubicBezTo>
                <a:cubicBezTo>
                  <a:pt x="41" y="129"/>
                  <a:pt x="41" y="129"/>
                  <a:pt x="41" y="129"/>
                </a:cubicBezTo>
                <a:cubicBezTo>
                  <a:pt x="54" y="115"/>
                  <a:pt x="54" y="115"/>
                  <a:pt x="54" y="115"/>
                </a:cubicBezTo>
                <a:cubicBezTo>
                  <a:pt x="54" y="115"/>
                  <a:pt x="54" y="115"/>
                  <a:pt x="54" y="115"/>
                </a:cubicBezTo>
                <a:cubicBezTo>
                  <a:pt x="57" y="116"/>
                  <a:pt x="60" y="117"/>
                  <a:pt x="63" y="117"/>
                </a:cubicBezTo>
                <a:cubicBezTo>
                  <a:pt x="67" y="117"/>
                  <a:pt x="70" y="117"/>
                  <a:pt x="73" y="117"/>
                </a:cubicBezTo>
                <a:cubicBezTo>
                  <a:pt x="73" y="117"/>
                  <a:pt x="73" y="117"/>
                  <a:pt x="73" y="117"/>
                </a:cubicBezTo>
                <a:cubicBezTo>
                  <a:pt x="83" y="133"/>
                  <a:pt x="83" y="133"/>
                  <a:pt x="83" y="133"/>
                </a:cubicBezTo>
                <a:cubicBezTo>
                  <a:pt x="100" y="126"/>
                  <a:pt x="100" y="126"/>
                  <a:pt x="100" y="126"/>
                </a:cubicBezTo>
                <a:cubicBezTo>
                  <a:pt x="97" y="108"/>
                  <a:pt x="97" y="108"/>
                  <a:pt x="97" y="108"/>
                </a:cubicBezTo>
                <a:cubicBezTo>
                  <a:pt x="102" y="104"/>
                  <a:pt x="106" y="99"/>
                  <a:pt x="110" y="94"/>
                </a:cubicBezTo>
                <a:cubicBezTo>
                  <a:pt x="110" y="94"/>
                  <a:pt x="110" y="94"/>
                  <a:pt x="110" y="94"/>
                </a:cubicBezTo>
                <a:cubicBezTo>
                  <a:pt x="128" y="96"/>
                  <a:pt x="128" y="96"/>
                  <a:pt x="128" y="96"/>
                </a:cubicBezTo>
                <a:cubicBezTo>
                  <a:pt x="134" y="79"/>
                  <a:pt x="134" y="79"/>
                  <a:pt x="134" y="79"/>
                </a:cubicBezTo>
                <a:cubicBezTo>
                  <a:pt x="117" y="70"/>
                  <a:pt x="117" y="70"/>
                  <a:pt x="117" y="70"/>
                </a:cubicBezTo>
                <a:cubicBezTo>
                  <a:pt x="117" y="70"/>
                  <a:pt x="117" y="70"/>
                  <a:pt x="117" y="70"/>
                </a:cubicBezTo>
                <a:cubicBezTo>
                  <a:pt x="117" y="63"/>
                  <a:pt x="116" y="57"/>
                  <a:pt x="114" y="51"/>
                </a:cubicBezTo>
                <a:cubicBezTo>
                  <a:pt x="114" y="51"/>
                  <a:pt x="114" y="51"/>
                  <a:pt x="114" y="51"/>
                </a:cubicBezTo>
                <a:cubicBezTo>
                  <a:pt x="128" y="37"/>
                  <a:pt x="128" y="37"/>
                  <a:pt x="128" y="37"/>
                </a:cubicBezTo>
                <a:cubicBezTo>
                  <a:pt x="118" y="23"/>
                  <a:pt x="118" y="23"/>
                  <a:pt x="118" y="23"/>
                </a:cubicBezTo>
                <a:cubicBezTo>
                  <a:pt x="100" y="30"/>
                  <a:pt x="100" y="30"/>
                  <a:pt x="100" y="30"/>
                </a:cubicBezTo>
                <a:cubicBezTo>
                  <a:pt x="95" y="26"/>
                  <a:pt x="90" y="22"/>
                  <a:pt x="84" y="20"/>
                </a:cubicBezTo>
                <a:cubicBezTo>
                  <a:pt x="81" y="1"/>
                  <a:pt x="81" y="1"/>
                  <a:pt x="81" y="1"/>
                </a:cubicBezTo>
                <a:cubicBezTo>
                  <a:pt x="64" y="0"/>
                  <a:pt x="64" y="0"/>
                  <a:pt x="64" y="0"/>
                </a:cubicBezTo>
                <a:cubicBezTo>
                  <a:pt x="59" y="18"/>
                  <a:pt x="59" y="18"/>
                  <a:pt x="59" y="18"/>
                </a:cubicBezTo>
                <a:cubicBezTo>
                  <a:pt x="52" y="19"/>
                  <a:pt x="46" y="22"/>
                  <a:pt x="41" y="25"/>
                </a:cubicBezTo>
                <a:cubicBezTo>
                  <a:pt x="41" y="25"/>
                  <a:pt x="41" y="25"/>
                  <a:pt x="41" y="25"/>
                </a:cubicBezTo>
                <a:cubicBezTo>
                  <a:pt x="25" y="15"/>
                  <a:pt x="25" y="15"/>
                  <a:pt x="25" y="15"/>
                </a:cubicBezTo>
                <a:cubicBezTo>
                  <a:pt x="12" y="28"/>
                  <a:pt x="12" y="28"/>
                  <a:pt x="12" y="28"/>
                </a:cubicBezTo>
                <a:cubicBezTo>
                  <a:pt x="24" y="44"/>
                  <a:pt x="24" y="44"/>
                  <a:pt x="24" y="44"/>
                </a:cubicBezTo>
                <a:cubicBezTo>
                  <a:pt x="24" y="44"/>
                  <a:pt x="24" y="44"/>
                  <a:pt x="24" y="44"/>
                </a:cubicBezTo>
                <a:cubicBezTo>
                  <a:pt x="21" y="49"/>
                  <a:pt x="19" y="55"/>
                  <a:pt x="18" y="62"/>
                </a:cubicBezTo>
                <a:close/>
                <a:moveTo>
                  <a:pt x="52" y="61"/>
                </a:moveTo>
                <a:cubicBezTo>
                  <a:pt x="54" y="53"/>
                  <a:pt x="54" y="53"/>
                  <a:pt x="54" y="53"/>
                </a:cubicBezTo>
                <a:cubicBezTo>
                  <a:pt x="62" y="51"/>
                  <a:pt x="62" y="51"/>
                  <a:pt x="62" y="51"/>
                </a:cubicBezTo>
                <a:cubicBezTo>
                  <a:pt x="69" y="47"/>
                  <a:pt x="69" y="47"/>
                  <a:pt x="69" y="47"/>
                </a:cubicBezTo>
                <a:cubicBezTo>
                  <a:pt x="76" y="52"/>
                  <a:pt x="76" y="52"/>
                  <a:pt x="76" y="52"/>
                </a:cubicBezTo>
                <a:cubicBezTo>
                  <a:pt x="83" y="55"/>
                  <a:pt x="83" y="55"/>
                  <a:pt x="83" y="55"/>
                </a:cubicBezTo>
                <a:cubicBezTo>
                  <a:pt x="83" y="63"/>
                  <a:pt x="83" y="63"/>
                  <a:pt x="83" y="63"/>
                </a:cubicBezTo>
                <a:cubicBezTo>
                  <a:pt x="85" y="71"/>
                  <a:pt x="85" y="71"/>
                  <a:pt x="85" y="71"/>
                </a:cubicBezTo>
                <a:cubicBezTo>
                  <a:pt x="79" y="77"/>
                  <a:pt x="79" y="77"/>
                  <a:pt x="79" y="77"/>
                </a:cubicBezTo>
                <a:cubicBezTo>
                  <a:pt x="74" y="83"/>
                  <a:pt x="74" y="83"/>
                  <a:pt x="74" y="83"/>
                </a:cubicBezTo>
                <a:cubicBezTo>
                  <a:pt x="66" y="82"/>
                  <a:pt x="66" y="82"/>
                  <a:pt x="66" y="82"/>
                </a:cubicBezTo>
                <a:cubicBezTo>
                  <a:pt x="58" y="82"/>
                  <a:pt x="58" y="82"/>
                  <a:pt x="58" y="82"/>
                </a:cubicBezTo>
                <a:cubicBezTo>
                  <a:pt x="54" y="75"/>
                  <a:pt x="54" y="75"/>
                  <a:pt x="54" y="75"/>
                </a:cubicBezTo>
                <a:cubicBezTo>
                  <a:pt x="49" y="68"/>
                  <a:pt x="49" y="68"/>
                  <a:pt x="49" y="68"/>
                </a:cubicBezTo>
                <a:lnTo>
                  <a:pt x="52" y="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Freeform 7"/>
          <p:cNvSpPr>
            <a:spLocks noEditPoints="1"/>
          </p:cNvSpPr>
          <p:nvPr/>
        </p:nvSpPr>
        <p:spPr bwMode="auto">
          <a:xfrm>
            <a:off x="3646388" y="4649933"/>
            <a:ext cx="230540" cy="230540"/>
          </a:xfrm>
          <a:custGeom>
            <a:avLst/>
            <a:gdLst>
              <a:gd name="T0" fmla="*/ 167 w 173"/>
              <a:gd name="T1" fmla="*/ 124 h 172"/>
              <a:gd name="T2" fmla="*/ 173 w 173"/>
              <a:gd name="T3" fmla="*/ 102 h 172"/>
              <a:gd name="T4" fmla="*/ 152 w 173"/>
              <a:gd name="T5" fmla="*/ 90 h 172"/>
              <a:gd name="T6" fmla="*/ 152 w 173"/>
              <a:gd name="T7" fmla="*/ 90 h 172"/>
              <a:gd name="T8" fmla="*/ 148 w 173"/>
              <a:gd name="T9" fmla="*/ 65 h 172"/>
              <a:gd name="T10" fmla="*/ 165 w 173"/>
              <a:gd name="T11" fmla="*/ 48 h 172"/>
              <a:gd name="T12" fmla="*/ 152 w 173"/>
              <a:gd name="T13" fmla="*/ 29 h 172"/>
              <a:gd name="T14" fmla="*/ 130 w 173"/>
              <a:gd name="T15" fmla="*/ 38 h 172"/>
              <a:gd name="T16" fmla="*/ 108 w 173"/>
              <a:gd name="T17" fmla="*/ 26 h 172"/>
              <a:gd name="T18" fmla="*/ 105 w 173"/>
              <a:gd name="T19" fmla="*/ 1 h 172"/>
              <a:gd name="T20" fmla="*/ 82 w 173"/>
              <a:gd name="T21" fmla="*/ 0 h 172"/>
              <a:gd name="T22" fmla="*/ 76 w 173"/>
              <a:gd name="T23" fmla="*/ 23 h 172"/>
              <a:gd name="T24" fmla="*/ 76 w 173"/>
              <a:gd name="T25" fmla="*/ 23 h 172"/>
              <a:gd name="T26" fmla="*/ 53 w 173"/>
              <a:gd name="T27" fmla="*/ 32 h 172"/>
              <a:gd name="T28" fmla="*/ 32 w 173"/>
              <a:gd name="T29" fmla="*/ 19 h 172"/>
              <a:gd name="T30" fmla="*/ 16 w 173"/>
              <a:gd name="T31" fmla="*/ 36 h 172"/>
              <a:gd name="T32" fmla="*/ 30 w 173"/>
              <a:gd name="T33" fmla="*/ 56 h 172"/>
              <a:gd name="T34" fmla="*/ 23 w 173"/>
              <a:gd name="T35" fmla="*/ 80 h 172"/>
              <a:gd name="T36" fmla="*/ 0 w 173"/>
              <a:gd name="T37" fmla="*/ 88 h 172"/>
              <a:gd name="T38" fmla="*/ 3 w 173"/>
              <a:gd name="T39" fmla="*/ 111 h 172"/>
              <a:gd name="T40" fmla="*/ 28 w 173"/>
              <a:gd name="T41" fmla="*/ 112 h 172"/>
              <a:gd name="T42" fmla="*/ 28 w 173"/>
              <a:gd name="T43" fmla="*/ 112 h 172"/>
              <a:gd name="T44" fmla="*/ 42 w 173"/>
              <a:gd name="T45" fmla="*/ 133 h 172"/>
              <a:gd name="T46" fmla="*/ 42 w 173"/>
              <a:gd name="T47" fmla="*/ 133 h 172"/>
              <a:gd name="T48" fmla="*/ 34 w 173"/>
              <a:gd name="T49" fmla="*/ 156 h 172"/>
              <a:gd name="T50" fmla="*/ 54 w 173"/>
              <a:gd name="T51" fmla="*/ 168 h 172"/>
              <a:gd name="T52" fmla="*/ 70 w 173"/>
              <a:gd name="T53" fmla="*/ 149 h 172"/>
              <a:gd name="T54" fmla="*/ 82 w 173"/>
              <a:gd name="T55" fmla="*/ 151 h 172"/>
              <a:gd name="T56" fmla="*/ 95 w 173"/>
              <a:gd name="T57" fmla="*/ 151 h 172"/>
              <a:gd name="T58" fmla="*/ 95 w 173"/>
              <a:gd name="T59" fmla="*/ 151 h 172"/>
              <a:gd name="T60" fmla="*/ 108 w 173"/>
              <a:gd name="T61" fmla="*/ 172 h 172"/>
              <a:gd name="T62" fmla="*/ 129 w 173"/>
              <a:gd name="T63" fmla="*/ 163 h 172"/>
              <a:gd name="T64" fmla="*/ 125 w 173"/>
              <a:gd name="T65" fmla="*/ 139 h 172"/>
              <a:gd name="T66" fmla="*/ 142 w 173"/>
              <a:gd name="T67" fmla="*/ 121 h 172"/>
              <a:gd name="T68" fmla="*/ 142 w 173"/>
              <a:gd name="T69" fmla="*/ 121 h 172"/>
              <a:gd name="T70" fmla="*/ 167 w 173"/>
              <a:gd name="T71" fmla="*/ 124 h 172"/>
              <a:gd name="T72" fmla="*/ 86 w 173"/>
              <a:gd name="T73" fmla="*/ 106 h 172"/>
              <a:gd name="T74" fmla="*/ 75 w 173"/>
              <a:gd name="T75" fmla="*/ 106 h 172"/>
              <a:gd name="T76" fmla="*/ 70 w 173"/>
              <a:gd name="T77" fmla="*/ 97 h 172"/>
              <a:gd name="T78" fmla="*/ 64 w 173"/>
              <a:gd name="T79" fmla="*/ 88 h 172"/>
              <a:gd name="T80" fmla="*/ 67 w 173"/>
              <a:gd name="T81" fmla="*/ 79 h 172"/>
              <a:gd name="T82" fmla="*/ 70 w 173"/>
              <a:gd name="T83" fmla="*/ 69 h 172"/>
              <a:gd name="T84" fmla="*/ 80 w 173"/>
              <a:gd name="T85" fmla="*/ 65 h 172"/>
              <a:gd name="T86" fmla="*/ 89 w 173"/>
              <a:gd name="T87" fmla="*/ 61 h 172"/>
              <a:gd name="T88" fmla="*/ 98 w 173"/>
              <a:gd name="T89" fmla="*/ 67 h 172"/>
              <a:gd name="T90" fmla="*/ 107 w 173"/>
              <a:gd name="T91" fmla="*/ 71 h 172"/>
              <a:gd name="T92" fmla="*/ 108 w 173"/>
              <a:gd name="T93" fmla="*/ 82 h 172"/>
              <a:gd name="T94" fmla="*/ 110 w 173"/>
              <a:gd name="T95" fmla="*/ 92 h 172"/>
              <a:gd name="T96" fmla="*/ 103 w 173"/>
              <a:gd name="T97" fmla="*/ 99 h 172"/>
              <a:gd name="T98" fmla="*/ 96 w 173"/>
              <a:gd name="T99" fmla="*/ 107 h 172"/>
              <a:gd name="T100" fmla="*/ 86 w 173"/>
              <a:gd name="T101" fmla="*/ 106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3" h="172">
                <a:moveTo>
                  <a:pt x="167" y="124"/>
                </a:moveTo>
                <a:cubicBezTo>
                  <a:pt x="173" y="102"/>
                  <a:pt x="173" y="102"/>
                  <a:pt x="173" y="102"/>
                </a:cubicBezTo>
                <a:cubicBezTo>
                  <a:pt x="152" y="90"/>
                  <a:pt x="152" y="90"/>
                  <a:pt x="152" y="90"/>
                </a:cubicBezTo>
                <a:cubicBezTo>
                  <a:pt x="152" y="90"/>
                  <a:pt x="152" y="90"/>
                  <a:pt x="152" y="90"/>
                </a:cubicBezTo>
                <a:cubicBezTo>
                  <a:pt x="152" y="81"/>
                  <a:pt x="151" y="73"/>
                  <a:pt x="148" y="65"/>
                </a:cubicBezTo>
                <a:cubicBezTo>
                  <a:pt x="165" y="48"/>
                  <a:pt x="165" y="48"/>
                  <a:pt x="165" y="48"/>
                </a:cubicBezTo>
                <a:cubicBezTo>
                  <a:pt x="152" y="29"/>
                  <a:pt x="152" y="29"/>
                  <a:pt x="152" y="29"/>
                </a:cubicBezTo>
                <a:cubicBezTo>
                  <a:pt x="130" y="38"/>
                  <a:pt x="130" y="38"/>
                  <a:pt x="130" y="38"/>
                </a:cubicBezTo>
                <a:cubicBezTo>
                  <a:pt x="124" y="33"/>
                  <a:pt x="116" y="29"/>
                  <a:pt x="108" y="26"/>
                </a:cubicBezTo>
                <a:cubicBezTo>
                  <a:pt x="105" y="1"/>
                  <a:pt x="105" y="1"/>
                  <a:pt x="105" y="1"/>
                </a:cubicBezTo>
                <a:cubicBezTo>
                  <a:pt x="82" y="0"/>
                  <a:pt x="82" y="0"/>
                  <a:pt x="82" y="0"/>
                </a:cubicBezTo>
                <a:cubicBezTo>
                  <a:pt x="76" y="23"/>
                  <a:pt x="76" y="23"/>
                  <a:pt x="76" y="23"/>
                </a:cubicBezTo>
                <a:cubicBezTo>
                  <a:pt x="76" y="23"/>
                  <a:pt x="76" y="23"/>
                  <a:pt x="76" y="23"/>
                </a:cubicBezTo>
                <a:cubicBezTo>
                  <a:pt x="67" y="25"/>
                  <a:pt x="60" y="28"/>
                  <a:pt x="53" y="32"/>
                </a:cubicBezTo>
                <a:cubicBezTo>
                  <a:pt x="32" y="19"/>
                  <a:pt x="32" y="19"/>
                  <a:pt x="32" y="19"/>
                </a:cubicBezTo>
                <a:cubicBezTo>
                  <a:pt x="16" y="36"/>
                  <a:pt x="16" y="36"/>
                  <a:pt x="16" y="36"/>
                </a:cubicBezTo>
                <a:cubicBezTo>
                  <a:pt x="30" y="56"/>
                  <a:pt x="30" y="56"/>
                  <a:pt x="30" y="56"/>
                </a:cubicBezTo>
                <a:cubicBezTo>
                  <a:pt x="27" y="63"/>
                  <a:pt x="24" y="71"/>
                  <a:pt x="23" y="80"/>
                </a:cubicBezTo>
                <a:cubicBezTo>
                  <a:pt x="0" y="88"/>
                  <a:pt x="0" y="88"/>
                  <a:pt x="0" y="88"/>
                </a:cubicBezTo>
                <a:cubicBezTo>
                  <a:pt x="3" y="111"/>
                  <a:pt x="3" y="111"/>
                  <a:pt x="3" y="111"/>
                </a:cubicBezTo>
                <a:cubicBezTo>
                  <a:pt x="28" y="112"/>
                  <a:pt x="28" y="112"/>
                  <a:pt x="28" y="112"/>
                </a:cubicBezTo>
                <a:cubicBezTo>
                  <a:pt x="28" y="112"/>
                  <a:pt x="28" y="112"/>
                  <a:pt x="28" y="112"/>
                </a:cubicBezTo>
                <a:cubicBezTo>
                  <a:pt x="31" y="120"/>
                  <a:pt x="36" y="127"/>
                  <a:pt x="42" y="133"/>
                </a:cubicBezTo>
                <a:cubicBezTo>
                  <a:pt x="42" y="133"/>
                  <a:pt x="42" y="133"/>
                  <a:pt x="42" y="133"/>
                </a:cubicBezTo>
                <a:cubicBezTo>
                  <a:pt x="34" y="156"/>
                  <a:pt x="34" y="156"/>
                  <a:pt x="34" y="156"/>
                </a:cubicBezTo>
                <a:cubicBezTo>
                  <a:pt x="54" y="168"/>
                  <a:pt x="54" y="168"/>
                  <a:pt x="54" y="168"/>
                </a:cubicBezTo>
                <a:cubicBezTo>
                  <a:pt x="70" y="149"/>
                  <a:pt x="70" y="149"/>
                  <a:pt x="70" y="149"/>
                </a:cubicBezTo>
                <a:cubicBezTo>
                  <a:pt x="74" y="150"/>
                  <a:pt x="78" y="151"/>
                  <a:pt x="82" y="151"/>
                </a:cubicBezTo>
                <a:cubicBezTo>
                  <a:pt x="87" y="152"/>
                  <a:pt x="91" y="152"/>
                  <a:pt x="95" y="151"/>
                </a:cubicBezTo>
                <a:cubicBezTo>
                  <a:pt x="95" y="151"/>
                  <a:pt x="95" y="151"/>
                  <a:pt x="95" y="151"/>
                </a:cubicBezTo>
                <a:cubicBezTo>
                  <a:pt x="108" y="172"/>
                  <a:pt x="108" y="172"/>
                  <a:pt x="108" y="172"/>
                </a:cubicBezTo>
                <a:cubicBezTo>
                  <a:pt x="129" y="163"/>
                  <a:pt x="129" y="163"/>
                  <a:pt x="129" y="163"/>
                </a:cubicBezTo>
                <a:cubicBezTo>
                  <a:pt x="125" y="139"/>
                  <a:pt x="125" y="139"/>
                  <a:pt x="125" y="139"/>
                </a:cubicBezTo>
                <a:cubicBezTo>
                  <a:pt x="132" y="134"/>
                  <a:pt x="138" y="128"/>
                  <a:pt x="142" y="121"/>
                </a:cubicBezTo>
                <a:cubicBezTo>
                  <a:pt x="142" y="121"/>
                  <a:pt x="142" y="121"/>
                  <a:pt x="142" y="121"/>
                </a:cubicBezTo>
                <a:lnTo>
                  <a:pt x="167" y="124"/>
                </a:lnTo>
                <a:close/>
                <a:moveTo>
                  <a:pt x="86" y="106"/>
                </a:moveTo>
                <a:cubicBezTo>
                  <a:pt x="75" y="106"/>
                  <a:pt x="75" y="106"/>
                  <a:pt x="75" y="106"/>
                </a:cubicBezTo>
                <a:cubicBezTo>
                  <a:pt x="70" y="97"/>
                  <a:pt x="70" y="97"/>
                  <a:pt x="70" y="97"/>
                </a:cubicBezTo>
                <a:cubicBezTo>
                  <a:pt x="64" y="88"/>
                  <a:pt x="64" y="88"/>
                  <a:pt x="64" y="88"/>
                </a:cubicBezTo>
                <a:cubicBezTo>
                  <a:pt x="67" y="79"/>
                  <a:pt x="67" y="79"/>
                  <a:pt x="67" y="79"/>
                </a:cubicBezTo>
                <a:cubicBezTo>
                  <a:pt x="70" y="69"/>
                  <a:pt x="70" y="69"/>
                  <a:pt x="70" y="69"/>
                </a:cubicBezTo>
                <a:cubicBezTo>
                  <a:pt x="80" y="65"/>
                  <a:pt x="80" y="65"/>
                  <a:pt x="80" y="65"/>
                </a:cubicBezTo>
                <a:cubicBezTo>
                  <a:pt x="89" y="61"/>
                  <a:pt x="89" y="61"/>
                  <a:pt x="89" y="61"/>
                </a:cubicBezTo>
                <a:cubicBezTo>
                  <a:pt x="98" y="67"/>
                  <a:pt x="98" y="67"/>
                  <a:pt x="98" y="67"/>
                </a:cubicBezTo>
                <a:cubicBezTo>
                  <a:pt x="107" y="71"/>
                  <a:pt x="107" y="71"/>
                  <a:pt x="107" y="71"/>
                </a:cubicBezTo>
                <a:cubicBezTo>
                  <a:pt x="108" y="82"/>
                  <a:pt x="108" y="82"/>
                  <a:pt x="108" y="82"/>
                </a:cubicBezTo>
                <a:cubicBezTo>
                  <a:pt x="110" y="92"/>
                  <a:pt x="110" y="92"/>
                  <a:pt x="110" y="92"/>
                </a:cubicBezTo>
                <a:cubicBezTo>
                  <a:pt x="103" y="99"/>
                  <a:pt x="103" y="99"/>
                  <a:pt x="103" y="99"/>
                </a:cubicBezTo>
                <a:cubicBezTo>
                  <a:pt x="96" y="107"/>
                  <a:pt x="96" y="107"/>
                  <a:pt x="96" y="107"/>
                </a:cubicBezTo>
                <a:lnTo>
                  <a:pt x="86" y="10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Oval 54"/>
          <p:cNvSpPr/>
          <p:nvPr/>
        </p:nvSpPr>
        <p:spPr bwMode="auto">
          <a:xfrm>
            <a:off x="5542837" y="4413171"/>
            <a:ext cx="745690" cy="745684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reeform 11"/>
          <p:cNvSpPr>
            <a:spLocks noEditPoints="1"/>
          </p:cNvSpPr>
          <p:nvPr/>
        </p:nvSpPr>
        <p:spPr bwMode="auto">
          <a:xfrm>
            <a:off x="5702452" y="4626119"/>
            <a:ext cx="426112" cy="318744"/>
          </a:xfrm>
          <a:custGeom>
            <a:avLst/>
            <a:gdLst>
              <a:gd name="T0" fmla="*/ 102 w 426"/>
              <a:gd name="T1" fmla="*/ 160 h 318"/>
              <a:gd name="T2" fmla="*/ 65 w 426"/>
              <a:gd name="T3" fmla="*/ 127 h 318"/>
              <a:gd name="T4" fmla="*/ 179 w 426"/>
              <a:gd name="T5" fmla="*/ 173 h 318"/>
              <a:gd name="T6" fmla="*/ 9 w 426"/>
              <a:gd name="T7" fmla="*/ 297 h 318"/>
              <a:gd name="T8" fmla="*/ 179 w 426"/>
              <a:gd name="T9" fmla="*/ 173 h 318"/>
              <a:gd name="T10" fmla="*/ 242 w 426"/>
              <a:gd name="T11" fmla="*/ 111 h 318"/>
              <a:gd name="T12" fmla="*/ 138 w 426"/>
              <a:gd name="T13" fmla="*/ 164 h 318"/>
              <a:gd name="T14" fmla="*/ 171 w 426"/>
              <a:gd name="T15" fmla="*/ 100 h 318"/>
              <a:gd name="T16" fmla="*/ 189 w 426"/>
              <a:gd name="T17" fmla="*/ 119 h 318"/>
              <a:gd name="T18" fmla="*/ 182 w 426"/>
              <a:gd name="T19" fmla="*/ 93 h 318"/>
              <a:gd name="T20" fmla="*/ 258 w 426"/>
              <a:gd name="T21" fmla="*/ 85 h 318"/>
              <a:gd name="T22" fmla="*/ 320 w 426"/>
              <a:gd name="T23" fmla="*/ 192 h 318"/>
              <a:gd name="T24" fmla="*/ 265 w 426"/>
              <a:gd name="T25" fmla="*/ 251 h 318"/>
              <a:gd name="T26" fmla="*/ 183 w 426"/>
              <a:gd name="T27" fmla="*/ 263 h 318"/>
              <a:gd name="T28" fmla="*/ 189 w 426"/>
              <a:gd name="T29" fmla="*/ 164 h 318"/>
              <a:gd name="T30" fmla="*/ 125 w 426"/>
              <a:gd name="T31" fmla="*/ 164 h 318"/>
              <a:gd name="T32" fmla="*/ 205 w 426"/>
              <a:gd name="T33" fmla="*/ 145 h 318"/>
              <a:gd name="T34" fmla="*/ 261 w 426"/>
              <a:gd name="T35" fmla="*/ 90 h 318"/>
              <a:gd name="T36" fmla="*/ 267 w 426"/>
              <a:gd name="T37" fmla="*/ 98 h 318"/>
              <a:gd name="T38" fmla="*/ 295 w 426"/>
              <a:gd name="T39" fmla="*/ 145 h 318"/>
              <a:gd name="T40" fmla="*/ 192 w 426"/>
              <a:gd name="T41" fmla="*/ 112 h 318"/>
              <a:gd name="T42" fmla="*/ 182 w 426"/>
              <a:gd name="T43" fmla="*/ 118 h 318"/>
              <a:gd name="T44" fmla="*/ 131 w 426"/>
              <a:gd name="T45" fmla="*/ 41 h 318"/>
              <a:gd name="T46" fmla="*/ 151 w 426"/>
              <a:gd name="T47" fmla="*/ 30 h 318"/>
              <a:gd name="T48" fmla="*/ 192 w 426"/>
              <a:gd name="T49" fmla="*/ 112 h 318"/>
              <a:gd name="T50" fmla="*/ 148 w 426"/>
              <a:gd name="T51" fmla="*/ 42 h 318"/>
              <a:gd name="T52" fmla="*/ 141 w 426"/>
              <a:gd name="T53" fmla="*/ 26 h 318"/>
              <a:gd name="T54" fmla="*/ 144 w 426"/>
              <a:gd name="T55" fmla="*/ 41 h 318"/>
              <a:gd name="T56" fmla="*/ 189 w 426"/>
              <a:gd name="T57" fmla="*/ 113 h 318"/>
              <a:gd name="T58" fmla="*/ 205 w 426"/>
              <a:gd name="T59" fmla="*/ 86 h 318"/>
              <a:gd name="T60" fmla="*/ 246 w 426"/>
              <a:gd name="T61" fmla="*/ 90 h 318"/>
              <a:gd name="T62" fmla="*/ 253 w 426"/>
              <a:gd name="T63" fmla="*/ 85 h 318"/>
              <a:gd name="T64" fmla="*/ 317 w 426"/>
              <a:gd name="T65" fmla="*/ 0 h 318"/>
              <a:gd name="T66" fmla="*/ 218 w 426"/>
              <a:gd name="T67" fmla="*/ 70 h 318"/>
              <a:gd name="T68" fmla="*/ 317 w 426"/>
              <a:gd name="T69" fmla="*/ 0 h 318"/>
              <a:gd name="T70" fmla="*/ 338 w 426"/>
              <a:gd name="T71" fmla="*/ 255 h 318"/>
              <a:gd name="T72" fmla="*/ 244 w 426"/>
              <a:gd name="T73" fmla="*/ 318 h 318"/>
              <a:gd name="T74" fmla="*/ 227 w 426"/>
              <a:gd name="T75" fmla="*/ 302 h 318"/>
              <a:gd name="T76" fmla="*/ 267 w 426"/>
              <a:gd name="T77" fmla="*/ 257 h 318"/>
              <a:gd name="T78" fmla="*/ 315 w 426"/>
              <a:gd name="T79" fmla="*/ 237 h 318"/>
              <a:gd name="T80" fmla="*/ 426 w 426"/>
              <a:gd name="T81" fmla="*/ 58 h 318"/>
              <a:gd name="T82" fmla="*/ 242 w 426"/>
              <a:gd name="T83" fmla="*/ 136 h 318"/>
              <a:gd name="T84" fmla="*/ 426 w 426"/>
              <a:gd name="T85" fmla="*/ 58 h 318"/>
              <a:gd name="T86" fmla="*/ 324 w 426"/>
              <a:gd name="T87" fmla="*/ 258 h 318"/>
              <a:gd name="T88" fmla="*/ 268 w 426"/>
              <a:gd name="T89" fmla="*/ 308 h 318"/>
              <a:gd name="T90" fmla="*/ 320 w 426"/>
              <a:gd name="T91" fmla="*/ 275 h 318"/>
              <a:gd name="T92" fmla="*/ 299 w 426"/>
              <a:gd name="T93" fmla="*/ 237 h 318"/>
              <a:gd name="T94" fmla="*/ 290 w 426"/>
              <a:gd name="T95" fmla="*/ 148 h 318"/>
              <a:gd name="T96" fmla="*/ 311 w 426"/>
              <a:gd name="T97" fmla="*/ 200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26" h="318">
                <a:moveTo>
                  <a:pt x="131" y="120"/>
                </a:moveTo>
                <a:cubicBezTo>
                  <a:pt x="102" y="160"/>
                  <a:pt x="102" y="160"/>
                  <a:pt x="102" y="160"/>
                </a:cubicBezTo>
                <a:cubicBezTo>
                  <a:pt x="0" y="187"/>
                  <a:pt x="0" y="187"/>
                  <a:pt x="0" y="187"/>
                </a:cubicBezTo>
                <a:cubicBezTo>
                  <a:pt x="65" y="127"/>
                  <a:pt x="65" y="127"/>
                  <a:pt x="65" y="127"/>
                </a:cubicBezTo>
                <a:lnTo>
                  <a:pt x="131" y="120"/>
                </a:lnTo>
                <a:close/>
                <a:moveTo>
                  <a:pt x="179" y="173"/>
                </a:moveTo>
                <a:cubicBezTo>
                  <a:pt x="125" y="292"/>
                  <a:pt x="125" y="292"/>
                  <a:pt x="125" y="292"/>
                </a:cubicBezTo>
                <a:cubicBezTo>
                  <a:pt x="9" y="297"/>
                  <a:pt x="9" y="297"/>
                  <a:pt x="9" y="297"/>
                </a:cubicBezTo>
                <a:cubicBezTo>
                  <a:pt x="125" y="185"/>
                  <a:pt x="125" y="185"/>
                  <a:pt x="125" y="185"/>
                </a:cubicBezTo>
                <a:lnTo>
                  <a:pt x="179" y="173"/>
                </a:lnTo>
                <a:close/>
                <a:moveTo>
                  <a:pt x="258" y="85"/>
                </a:moveTo>
                <a:cubicBezTo>
                  <a:pt x="258" y="92"/>
                  <a:pt x="253" y="101"/>
                  <a:pt x="242" y="111"/>
                </a:cubicBezTo>
                <a:cubicBezTo>
                  <a:pt x="232" y="122"/>
                  <a:pt x="219" y="132"/>
                  <a:pt x="202" y="141"/>
                </a:cubicBezTo>
                <a:cubicBezTo>
                  <a:pt x="177" y="156"/>
                  <a:pt x="155" y="164"/>
                  <a:pt x="138" y="164"/>
                </a:cubicBezTo>
                <a:cubicBezTo>
                  <a:pt x="127" y="164"/>
                  <a:pt x="121" y="160"/>
                  <a:pt x="121" y="153"/>
                </a:cubicBezTo>
                <a:cubicBezTo>
                  <a:pt x="121" y="138"/>
                  <a:pt x="137" y="120"/>
                  <a:pt x="171" y="100"/>
                </a:cubicBezTo>
                <a:cubicBezTo>
                  <a:pt x="182" y="119"/>
                  <a:pt x="182" y="119"/>
                  <a:pt x="182" y="119"/>
                </a:cubicBezTo>
                <a:cubicBezTo>
                  <a:pt x="183" y="121"/>
                  <a:pt x="185" y="121"/>
                  <a:pt x="189" y="119"/>
                </a:cubicBezTo>
                <a:cubicBezTo>
                  <a:pt x="193" y="117"/>
                  <a:pt x="195" y="114"/>
                  <a:pt x="194" y="112"/>
                </a:cubicBezTo>
                <a:cubicBezTo>
                  <a:pt x="182" y="93"/>
                  <a:pt x="182" y="93"/>
                  <a:pt x="182" y="93"/>
                </a:cubicBezTo>
                <a:cubicBezTo>
                  <a:pt x="207" y="79"/>
                  <a:pt x="227" y="73"/>
                  <a:pt x="241" y="74"/>
                </a:cubicBezTo>
                <a:cubicBezTo>
                  <a:pt x="252" y="74"/>
                  <a:pt x="258" y="78"/>
                  <a:pt x="258" y="85"/>
                </a:cubicBezTo>
                <a:close/>
                <a:moveTo>
                  <a:pt x="318" y="185"/>
                </a:moveTo>
                <a:cubicBezTo>
                  <a:pt x="319" y="187"/>
                  <a:pt x="320" y="190"/>
                  <a:pt x="320" y="192"/>
                </a:cubicBezTo>
                <a:cubicBezTo>
                  <a:pt x="320" y="200"/>
                  <a:pt x="314" y="210"/>
                  <a:pt x="304" y="221"/>
                </a:cubicBezTo>
                <a:cubicBezTo>
                  <a:pt x="294" y="232"/>
                  <a:pt x="281" y="242"/>
                  <a:pt x="265" y="251"/>
                </a:cubicBezTo>
                <a:cubicBezTo>
                  <a:pt x="241" y="265"/>
                  <a:pt x="221" y="272"/>
                  <a:pt x="203" y="272"/>
                </a:cubicBezTo>
                <a:cubicBezTo>
                  <a:pt x="193" y="272"/>
                  <a:pt x="186" y="269"/>
                  <a:pt x="183" y="263"/>
                </a:cubicBezTo>
                <a:cubicBezTo>
                  <a:pt x="161" y="226"/>
                  <a:pt x="161" y="226"/>
                  <a:pt x="161" y="226"/>
                </a:cubicBezTo>
                <a:cubicBezTo>
                  <a:pt x="189" y="164"/>
                  <a:pt x="189" y="164"/>
                  <a:pt x="189" y="164"/>
                </a:cubicBezTo>
                <a:cubicBezTo>
                  <a:pt x="129" y="177"/>
                  <a:pt x="129" y="177"/>
                  <a:pt x="129" y="177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7" y="167"/>
                  <a:pt x="132" y="168"/>
                  <a:pt x="138" y="168"/>
                </a:cubicBezTo>
                <a:cubicBezTo>
                  <a:pt x="156" y="168"/>
                  <a:pt x="178" y="161"/>
                  <a:pt x="205" y="145"/>
                </a:cubicBezTo>
                <a:cubicBezTo>
                  <a:pt x="221" y="136"/>
                  <a:pt x="235" y="126"/>
                  <a:pt x="245" y="115"/>
                </a:cubicBezTo>
                <a:cubicBezTo>
                  <a:pt x="256" y="104"/>
                  <a:pt x="261" y="96"/>
                  <a:pt x="261" y="90"/>
                </a:cubicBezTo>
                <a:cubicBezTo>
                  <a:pt x="261" y="88"/>
                  <a:pt x="261" y="87"/>
                  <a:pt x="260" y="86"/>
                </a:cubicBezTo>
                <a:cubicBezTo>
                  <a:pt x="267" y="98"/>
                  <a:pt x="267" y="98"/>
                  <a:pt x="267" y="98"/>
                </a:cubicBezTo>
                <a:cubicBezTo>
                  <a:pt x="232" y="140"/>
                  <a:pt x="232" y="140"/>
                  <a:pt x="232" y="140"/>
                </a:cubicBezTo>
                <a:cubicBezTo>
                  <a:pt x="295" y="145"/>
                  <a:pt x="295" y="145"/>
                  <a:pt x="295" y="145"/>
                </a:cubicBezTo>
                <a:lnTo>
                  <a:pt x="318" y="185"/>
                </a:lnTo>
                <a:close/>
                <a:moveTo>
                  <a:pt x="192" y="112"/>
                </a:moveTo>
                <a:cubicBezTo>
                  <a:pt x="192" y="114"/>
                  <a:pt x="192" y="115"/>
                  <a:pt x="189" y="117"/>
                </a:cubicBezTo>
                <a:cubicBezTo>
                  <a:pt x="185" y="119"/>
                  <a:pt x="184" y="119"/>
                  <a:pt x="182" y="118"/>
                </a:cubicBezTo>
                <a:cubicBezTo>
                  <a:pt x="142" y="47"/>
                  <a:pt x="142" y="47"/>
                  <a:pt x="142" y="47"/>
                </a:cubicBezTo>
                <a:cubicBezTo>
                  <a:pt x="137" y="47"/>
                  <a:pt x="134" y="45"/>
                  <a:pt x="131" y="41"/>
                </a:cubicBezTo>
                <a:cubicBezTo>
                  <a:pt x="127" y="35"/>
                  <a:pt x="129" y="30"/>
                  <a:pt x="135" y="26"/>
                </a:cubicBezTo>
                <a:cubicBezTo>
                  <a:pt x="142" y="22"/>
                  <a:pt x="148" y="23"/>
                  <a:pt x="151" y="30"/>
                </a:cubicBezTo>
                <a:cubicBezTo>
                  <a:pt x="154" y="34"/>
                  <a:pt x="154" y="38"/>
                  <a:pt x="151" y="41"/>
                </a:cubicBezTo>
                <a:lnTo>
                  <a:pt x="192" y="112"/>
                </a:lnTo>
                <a:close/>
                <a:moveTo>
                  <a:pt x="189" y="113"/>
                </a:moveTo>
                <a:cubicBezTo>
                  <a:pt x="148" y="42"/>
                  <a:pt x="148" y="42"/>
                  <a:pt x="148" y="42"/>
                </a:cubicBezTo>
                <a:cubicBezTo>
                  <a:pt x="151" y="38"/>
                  <a:pt x="152" y="35"/>
                  <a:pt x="151" y="33"/>
                </a:cubicBezTo>
                <a:cubicBezTo>
                  <a:pt x="148" y="28"/>
                  <a:pt x="145" y="25"/>
                  <a:pt x="141" y="26"/>
                </a:cubicBezTo>
                <a:cubicBezTo>
                  <a:pt x="142" y="27"/>
                  <a:pt x="145" y="30"/>
                  <a:pt x="148" y="34"/>
                </a:cubicBezTo>
                <a:cubicBezTo>
                  <a:pt x="148" y="35"/>
                  <a:pt x="147" y="38"/>
                  <a:pt x="144" y="41"/>
                </a:cubicBezTo>
                <a:cubicBezTo>
                  <a:pt x="188" y="115"/>
                  <a:pt x="188" y="115"/>
                  <a:pt x="188" y="115"/>
                </a:cubicBezTo>
                <a:lnTo>
                  <a:pt x="189" y="113"/>
                </a:lnTo>
                <a:close/>
                <a:moveTo>
                  <a:pt x="239" y="77"/>
                </a:moveTo>
                <a:cubicBezTo>
                  <a:pt x="229" y="77"/>
                  <a:pt x="218" y="80"/>
                  <a:pt x="205" y="86"/>
                </a:cubicBezTo>
                <a:cubicBezTo>
                  <a:pt x="215" y="83"/>
                  <a:pt x="223" y="82"/>
                  <a:pt x="230" y="82"/>
                </a:cubicBezTo>
                <a:cubicBezTo>
                  <a:pt x="241" y="82"/>
                  <a:pt x="246" y="84"/>
                  <a:pt x="246" y="90"/>
                </a:cubicBezTo>
                <a:cubicBezTo>
                  <a:pt x="246" y="95"/>
                  <a:pt x="241" y="104"/>
                  <a:pt x="230" y="115"/>
                </a:cubicBezTo>
                <a:cubicBezTo>
                  <a:pt x="245" y="101"/>
                  <a:pt x="253" y="91"/>
                  <a:pt x="253" y="85"/>
                </a:cubicBezTo>
                <a:cubicBezTo>
                  <a:pt x="253" y="80"/>
                  <a:pt x="248" y="77"/>
                  <a:pt x="239" y="77"/>
                </a:cubicBezTo>
                <a:close/>
                <a:moveTo>
                  <a:pt x="317" y="0"/>
                </a:moveTo>
                <a:cubicBezTo>
                  <a:pt x="268" y="60"/>
                  <a:pt x="268" y="60"/>
                  <a:pt x="268" y="60"/>
                </a:cubicBezTo>
                <a:cubicBezTo>
                  <a:pt x="218" y="70"/>
                  <a:pt x="218" y="70"/>
                  <a:pt x="218" y="70"/>
                </a:cubicBezTo>
                <a:cubicBezTo>
                  <a:pt x="248" y="19"/>
                  <a:pt x="248" y="19"/>
                  <a:pt x="248" y="19"/>
                </a:cubicBezTo>
                <a:lnTo>
                  <a:pt x="317" y="0"/>
                </a:lnTo>
                <a:close/>
                <a:moveTo>
                  <a:pt x="337" y="250"/>
                </a:moveTo>
                <a:cubicBezTo>
                  <a:pt x="338" y="251"/>
                  <a:pt x="338" y="253"/>
                  <a:pt x="338" y="255"/>
                </a:cubicBezTo>
                <a:cubicBezTo>
                  <a:pt x="338" y="269"/>
                  <a:pt x="324" y="284"/>
                  <a:pt x="295" y="301"/>
                </a:cubicBezTo>
                <a:cubicBezTo>
                  <a:pt x="275" y="313"/>
                  <a:pt x="258" y="318"/>
                  <a:pt x="244" y="318"/>
                </a:cubicBezTo>
                <a:cubicBezTo>
                  <a:pt x="236" y="318"/>
                  <a:pt x="231" y="316"/>
                  <a:pt x="229" y="313"/>
                </a:cubicBezTo>
                <a:cubicBezTo>
                  <a:pt x="228" y="310"/>
                  <a:pt x="227" y="307"/>
                  <a:pt x="227" y="302"/>
                </a:cubicBezTo>
                <a:cubicBezTo>
                  <a:pt x="227" y="293"/>
                  <a:pt x="229" y="283"/>
                  <a:pt x="232" y="272"/>
                </a:cubicBezTo>
                <a:cubicBezTo>
                  <a:pt x="241" y="268"/>
                  <a:pt x="252" y="263"/>
                  <a:pt x="267" y="257"/>
                </a:cubicBezTo>
                <a:cubicBezTo>
                  <a:pt x="281" y="248"/>
                  <a:pt x="291" y="241"/>
                  <a:pt x="300" y="233"/>
                </a:cubicBezTo>
                <a:cubicBezTo>
                  <a:pt x="315" y="237"/>
                  <a:pt x="315" y="237"/>
                  <a:pt x="315" y="237"/>
                </a:cubicBezTo>
                <a:cubicBezTo>
                  <a:pt x="327" y="241"/>
                  <a:pt x="334" y="246"/>
                  <a:pt x="337" y="250"/>
                </a:cubicBezTo>
                <a:close/>
                <a:moveTo>
                  <a:pt x="426" y="58"/>
                </a:moveTo>
                <a:cubicBezTo>
                  <a:pt x="372" y="150"/>
                  <a:pt x="372" y="150"/>
                  <a:pt x="372" y="150"/>
                </a:cubicBezTo>
                <a:cubicBezTo>
                  <a:pt x="242" y="136"/>
                  <a:pt x="242" y="136"/>
                  <a:pt x="242" y="136"/>
                </a:cubicBezTo>
                <a:cubicBezTo>
                  <a:pt x="279" y="95"/>
                  <a:pt x="279" y="95"/>
                  <a:pt x="279" y="95"/>
                </a:cubicBezTo>
                <a:lnTo>
                  <a:pt x="426" y="58"/>
                </a:lnTo>
                <a:close/>
                <a:moveTo>
                  <a:pt x="299" y="237"/>
                </a:moveTo>
                <a:cubicBezTo>
                  <a:pt x="316" y="250"/>
                  <a:pt x="324" y="257"/>
                  <a:pt x="324" y="258"/>
                </a:cubicBezTo>
                <a:cubicBezTo>
                  <a:pt x="324" y="263"/>
                  <a:pt x="320" y="270"/>
                  <a:pt x="309" y="280"/>
                </a:cubicBezTo>
                <a:cubicBezTo>
                  <a:pt x="301" y="288"/>
                  <a:pt x="287" y="297"/>
                  <a:pt x="268" y="308"/>
                </a:cubicBezTo>
                <a:cubicBezTo>
                  <a:pt x="273" y="306"/>
                  <a:pt x="281" y="303"/>
                  <a:pt x="292" y="297"/>
                </a:cubicBezTo>
                <a:cubicBezTo>
                  <a:pt x="302" y="291"/>
                  <a:pt x="311" y="284"/>
                  <a:pt x="320" y="275"/>
                </a:cubicBezTo>
                <a:cubicBezTo>
                  <a:pt x="329" y="266"/>
                  <a:pt x="334" y="260"/>
                  <a:pt x="334" y="255"/>
                </a:cubicBezTo>
                <a:cubicBezTo>
                  <a:pt x="334" y="247"/>
                  <a:pt x="322" y="241"/>
                  <a:pt x="299" y="237"/>
                </a:cubicBezTo>
                <a:close/>
                <a:moveTo>
                  <a:pt x="314" y="189"/>
                </a:moveTo>
                <a:cubicBezTo>
                  <a:pt x="290" y="148"/>
                  <a:pt x="290" y="148"/>
                  <a:pt x="290" y="148"/>
                </a:cubicBezTo>
                <a:cubicBezTo>
                  <a:pt x="282" y="148"/>
                  <a:pt x="282" y="148"/>
                  <a:pt x="282" y="148"/>
                </a:cubicBezTo>
                <a:cubicBezTo>
                  <a:pt x="311" y="200"/>
                  <a:pt x="311" y="200"/>
                  <a:pt x="311" y="200"/>
                </a:cubicBezTo>
                <a:cubicBezTo>
                  <a:pt x="315" y="196"/>
                  <a:pt x="315" y="192"/>
                  <a:pt x="314" y="18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/>
          <p:cNvSpPr/>
          <p:nvPr/>
        </p:nvSpPr>
        <p:spPr bwMode="auto">
          <a:xfrm>
            <a:off x="5549554" y="2372983"/>
            <a:ext cx="732688" cy="732688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70C95C5-63C8-41A3-8CFF-6DF168009574}"/>
              </a:ext>
            </a:extLst>
          </p:cNvPr>
          <p:cNvGrpSpPr/>
          <p:nvPr/>
        </p:nvGrpSpPr>
        <p:grpSpPr>
          <a:xfrm>
            <a:off x="5742198" y="2528760"/>
            <a:ext cx="346968" cy="418626"/>
            <a:chOff x="5742198" y="2528760"/>
            <a:chExt cx="346968" cy="418626"/>
          </a:xfrm>
          <a:solidFill>
            <a:schemeClr val="tx2"/>
          </a:solidFill>
        </p:grpSpPr>
        <p:sp>
          <p:nvSpPr>
            <p:cNvPr id="70" name="Freeform 15"/>
            <p:cNvSpPr>
              <a:spLocks/>
            </p:cNvSpPr>
            <p:nvPr/>
          </p:nvSpPr>
          <p:spPr bwMode="auto">
            <a:xfrm>
              <a:off x="5828940" y="2634359"/>
              <a:ext cx="173484" cy="233827"/>
            </a:xfrm>
            <a:custGeom>
              <a:avLst/>
              <a:gdLst>
                <a:gd name="T0" fmla="*/ 84 w 168"/>
                <a:gd name="T1" fmla="*/ 0 h 225"/>
                <a:gd name="T2" fmla="*/ 0 w 168"/>
                <a:gd name="T3" fmla="*/ 84 h 225"/>
                <a:gd name="T4" fmla="*/ 11 w 168"/>
                <a:gd name="T5" fmla="*/ 126 h 225"/>
                <a:gd name="T6" fmla="*/ 40 w 168"/>
                <a:gd name="T7" fmla="*/ 204 h 225"/>
                <a:gd name="T8" fmla="*/ 60 w 168"/>
                <a:gd name="T9" fmla="*/ 225 h 225"/>
                <a:gd name="T10" fmla="*/ 84 w 168"/>
                <a:gd name="T11" fmla="*/ 225 h 225"/>
                <a:gd name="T12" fmla="*/ 108 w 168"/>
                <a:gd name="T13" fmla="*/ 225 h 225"/>
                <a:gd name="T14" fmla="*/ 127 w 168"/>
                <a:gd name="T15" fmla="*/ 204 h 225"/>
                <a:gd name="T16" fmla="*/ 157 w 168"/>
                <a:gd name="T17" fmla="*/ 126 h 225"/>
                <a:gd name="T18" fmla="*/ 168 w 168"/>
                <a:gd name="T19" fmla="*/ 84 h 225"/>
                <a:gd name="T20" fmla="*/ 84 w 168"/>
                <a:gd name="T2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8" h="225">
                  <a:moveTo>
                    <a:pt x="84" y="0"/>
                  </a:moveTo>
                  <a:cubicBezTo>
                    <a:pt x="37" y="0"/>
                    <a:pt x="0" y="37"/>
                    <a:pt x="0" y="84"/>
                  </a:cubicBezTo>
                  <a:cubicBezTo>
                    <a:pt x="0" y="99"/>
                    <a:pt x="4" y="113"/>
                    <a:pt x="11" y="126"/>
                  </a:cubicBezTo>
                  <a:cubicBezTo>
                    <a:pt x="32" y="163"/>
                    <a:pt x="37" y="184"/>
                    <a:pt x="40" y="204"/>
                  </a:cubicBezTo>
                  <a:cubicBezTo>
                    <a:pt x="43" y="221"/>
                    <a:pt x="47" y="225"/>
                    <a:pt x="60" y="225"/>
                  </a:cubicBezTo>
                  <a:cubicBezTo>
                    <a:pt x="65" y="225"/>
                    <a:pt x="74" y="225"/>
                    <a:pt x="84" y="225"/>
                  </a:cubicBezTo>
                  <a:cubicBezTo>
                    <a:pt x="93" y="225"/>
                    <a:pt x="102" y="225"/>
                    <a:pt x="108" y="225"/>
                  </a:cubicBezTo>
                  <a:cubicBezTo>
                    <a:pt x="120" y="225"/>
                    <a:pt x="124" y="221"/>
                    <a:pt x="127" y="204"/>
                  </a:cubicBezTo>
                  <a:cubicBezTo>
                    <a:pt x="131" y="184"/>
                    <a:pt x="136" y="163"/>
                    <a:pt x="157" y="126"/>
                  </a:cubicBezTo>
                  <a:cubicBezTo>
                    <a:pt x="164" y="113"/>
                    <a:pt x="168" y="99"/>
                    <a:pt x="168" y="84"/>
                  </a:cubicBezTo>
                  <a:cubicBezTo>
                    <a:pt x="168" y="37"/>
                    <a:pt x="130" y="0"/>
                    <a:pt x="8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16"/>
            <p:cNvSpPr>
              <a:spLocks/>
            </p:cNvSpPr>
            <p:nvPr/>
          </p:nvSpPr>
          <p:spPr bwMode="auto">
            <a:xfrm>
              <a:off x="5881739" y="2875729"/>
              <a:ext cx="67885" cy="11314"/>
            </a:xfrm>
            <a:custGeom>
              <a:avLst/>
              <a:gdLst>
                <a:gd name="T0" fmla="*/ 65 w 69"/>
                <a:gd name="T1" fmla="*/ 0 h 12"/>
                <a:gd name="T2" fmla="*/ 5 w 69"/>
                <a:gd name="T3" fmla="*/ 0 h 12"/>
                <a:gd name="T4" fmla="*/ 0 w 69"/>
                <a:gd name="T5" fmla="*/ 4 h 12"/>
                <a:gd name="T6" fmla="*/ 0 w 69"/>
                <a:gd name="T7" fmla="*/ 7 h 12"/>
                <a:gd name="T8" fmla="*/ 5 w 69"/>
                <a:gd name="T9" fmla="*/ 12 h 12"/>
                <a:gd name="T10" fmla="*/ 65 w 69"/>
                <a:gd name="T11" fmla="*/ 12 h 12"/>
                <a:gd name="T12" fmla="*/ 69 w 69"/>
                <a:gd name="T13" fmla="*/ 7 h 12"/>
                <a:gd name="T14" fmla="*/ 69 w 69"/>
                <a:gd name="T15" fmla="*/ 4 h 12"/>
                <a:gd name="T16" fmla="*/ 65 w 6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12">
                  <a:moveTo>
                    <a:pt x="6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9" y="10"/>
                    <a:pt x="69" y="7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2"/>
                    <a:pt x="67" y="0"/>
                    <a:pt x="65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17"/>
            <p:cNvSpPr>
              <a:spLocks/>
            </p:cNvSpPr>
            <p:nvPr/>
          </p:nvSpPr>
          <p:spPr bwMode="auto">
            <a:xfrm>
              <a:off x="5881739" y="2894586"/>
              <a:ext cx="67885" cy="11314"/>
            </a:xfrm>
            <a:custGeom>
              <a:avLst/>
              <a:gdLst>
                <a:gd name="T0" fmla="*/ 65 w 69"/>
                <a:gd name="T1" fmla="*/ 0 h 12"/>
                <a:gd name="T2" fmla="*/ 5 w 69"/>
                <a:gd name="T3" fmla="*/ 0 h 12"/>
                <a:gd name="T4" fmla="*/ 0 w 69"/>
                <a:gd name="T5" fmla="*/ 4 h 12"/>
                <a:gd name="T6" fmla="*/ 0 w 69"/>
                <a:gd name="T7" fmla="*/ 7 h 12"/>
                <a:gd name="T8" fmla="*/ 5 w 69"/>
                <a:gd name="T9" fmla="*/ 12 h 12"/>
                <a:gd name="T10" fmla="*/ 65 w 69"/>
                <a:gd name="T11" fmla="*/ 12 h 12"/>
                <a:gd name="T12" fmla="*/ 69 w 69"/>
                <a:gd name="T13" fmla="*/ 7 h 12"/>
                <a:gd name="T14" fmla="*/ 69 w 69"/>
                <a:gd name="T15" fmla="*/ 4 h 12"/>
                <a:gd name="T16" fmla="*/ 65 w 6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12">
                  <a:moveTo>
                    <a:pt x="6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9" y="10"/>
                    <a:pt x="69" y="7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2"/>
                    <a:pt x="67" y="0"/>
                    <a:pt x="65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18"/>
            <p:cNvSpPr>
              <a:spLocks/>
            </p:cNvSpPr>
            <p:nvPr/>
          </p:nvSpPr>
          <p:spPr bwMode="auto">
            <a:xfrm>
              <a:off x="5881739" y="2913443"/>
              <a:ext cx="67885" cy="11314"/>
            </a:xfrm>
            <a:custGeom>
              <a:avLst/>
              <a:gdLst>
                <a:gd name="T0" fmla="*/ 65 w 69"/>
                <a:gd name="T1" fmla="*/ 0 h 12"/>
                <a:gd name="T2" fmla="*/ 5 w 69"/>
                <a:gd name="T3" fmla="*/ 0 h 12"/>
                <a:gd name="T4" fmla="*/ 0 w 69"/>
                <a:gd name="T5" fmla="*/ 4 h 12"/>
                <a:gd name="T6" fmla="*/ 0 w 69"/>
                <a:gd name="T7" fmla="*/ 7 h 12"/>
                <a:gd name="T8" fmla="*/ 5 w 69"/>
                <a:gd name="T9" fmla="*/ 12 h 12"/>
                <a:gd name="T10" fmla="*/ 65 w 69"/>
                <a:gd name="T11" fmla="*/ 12 h 12"/>
                <a:gd name="T12" fmla="*/ 69 w 69"/>
                <a:gd name="T13" fmla="*/ 7 h 12"/>
                <a:gd name="T14" fmla="*/ 69 w 69"/>
                <a:gd name="T15" fmla="*/ 4 h 12"/>
                <a:gd name="T16" fmla="*/ 65 w 69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12">
                  <a:moveTo>
                    <a:pt x="6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9" y="10"/>
                    <a:pt x="69" y="7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2"/>
                    <a:pt x="67" y="0"/>
                    <a:pt x="65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19"/>
            <p:cNvSpPr>
              <a:spLocks/>
            </p:cNvSpPr>
            <p:nvPr/>
          </p:nvSpPr>
          <p:spPr bwMode="auto">
            <a:xfrm>
              <a:off x="5893054" y="2932300"/>
              <a:ext cx="45257" cy="15086"/>
            </a:xfrm>
            <a:custGeom>
              <a:avLst/>
              <a:gdLst>
                <a:gd name="T0" fmla="*/ 0 w 45"/>
                <a:gd name="T1" fmla="*/ 0 h 15"/>
                <a:gd name="T2" fmla="*/ 45 w 45"/>
                <a:gd name="T3" fmla="*/ 0 h 15"/>
                <a:gd name="T4" fmla="*/ 23 w 45"/>
                <a:gd name="T5" fmla="*/ 15 h 15"/>
                <a:gd name="T6" fmla="*/ 0 w 4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5">
                  <a:moveTo>
                    <a:pt x="0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9"/>
                    <a:pt x="33" y="15"/>
                    <a:pt x="23" y="15"/>
                  </a:cubicBezTo>
                  <a:cubicBezTo>
                    <a:pt x="12" y="15"/>
                    <a:pt x="0" y="9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20"/>
            <p:cNvSpPr>
              <a:spLocks/>
            </p:cNvSpPr>
            <p:nvPr/>
          </p:nvSpPr>
          <p:spPr bwMode="auto">
            <a:xfrm>
              <a:off x="5960939" y="2547617"/>
              <a:ext cx="64114" cy="86742"/>
            </a:xfrm>
            <a:custGeom>
              <a:avLst/>
              <a:gdLst>
                <a:gd name="T0" fmla="*/ 54 w 62"/>
                <a:gd name="T1" fmla="*/ 26 h 83"/>
                <a:gd name="T2" fmla="*/ 34 w 62"/>
                <a:gd name="T3" fmla="*/ 13 h 83"/>
                <a:gd name="T4" fmla="*/ 0 w 62"/>
                <a:gd name="T5" fmla="*/ 71 h 83"/>
                <a:gd name="T6" fmla="*/ 21 w 62"/>
                <a:gd name="T7" fmla="*/ 83 h 83"/>
                <a:gd name="T8" fmla="*/ 54 w 62"/>
                <a:gd name="T9" fmla="*/ 26 h 83"/>
                <a:gd name="T10" fmla="*/ 54 w 62"/>
                <a:gd name="T11" fmla="*/ 26 h 83"/>
                <a:gd name="T12" fmla="*/ 54 w 62"/>
                <a:gd name="T13" fmla="*/ 2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83">
                  <a:moveTo>
                    <a:pt x="54" y="26"/>
                  </a:moveTo>
                  <a:cubicBezTo>
                    <a:pt x="62" y="12"/>
                    <a:pt x="41" y="0"/>
                    <a:pt x="34" y="13"/>
                  </a:cubicBezTo>
                  <a:cubicBezTo>
                    <a:pt x="30" y="20"/>
                    <a:pt x="0" y="71"/>
                    <a:pt x="0" y="71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1" y="83"/>
                    <a:pt x="47" y="38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21"/>
            <p:cNvSpPr>
              <a:spLocks/>
            </p:cNvSpPr>
            <p:nvPr/>
          </p:nvSpPr>
          <p:spPr bwMode="auto">
            <a:xfrm>
              <a:off x="6006195" y="2615502"/>
              <a:ext cx="82971" cy="64114"/>
            </a:xfrm>
            <a:custGeom>
              <a:avLst/>
              <a:gdLst>
                <a:gd name="T0" fmla="*/ 56 w 82"/>
                <a:gd name="T1" fmla="*/ 7 h 61"/>
                <a:gd name="T2" fmla="*/ 56 w 82"/>
                <a:gd name="T3" fmla="*/ 7 h 61"/>
                <a:gd name="T4" fmla="*/ 56 w 82"/>
                <a:gd name="T5" fmla="*/ 8 h 61"/>
                <a:gd name="T6" fmla="*/ 56 w 82"/>
                <a:gd name="T7" fmla="*/ 8 h 61"/>
                <a:gd name="T8" fmla="*/ 0 w 82"/>
                <a:gd name="T9" fmla="*/ 40 h 61"/>
                <a:gd name="T10" fmla="*/ 12 w 82"/>
                <a:gd name="T11" fmla="*/ 61 h 61"/>
                <a:gd name="T12" fmla="*/ 68 w 82"/>
                <a:gd name="T13" fmla="*/ 28 h 61"/>
                <a:gd name="T14" fmla="*/ 56 w 82"/>
                <a:gd name="T15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61">
                  <a:moveTo>
                    <a:pt x="56" y="7"/>
                  </a:moveTo>
                  <a:cubicBezTo>
                    <a:pt x="56" y="7"/>
                    <a:pt x="56" y="7"/>
                    <a:pt x="56" y="7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46" y="14"/>
                    <a:pt x="0" y="40"/>
                    <a:pt x="0" y="4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58" y="34"/>
                    <a:pt x="68" y="28"/>
                  </a:cubicBezTo>
                  <a:cubicBezTo>
                    <a:pt x="82" y="21"/>
                    <a:pt x="70" y="0"/>
                    <a:pt x="56" y="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22"/>
            <p:cNvSpPr>
              <a:spLocks/>
            </p:cNvSpPr>
            <p:nvPr/>
          </p:nvSpPr>
          <p:spPr bwMode="auto">
            <a:xfrm>
              <a:off x="5904368" y="2528760"/>
              <a:ext cx="22628" cy="82971"/>
            </a:xfrm>
            <a:custGeom>
              <a:avLst/>
              <a:gdLst>
                <a:gd name="T0" fmla="*/ 24 w 24"/>
                <a:gd name="T1" fmla="*/ 16 h 80"/>
                <a:gd name="T2" fmla="*/ 24 w 24"/>
                <a:gd name="T3" fmla="*/ 80 h 80"/>
                <a:gd name="T4" fmla="*/ 0 w 24"/>
                <a:gd name="T5" fmla="*/ 80 h 80"/>
                <a:gd name="T6" fmla="*/ 0 w 24"/>
                <a:gd name="T7" fmla="*/ 16 h 80"/>
                <a:gd name="T8" fmla="*/ 24 w 24"/>
                <a:gd name="T9" fmla="*/ 1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0">
                  <a:moveTo>
                    <a:pt x="24" y="16"/>
                  </a:moveTo>
                  <a:cubicBezTo>
                    <a:pt x="24" y="19"/>
                    <a:pt x="24" y="80"/>
                    <a:pt x="24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19"/>
                    <a:pt x="0" y="16"/>
                  </a:cubicBezTo>
                  <a:cubicBezTo>
                    <a:pt x="0" y="0"/>
                    <a:pt x="24" y="0"/>
                    <a:pt x="24" y="1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23"/>
            <p:cNvSpPr>
              <a:spLocks/>
            </p:cNvSpPr>
            <p:nvPr/>
          </p:nvSpPr>
          <p:spPr bwMode="auto">
            <a:xfrm>
              <a:off x="5810083" y="2547617"/>
              <a:ext cx="64114" cy="86742"/>
            </a:xfrm>
            <a:custGeom>
              <a:avLst/>
              <a:gdLst>
                <a:gd name="T0" fmla="*/ 8 w 62"/>
                <a:gd name="T1" fmla="*/ 26 h 83"/>
                <a:gd name="T2" fmla="*/ 28 w 62"/>
                <a:gd name="T3" fmla="*/ 13 h 83"/>
                <a:gd name="T4" fmla="*/ 62 w 62"/>
                <a:gd name="T5" fmla="*/ 71 h 83"/>
                <a:gd name="T6" fmla="*/ 41 w 62"/>
                <a:gd name="T7" fmla="*/ 83 h 83"/>
                <a:gd name="T8" fmla="*/ 8 w 62"/>
                <a:gd name="T9" fmla="*/ 26 h 83"/>
                <a:gd name="T10" fmla="*/ 8 w 62"/>
                <a:gd name="T11" fmla="*/ 26 h 83"/>
                <a:gd name="T12" fmla="*/ 8 w 62"/>
                <a:gd name="T13" fmla="*/ 2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83">
                  <a:moveTo>
                    <a:pt x="8" y="26"/>
                  </a:moveTo>
                  <a:cubicBezTo>
                    <a:pt x="0" y="12"/>
                    <a:pt x="21" y="0"/>
                    <a:pt x="28" y="13"/>
                  </a:cubicBezTo>
                  <a:cubicBezTo>
                    <a:pt x="32" y="20"/>
                    <a:pt x="62" y="71"/>
                    <a:pt x="62" y="71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15" y="38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24"/>
            <p:cNvSpPr>
              <a:spLocks/>
            </p:cNvSpPr>
            <p:nvPr/>
          </p:nvSpPr>
          <p:spPr bwMode="auto">
            <a:xfrm>
              <a:off x="5742198" y="2615502"/>
              <a:ext cx="82971" cy="64114"/>
            </a:xfrm>
            <a:custGeom>
              <a:avLst/>
              <a:gdLst>
                <a:gd name="T0" fmla="*/ 26 w 82"/>
                <a:gd name="T1" fmla="*/ 7 h 61"/>
                <a:gd name="T2" fmla="*/ 26 w 82"/>
                <a:gd name="T3" fmla="*/ 7 h 61"/>
                <a:gd name="T4" fmla="*/ 26 w 82"/>
                <a:gd name="T5" fmla="*/ 8 h 61"/>
                <a:gd name="T6" fmla="*/ 26 w 82"/>
                <a:gd name="T7" fmla="*/ 8 h 61"/>
                <a:gd name="T8" fmla="*/ 82 w 82"/>
                <a:gd name="T9" fmla="*/ 40 h 61"/>
                <a:gd name="T10" fmla="*/ 70 w 82"/>
                <a:gd name="T11" fmla="*/ 61 h 61"/>
                <a:gd name="T12" fmla="*/ 14 w 82"/>
                <a:gd name="T13" fmla="*/ 28 h 61"/>
                <a:gd name="T14" fmla="*/ 26 w 82"/>
                <a:gd name="T15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61">
                  <a:moveTo>
                    <a:pt x="26" y="7"/>
                  </a:moveTo>
                  <a:cubicBezTo>
                    <a:pt x="26" y="7"/>
                    <a:pt x="26" y="7"/>
                    <a:pt x="26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6" y="14"/>
                    <a:pt x="82" y="40"/>
                    <a:pt x="82" y="40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24" y="34"/>
                    <a:pt x="14" y="28"/>
                  </a:cubicBezTo>
                  <a:cubicBezTo>
                    <a:pt x="0" y="21"/>
                    <a:pt x="12" y="0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Oval 48"/>
          <p:cNvSpPr/>
          <p:nvPr/>
        </p:nvSpPr>
        <p:spPr bwMode="auto">
          <a:xfrm>
            <a:off x="3523535" y="2357930"/>
            <a:ext cx="755462" cy="755462"/>
          </a:xfrm>
          <a:prstGeom prst="ellipse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Freeform 28"/>
          <p:cNvSpPr>
            <a:spLocks/>
          </p:cNvSpPr>
          <p:nvPr/>
        </p:nvSpPr>
        <p:spPr bwMode="auto">
          <a:xfrm>
            <a:off x="3713553" y="2540141"/>
            <a:ext cx="375196" cy="310877"/>
          </a:xfrm>
          <a:custGeom>
            <a:avLst/>
            <a:gdLst>
              <a:gd name="T0" fmla="*/ 370 w 370"/>
              <a:gd name="T1" fmla="*/ 81 h 308"/>
              <a:gd name="T2" fmla="*/ 323 w 370"/>
              <a:gd name="T3" fmla="*/ 41 h 308"/>
              <a:gd name="T4" fmla="*/ 276 w 370"/>
              <a:gd name="T5" fmla="*/ 0 h 308"/>
              <a:gd name="T6" fmla="*/ 229 w 370"/>
              <a:gd name="T7" fmla="*/ 41 h 308"/>
              <a:gd name="T8" fmla="*/ 182 w 370"/>
              <a:gd name="T9" fmla="*/ 81 h 308"/>
              <a:gd name="T10" fmla="*/ 234 w 370"/>
              <a:gd name="T11" fmla="*/ 81 h 308"/>
              <a:gd name="T12" fmla="*/ 7 w 370"/>
              <a:gd name="T13" fmla="*/ 253 h 308"/>
              <a:gd name="T14" fmla="*/ 5 w 370"/>
              <a:gd name="T15" fmla="*/ 260 h 308"/>
              <a:gd name="T16" fmla="*/ 327 w 370"/>
              <a:gd name="T17" fmla="*/ 81 h 308"/>
              <a:gd name="T18" fmla="*/ 370 w 370"/>
              <a:gd name="T19" fmla="*/ 81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70" h="308">
                <a:moveTo>
                  <a:pt x="370" y="81"/>
                </a:moveTo>
                <a:cubicBezTo>
                  <a:pt x="323" y="41"/>
                  <a:pt x="323" y="41"/>
                  <a:pt x="323" y="41"/>
                </a:cubicBezTo>
                <a:cubicBezTo>
                  <a:pt x="276" y="0"/>
                  <a:pt x="276" y="0"/>
                  <a:pt x="276" y="0"/>
                </a:cubicBezTo>
                <a:cubicBezTo>
                  <a:pt x="229" y="41"/>
                  <a:pt x="229" y="41"/>
                  <a:pt x="229" y="41"/>
                </a:cubicBezTo>
                <a:cubicBezTo>
                  <a:pt x="182" y="81"/>
                  <a:pt x="182" y="81"/>
                  <a:pt x="182" y="81"/>
                </a:cubicBezTo>
                <a:cubicBezTo>
                  <a:pt x="234" y="81"/>
                  <a:pt x="234" y="81"/>
                  <a:pt x="234" y="81"/>
                </a:cubicBezTo>
                <a:cubicBezTo>
                  <a:pt x="216" y="188"/>
                  <a:pt x="118" y="270"/>
                  <a:pt x="7" y="253"/>
                </a:cubicBezTo>
                <a:cubicBezTo>
                  <a:pt x="2" y="252"/>
                  <a:pt x="0" y="258"/>
                  <a:pt x="5" y="260"/>
                </a:cubicBezTo>
                <a:cubicBezTo>
                  <a:pt x="144" y="308"/>
                  <a:pt x="304" y="229"/>
                  <a:pt x="327" y="81"/>
                </a:cubicBezTo>
                <a:lnTo>
                  <a:pt x="370" y="8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Freeform 29"/>
          <p:cNvSpPr>
            <a:spLocks/>
          </p:cNvSpPr>
          <p:nvPr/>
        </p:nvSpPr>
        <p:spPr bwMode="auto">
          <a:xfrm>
            <a:off x="3935097" y="2761686"/>
            <a:ext cx="46453" cy="167945"/>
          </a:xfrm>
          <a:custGeom>
            <a:avLst/>
            <a:gdLst>
              <a:gd name="T0" fmla="*/ 48 w 48"/>
              <a:gd name="T1" fmla="*/ 0 h 166"/>
              <a:gd name="T2" fmla="*/ 0 w 48"/>
              <a:gd name="T3" fmla="*/ 34 h 166"/>
              <a:gd name="T4" fmla="*/ 0 w 48"/>
              <a:gd name="T5" fmla="*/ 166 h 166"/>
              <a:gd name="T6" fmla="*/ 48 w 48"/>
              <a:gd name="T7" fmla="*/ 166 h 166"/>
              <a:gd name="T8" fmla="*/ 48 w 48"/>
              <a:gd name="T9" fmla="*/ 0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166">
                <a:moveTo>
                  <a:pt x="48" y="0"/>
                </a:moveTo>
                <a:cubicBezTo>
                  <a:pt x="34" y="13"/>
                  <a:pt x="17" y="24"/>
                  <a:pt x="0" y="34"/>
                </a:cubicBezTo>
                <a:cubicBezTo>
                  <a:pt x="0" y="166"/>
                  <a:pt x="0" y="166"/>
                  <a:pt x="0" y="166"/>
                </a:cubicBezTo>
                <a:cubicBezTo>
                  <a:pt x="48" y="166"/>
                  <a:pt x="48" y="166"/>
                  <a:pt x="48" y="166"/>
                </a:cubicBezTo>
                <a:lnTo>
                  <a:pt x="48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Freeform 30"/>
          <p:cNvSpPr>
            <a:spLocks/>
          </p:cNvSpPr>
          <p:nvPr/>
        </p:nvSpPr>
        <p:spPr bwMode="auto">
          <a:xfrm>
            <a:off x="3860058" y="2808139"/>
            <a:ext cx="50026" cy="121492"/>
          </a:xfrm>
          <a:custGeom>
            <a:avLst/>
            <a:gdLst>
              <a:gd name="T0" fmla="*/ 0 w 48"/>
              <a:gd name="T1" fmla="*/ 120 h 120"/>
              <a:gd name="T2" fmla="*/ 48 w 48"/>
              <a:gd name="T3" fmla="*/ 120 h 120"/>
              <a:gd name="T4" fmla="*/ 48 w 48"/>
              <a:gd name="T5" fmla="*/ 0 h 120"/>
              <a:gd name="T6" fmla="*/ 0 w 48"/>
              <a:gd name="T7" fmla="*/ 15 h 120"/>
              <a:gd name="T8" fmla="*/ 0 w 48"/>
              <a:gd name="T9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120">
                <a:moveTo>
                  <a:pt x="0" y="120"/>
                </a:moveTo>
                <a:cubicBezTo>
                  <a:pt x="48" y="120"/>
                  <a:pt x="48" y="120"/>
                  <a:pt x="48" y="120"/>
                </a:cubicBezTo>
                <a:cubicBezTo>
                  <a:pt x="48" y="0"/>
                  <a:pt x="48" y="0"/>
                  <a:pt x="48" y="0"/>
                </a:cubicBezTo>
                <a:cubicBezTo>
                  <a:pt x="33" y="6"/>
                  <a:pt x="17" y="12"/>
                  <a:pt x="0" y="15"/>
                </a:cubicBezTo>
                <a:lnTo>
                  <a:pt x="0" y="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Freeform 31"/>
          <p:cNvSpPr>
            <a:spLocks/>
          </p:cNvSpPr>
          <p:nvPr/>
        </p:nvSpPr>
        <p:spPr bwMode="auto">
          <a:xfrm>
            <a:off x="4006563" y="2633047"/>
            <a:ext cx="50026" cy="296584"/>
          </a:xfrm>
          <a:custGeom>
            <a:avLst/>
            <a:gdLst>
              <a:gd name="T0" fmla="*/ 0 w 48"/>
              <a:gd name="T1" fmla="*/ 292 h 292"/>
              <a:gd name="T2" fmla="*/ 48 w 48"/>
              <a:gd name="T3" fmla="*/ 292 h 292"/>
              <a:gd name="T4" fmla="*/ 48 w 48"/>
              <a:gd name="T5" fmla="*/ 0 h 292"/>
              <a:gd name="T6" fmla="*/ 47 w 48"/>
              <a:gd name="T7" fmla="*/ 0 h 292"/>
              <a:gd name="T8" fmla="*/ 0 w 48"/>
              <a:gd name="T9" fmla="*/ 100 h 292"/>
              <a:gd name="T10" fmla="*/ 0 w 48"/>
              <a:gd name="T11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" h="292">
                <a:moveTo>
                  <a:pt x="0" y="292"/>
                </a:moveTo>
                <a:cubicBezTo>
                  <a:pt x="48" y="292"/>
                  <a:pt x="48" y="292"/>
                  <a:pt x="48" y="292"/>
                </a:cubicBezTo>
                <a:cubicBezTo>
                  <a:pt x="48" y="0"/>
                  <a:pt x="48" y="0"/>
                  <a:pt x="48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39" y="38"/>
                  <a:pt x="23" y="71"/>
                  <a:pt x="0" y="100"/>
                </a:cubicBezTo>
                <a:lnTo>
                  <a:pt x="0" y="2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Freeform 32"/>
          <p:cNvSpPr>
            <a:spLocks/>
          </p:cNvSpPr>
          <p:nvPr/>
        </p:nvSpPr>
        <p:spPr bwMode="auto">
          <a:xfrm>
            <a:off x="3713553" y="2815285"/>
            <a:ext cx="50026" cy="114346"/>
          </a:xfrm>
          <a:custGeom>
            <a:avLst/>
            <a:gdLst>
              <a:gd name="T0" fmla="*/ 48 w 48"/>
              <a:gd name="T1" fmla="*/ 11 h 113"/>
              <a:gd name="T2" fmla="*/ 0 w 48"/>
              <a:gd name="T3" fmla="*/ 0 h 113"/>
              <a:gd name="T4" fmla="*/ 0 w 48"/>
              <a:gd name="T5" fmla="*/ 113 h 113"/>
              <a:gd name="T6" fmla="*/ 48 w 48"/>
              <a:gd name="T7" fmla="*/ 113 h 113"/>
              <a:gd name="T8" fmla="*/ 48 w 48"/>
              <a:gd name="T9" fmla="*/ 11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113">
                <a:moveTo>
                  <a:pt x="48" y="11"/>
                </a:moveTo>
                <a:cubicBezTo>
                  <a:pt x="32" y="9"/>
                  <a:pt x="16" y="5"/>
                  <a:pt x="0" y="0"/>
                </a:cubicBezTo>
                <a:cubicBezTo>
                  <a:pt x="0" y="113"/>
                  <a:pt x="0" y="113"/>
                  <a:pt x="0" y="113"/>
                </a:cubicBezTo>
                <a:cubicBezTo>
                  <a:pt x="48" y="113"/>
                  <a:pt x="48" y="113"/>
                  <a:pt x="48" y="113"/>
                </a:cubicBezTo>
                <a:lnTo>
                  <a:pt x="48" y="1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Freeform 33"/>
          <p:cNvSpPr>
            <a:spLocks/>
          </p:cNvSpPr>
          <p:nvPr/>
        </p:nvSpPr>
        <p:spPr bwMode="auto">
          <a:xfrm>
            <a:off x="3788592" y="2826005"/>
            <a:ext cx="46453" cy="103626"/>
          </a:xfrm>
          <a:custGeom>
            <a:avLst/>
            <a:gdLst>
              <a:gd name="T0" fmla="*/ 0 w 48"/>
              <a:gd name="T1" fmla="*/ 101 h 101"/>
              <a:gd name="T2" fmla="*/ 48 w 48"/>
              <a:gd name="T3" fmla="*/ 101 h 101"/>
              <a:gd name="T4" fmla="*/ 48 w 48"/>
              <a:gd name="T5" fmla="*/ 0 h 101"/>
              <a:gd name="T6" fmla="*/ 15 w 48"/>
              <a:gd name="T7" fmla="*/ 2 h 101"/>
              <a:gd name="T8" fmla="*/ 0 w 48"/>
              <a:gd name="T9" fmla="*/ 2 h 101"/>
              <a:gd name="T10" fmla="*/ 0 w 48"/>
              <a:gd name="T11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" h="101">
                <a:moveTo>
                  <a:pt x="0" y="101"/>
                </a:moveTo>
                <a:cubicBezTo>
                  <a:pt x="48" y="101"/>
                  <a:pt x="48" y="101"/>
                  <a:pt x="48" y="101"/>
                </a:cubicBezTo>
                <a:cubicBezTo>
                  <a:pt x="48" y="0"/>
                  <a:pt x="48" y="0"/>
                  <a:pt x="48" y="0"/>
                </a:cubicBezTo>
                <a:cubicBezTo>
                  <a:pt x="37" y="1"/>
                  <a:pt x="26" y="2"/>
                  <a:pt x="15" y="2"/>
                </a:cubicBezTo>
                <a:cubicBezTo>
                  <a:pt x="10" y="2"/>
                  <a:pt x="5" y="2"/>
                  <a:pt x="0" y="2"/>
                </a:cubicBezTo>
                <a:lnTo>
                  <a:pt x="0" y="10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61A8894E-11B2-40D4-A4E7-7708E0D0A52C}"/>
              </a:ext>
            </a:extLst>
          </p:cNvPr>
          <p:cNvSpPr txBox="1"/>
          <p:nvPr/>
        </p:nvSpPr>
        <p:spPr>
          <a:xfrm rot="13500000">
            <a:off x="3781794" y="4256131"/>
            <a:ext cx="100048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2CEA866-1903-4446-BBD4-655FCC637ABF}"/>
              </a:ext>
            </a:extLst>
          </p:cNvPr>
          <p:cNvSpPr txBox="1"/>
          <p:nvPr/>
        </p:nvSpPr>
        <p:spPr>
          <a:xfrm rot="8100000">
            <a:off x="5050953" y="4279682"/>
            <a:ext cx="10255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REM IPSUM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A6CBAC3B-8D31-4BA4-83AE-9913231292E6}"/>
              </a:ext>
            </a:extLst>
          </p:cNvPr>
          <p:cNvSpPr/>
          <p:nvPr/>
        </p:nvSpPr>
        <p:spPr bwMode="auto">
          <a:xfrm>
            <a:off x="572503" y="1922905"/>
            <a:ext cx="2834640" cy="323850"/>
          </a:xfrm>
          <a:custGeom>
            <a:avLst/>
            <a:gdLst>
              <a:gd name="connsiteX0" fmla="*/ 0 w 3009900"/>
              <a:gd name="connsiteY0" fmla="*/ 0 h 209550"/>
              <a:gd name="connsiteX1" fmla="*/ 2781300 w 3009900"/>
              <a:gd name="connsiteY1" fmla="*/ 0 h 209550"/>
              <a:gd name="connsiteX2" fmla="*/ 3009900 w 3009900"/>
              <a:gd name="connsiteY2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9900" h="209550">
                <a:moveTo>
                  <a:pt x="0" y="0"/>
                </a:moveTo>
                <a:lnTo>
                  <a:pt x="2781300" y="0"/>
                </a:lnTo>
                <a:lnTo>
                  <a:pt x="3009900" y="209550"/>
                </a:lnTo>
              </a:path>
            </a:pathLst>
          </a:cu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B42FD11B-F91A-9046-AC1A-F2411B11675D}"/>
              </a:ext>
            </a:extLst>
          </p:cNvPr>
          <p:cNvSpPr txBox="1">
            <a:spLocks/>
          </p:cNvSpPr>
          <p:nvPr/>
        </p:nvSpPr>
        <p:spPr>
          <a:xfrm>
            <a:off x="4589766" y="3316464"/>
            <a:ext cx="356188" cy="40011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0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</a:t>
            </a:r>
            <a:endParaRPr lang="id-ID" sz="200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C1C266F0-A8C2-1048-B51B-194FAE0E2200}"/>
              </a:ext>
            </a:extLst>
          </p:cNvPr>
          <p:cNvSpPr txBox="1">
            <a:spLocks/>
          </p:cNvSpPr>
          <p:nvPr/>
        </p:nvSpPr>
        <p:spPr>
          <a:xfrm>
            <a:off x="4910691" y="3316464"/>
            <a:ext cx="426720" cy="40011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</a:t>
            </a:r>
            <a:endParaRPr lang="id-ID" sz="200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49ACFEE3-144F-054D-98B5-2056543016A0}"/>
              </a:ext>
            </a:extLst>
          </p:cNvPr>
          <p:cNvSpPr txBox="1">
            <a:spLocks/>
          </p:cNvSpPr>
          <p:nvPr/>
        </p:nvSpPr>
        <p:spPr>
          <a:xfrm>
            <a:off x="4575339" y="3736345"/>
            <a:ext cx="385042" cy="400110"/>
          </a:xfrm>
          <a:prstGeom prst="rect">
            <a:avLst/>
          </a:prstGeom>
          <a:noFill/>
          <a:ln>
            <a:noFill/>
          </a:ln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0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</a:t>
            </a:r>
            <a:endParaRPr lang="id-ID" sz="2000" b="1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80C97B2F-20EC-1E4B-9B4F-43B9086CB3E0}"/>
              </a:ext>
            </a:extLst>
          </p:cNvPr>
          <p:cNvSpPr txBox="1">
            <a:spLocks/>
          </p:cNvSpPr>
          <p:nvPr/>
        </p:nvSpPr>
        <p:spPr>
          <a:xfrm>
            <a:off x="4953171" y="3736345"/>
            <a:ext cx="341760" cy="400110"/>
          </a:xfrm>
          <a:prstGeom prst="rect">
            <a:avLst/>
          </a:prstGeom>
          <a:noFill/>
          <a:effectLst/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id-ID" sz="2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FC6CAD-C873-4597-ABA8-37F2A85F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SWOT</a:t>
            </a:r>
            <a:endParaRPr lang="da-DK" dirty="0"/>
          </a:p>
        </p:txBody>
      </p:sp>
      <p:sp>
        <p:nvSpPr>
          <p:cNvPr id="92" name="Text Placeholder 32">
            <a:extLst>
              <a:ext uri="{FF2B5EF4-FFF2-40B4-BE49-F238E27FC236}">
                <a16:creationId xmlns:a16="http://schemas.microsoft.com/office/drawing/2014/main" id="{A631FF6F-D313-4E26-ABF7-29A81A8A3FEB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03385009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01984F1-526B-4B29-92A9-ED266A4B63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73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01984F1-526B-4B29-92A9-ED266A4B6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7CE73EC2-41A9-43E2-A04D-8174D4F600B2}"/>
              </a:ext>
            </a:extLst>
          </p:cNvPr>
          <p:cNvGrpSpPr/>
          <p:nvPr/>
        </p:nvGrpSpPr>
        <p:grpSpPr>
          <a:xfrm>
            <a:off x="707203" y="1727717"/>
            <a:ext cx="2237986" cy="1426132"/>
            <a:chOff x="463216" y="1727717"/>
            <a:chExt cx="2237986" cy="1426132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568BB162-3DCE-4129-ADF2-71BB9A2A897F}"/>
                </a:ext>
              </a:extLst>
            </p:cNvPr>
            <p:cNvSpPr/>
            <p:nvPr/>
          </p:nvSpPr>
          <p:spPr bwMode="auto">
            <a:xfrm>
              <a:off x="1454491" y="1727717"/>
              <a:ext cx="255437" cy="255437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0F92FE6-2378-4C69-92A4-0B15593FE3C7}"/>
                </a:ext>
              </a:extLst>
            </p:cNvPr>
            <p:cNvSpPr txBox="1"/>
            <p:nvPr/>
          </p:nvSpPr>
          <p:spPr>
            <a:xfrm>
              <a:off x="463216" y="2049437"/>
              <a:ext cx="2237986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me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onsectetu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dipiscing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li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e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do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iusmo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mpo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incididun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u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ab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e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dol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magna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liqua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73" name="Isosceles Triangle 72">
              <a:extLst>
                <a:ext uri="{FF2B5EF4-FFF2-40B4-BE49-F238E27FC236}">
                  <a16:creationId xmlns:a16="http://schemas.microsoft.com/office/drawing/2014/main" id="{8E966061-EA5E-4053-8609-D3DBFF6C2FA5}"/>
                </a:ext>
              </a:extLst>
            </p:cNvPr>
            <p:cNvSpPr/>
            <p:nvPr/>
          </p:nvSpPr>
          <p:spPr bwMode="auto">
            <a:xfrm>
              <a:off x="1445061" y="2908043"/>
              <a:ext cx="274296" cy="245806"/>
            </a:xfrm>
            <a:prstGeom prst="triangle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052675C-3E19-46C3-AB9A-1D5A0B56EFE4}"/>
              </a:ext>
            </a:extLst>
          </p:cNvPr>
          <p:cNvGrpSpPr/>
          <p:nvPr/>
        </p:nvGrpSpPr>
        <p:grpSpPr>
          <a:xfrm>
            <a:off x="3844869" y="1727717"/>
            <a:ext cx="2237986" cy="1426132"/>
            <a:chOff x="3121367" y="1727717"/>
            <a:chExt cx="2237986" cy="1426132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CD90ACBA-FDB7-4874-8538-000A3616BA99}"/>
                </a:ext>
              </a:extLst>
            </p:cNvPr>
            <p:cNvSpPr/>
            <p:nvPr/>
          </p:nvSpPr>
          <p:spPr bwMode="auto">
            <a:xfrm>
              <a:off x="4112642" y="1727717"/>
              <a:ext cx="255437" cy="255437"/>
            </a:xfrm>
            <a:prstGeom prst="rect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BEA3778-FF9C-4A6A-9C35-9AB6E3AF6907}"/>
                </a:ext>
              </a:extLst>
            </p:cNvPr>
            <p:cNvSpPr txBox="1"/>
            <p:nvPr/>
          </p:nvSpPr>
          <p:spPr>
            <a:xfrm>
              <a:off x="3121367" y="2049437"/>
              <a:ext cx="2237986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me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onsectetu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dipiscing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li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e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do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iusmo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mpo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incididun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u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ab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e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dol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magna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liqua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74" name="Isosceles Triangle 73">
              <a:extLst>
                <a:ext uri="{FF2B5EF4-FFF2-40B4-BE49-F238E27FC236}">
                  <a16:creationId xmlns:a16="http://schemas.microsoft.com/office/drawing/2014/main" id="{AE5EFA8B-EB34-43CA-9A36-8A69FCAFCFD9}"/>
                </a:ext>
              </a:extLst>
            </p:cNvPr>
            <p:cNvSpPr/>
            <p:nvPr/>
          </p:nvSpPr>
          <p:spPr bwMode="auto">
            <a:xfrm>
              <a:off x="4103212" y="2908043"/>
              <a:ext cx="274296" cy="245806"/>
            </a:xfrm>
            <a:prstGeom prst="triangle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68FE753-A586-4A9B-8A4F-51E53C49DE44}"/>
              </a:ext>
            </a:extLst>
          </p:cNvPr>
          <p:cNvGrpSpPr/>
          <p:nvPr/>
        </p:nvGrpSpPr>
        <p:grpSpPr>
          <a:xfrm>
            <a:off x="6982535" y="1727717"/>
            <a:ext cx="2237986" cy="1426132"/>
            <a:chOff x="5779518" y="1727717"/>
            <a:chExt cx="2237986" cy="1426132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CD60CA03-E33E-426E-8824-46BCC163F968}"/>
                </a:ext>
              </a:extLst>
            </p:cNvPr>
            <p:cNvSpPr/>
            <p:nvPr/>
          </p:nvSpPr>
          <p:spPr bwMode="auto">
            <a:xfrm>
              <a:off x="6770793" y="1727717"/>
              <a:ext cx="255437" cy="255437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144632B-26D3-4E40-BCAE-6E9854D76954}"/>
                </a:ext>
              </a:extLst>
            </p:cNvPr>
            <p:cNvSpPr txBox="1"/>
            <p:nvPr/>
          </p:nvSpPr>
          <p:spPr>
            <a:xfrm>
              <a:off x="5779518" y="2070418"/>
              <a:ext cx="2237986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me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onsectetu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dipiscing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li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e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do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iusmo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mpo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incididun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u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ab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e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dol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magna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liqua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75" name="Isosceles Triangle 74">
              <a:extLst>
                <a:ext uri="{FF2B5EF4-FFF2-40B4-BE49-F238E27FC236}">
                  <a16:creationId xmlns:a16="http://schemas.microsoft.com/office/drawing/2014/main" id="{5149C3D5-2E8E-4910-B6C9-D80F495C4CDB}"/>
                </a:ext>
              </a:extLst>
            </p:cNvPr>
            <p:cNvSpPr/>
            <p:nvPr/>
          </p:nvSpPr>
          <p:spPr bwMode="auto">
            <a:xfrm>
              <a:off x="6761363" y="2908043"/>
              <a:ext cx="274296" cy="245806"/>
            </a:xfrm>
            <a:prstGeom prst="triangl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A59FA7-334F-4357-8D89-DA47C85EBBCA}"/>
              </a:ext>
            </a:extLst>
          </p:cNvPr>
          <p:cNvGrpSpPr/>
          <p:nvPr/>
        </p:nvGrpSpPr>
        <p:grpSpPr>
          <a:xfrm>
            <a:off x="2265944" y="4830621"/>
            <a:ext cx="2237986" cy="1506293"/>
            <a:chOff x="1859223" y="4830621"/>
            <a:chExt cx="2237986" cy="1506293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3BD21818-28AB-4A09-BD7A-17B0E1C6ED80}"/>
                </a:ext>
              </a:extLst>
            </p:cNvPr>
            <p:cNvSpPr/>
            <p:nvPr/>
          </p:nvSpPr>
          <p:spPr bwMode="auto">
            <a:xfrm>
              <a:off x="2850498" y="5255549"/>
              <a:ext cx="255437" cy="255437"/>
            </a:xfrm>
            <a:prstGeom prst="rect">
              <a:avLst/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76" name="Isosceles Triangle 75">
              <a:extLst>
                <a:ext uri="{FF2B5EF4-FFF2-40B4-BE49-F238E27FC236}">
                  <a16:creationId xmlns:a16="http://schemas.microsoft.com/office/drawing/2014/main" id="{FB7A38EE-06CB-4CC3-B6F2-88E1A888F735}"/>
                </a:ext>
              </a:extLst>
            </p:cNvPr>
            <p:cNvSpPr/>
            <p:nvPr/>
          </p:nvSpPr>
          <p:spPr bwMode="auto">
            <a:xfrm rot="10800000">
              <a:off x="2841069" y="4830621"/>
              <a:ext cx="274296" cy="245806"/>
            </a:xfrm>
            <a:prstGeom prst="triangle">
              <a:avLst/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48261BC-0424-4ACD-BEC2-339A68C58BD0}"/>
                </a:ext>
              </a:extLst>
            </p:cNvPr>
            <p:cNvSpPr txBox="1"/>
            <p:nvPr/>
          </p:nvSpPr>
          <p:spPr>
            <a:xfrm>
              <a:off x="1859223" y="5598250"/>
              <a:ext cx="2237986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me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onsectetu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dipiscing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li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e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do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iusmo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mpo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incididun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u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ab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e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dol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magna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liqua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12A98F8-000B-402B-8FFF-2A2E4958E47D}"/>
              </a:ext>
            </a:extLst>
          </p:cNvPr>
          <p:cNvGrpSpPr/>
          <p:nvPr/>
        </p:nvGrpSpPr>
        <p:grpSpPr>
          <a:xfrm>
            <a:off x="5418486" y="4830621"/>
            <a:ext cx="2237986" cy="1506293"/>
            <a:chOff x="4534057" y="4830621"/>
            <a:chExt cx="2237986" cy="1506293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0A12F9B9-6C3F-47BD-8857-75E4506A997C}"/>
                </a:ext>
              </a:extLst>
            </p:cNvPr>
            <p:cNvSpPr/>
            <p:nvPr/>
          </p:nvSpPr>
          <p:spPr bwMode="auto">
            <a:xfrm>
              <a:off x="5525332" y="5255549"/>
              <a:ext cx="255437" cy="25543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C318749C-B921-4CB6-9427-8A4BEB97CB5D}"/>
                </a:ext>
              </a:extLst>
            </p:cNvPr>
            <p:cNvSpPr/>
            <p:nvPr/>
          </p:nvSpPr>
          <p:spPr bwMode="auto">
            <a:xfrm rot="10800000">
              <a:off x="5515903" y="4830621"/>
              <a:ext cx="274296" cy="245806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19CFF3B-3EE2-40F3-8A02-E18A49FFCE95}"/>
                </a:ext>
              </a:extLst>
            </p:cNvPr>
            <p:cNvSpPr txBox="1"/>
            <p:nvPr/>
          </p:nvSpPr>
          <p:spPr>
            <a:xfrm>
              <a:off x="4534057" y="5598250"/>
              <a:ext cx="2237986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orem ipsum dolor si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me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onsectetu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dipiscing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li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,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se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do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eiusmod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mpor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incididun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ut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lab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et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dolore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magna </a:t>
              </a:r>
              <a:r>
                <a:rPr lang="en-US" dirty="0" err="1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aliqua</a:t>
              </a:r>
              <a:r>
                <a:rPr lang="en-US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.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C5A4935-3012-4EC6-BF32-7729C2D7A181}"/>
              </a:ext>
            </a:extLst>
          </p:cNvPr>
          <p:cNvGrpSpPr/>
          <p:nvPr/>
        </p:nvGrpSpPr>
        <p:grpSpPr>
          <a:xfrm>
            <a:off x="2797080" y="3369051"/>
            <a:ext cx="1175717" cy="1173191"/>
            <a:chOff x="2369053" y="3369051"/>
            <a:chExt cx="1175717" cy="1173191"/>
          </a:xfrm>
        </p:grpSpPr>
        <p:sp>
          <p:nvSpPr>
            <p:cNvPr id="64" name="Freeform 84">
              <a:extLst>
                <a:ext uri="{FF2B5EF4-FFF2-40B4-BE49-F238E27FC236}">
                  <a16:creationId xmlns:a16="http://schemas.microsoft.com/office/drawing/2014/main" id="{C429D023-6CC9-4253-9982-DF8E919B4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053" y="3369051"/>
              <a:ext cx="1175717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Oval 87">
              <a:extLst>
                <a:ext uri="{FF2B5EF4-FFF2-40B4-BE49-F238E27FC236}">
                  <a16:creationId xmlns:a16="http://schemas.microsoft.com/office/drawing/2014/main" id="{189391C5-1A3F-4224-9B42-7DC64F507A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3974" y="3543219"/>
              <a:ext cx="825872" cy="82485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" name="Graphic 2" descr="Puzzle">
              <a:extLst>
                <a:ext uri="{FF2B5EF4-FFF2-40B4-BE49-F238E27FC236}">
                  <a16:creationId xmlns:a16="http://schemas.microsoft.com/office/drawing/2014/main" id="{B708AF79-1B4B-4FE0-A991-6798F54DA1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724973" y="3731242"/>
              <a:ext cx="496726" cy="496726"/>
            </a:xfrm>
            <a:prstGeom prst="rect">
              <a:avLst/>
            </a:prstGeom>
            <a:effectLst/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807813F-8B2F-4ACA-8824-701D42A75F2F}"/>
              </a:ext>
            </a:extLst>
          </p:cNvPr>
          <p:cNvGrpSpPr/>
          <p:nvPr/>
        </p:nvGrpSpPr>
        <p:grpSpPr>
          <a:xfrm>
            <a:off x="1227209" y="3369050"/>
            <a:ext cx="1175716" cy="1173191"/>
            <a:chOff x="1048669" y="3369050"/>
            <a:chExt cx="1175716" cy="1173191"/>
          </a:xfrm>
        </p:grpSpPr>
        <p:sp>
          <p:nvSpPr>
            <p:cNvPr id="55" name="Freeform 84">
              <a:extLst>
                <a:ext uri="{FF2B5EF4-FFF2-40B4-BE49-F238E27FC236}">
                  <a16:creationId xmlns:a16="http://schemas.microsoft.com/office/drawing/2014/main" id="{69BAB4C2-DAA7-4680-896C-E48089584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669" y="3369050"/>
              <a:ext cx="1175716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Oval 87">
              <a:extLst>
                <a:ext uri="{FF2B5EF4-FFF2-40B4-BE49-F238E27FC236}">
                  <a16:creationId xmlns:a16="http://schemas.microsoft.com/office/drawing/2014/main" id="{D1E0FC0E-64A3-4136-8C5F-FB8B5FAE8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3591" y="3543219"/>
              <a:ext cx="825872" cy="8248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Graphic 5" descr="Box">
              <a:extLst>
                <a:ext uri="{FF2B5EF4-FFF2-40B4-BE49-F238E27FC236}">
                  <a16:creationId xmlns:a16="http://schemas.microsoft.com/office/drawing/2014/main" id="{934DFA12-9C68-4169-A1AA-B8139CC627F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72675" y="3687060"/>
              <a:ext cx="549962" cy="549962"/>
            </a:xfrm>
            <a:prstGeom prst="rect">
              <a:avLst/>
            </a:prstGeom>
            <a:effectLst/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7E3173B-A8CF-4CF5-B8F8-39926042C2D6}"/>
              </a:ext>
            </a:extLst>
          </p:cNvPr>
          <p:cNvGrpSpPr/>
          <p:nvPr/>
        </p:nvGrpSpPr>
        <p:grpSpPr>
          <a:xfrm>
            <a:off x="5936823" y="3369050"/>
            <a:ext cx="1175716" cy="1173191"/>
            <a:chOff x="5009822" y="3369050"/>
            <a:chExt cx="1175716" cy="1173191"/>
          </a:xfrm>
        </p:grpSpPr>
        <p:sp>
          <p:nvSpPr>
            <p:cNvPr id="61" name="Freeform 84">
              <a:extLst>
                <a:ext uri="{FF2B5EF4-FFF2-40B4-BE49-F238E27FC236}">
                  <a16:creationId xmlns:a16="http://schemas.microsoft.com/office/drawing/2014/main" id="{968604FB-E9AE-4486-9531-F4CFC4888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822" y="3369050"/>
              <a:ext cx="1175716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Oval 87">
              <a:extLst>
                <a:ext uri="{FF2B5EF4-FFF2-40B4-BE49-F238E27FC236}">
                  <a16:creationId xmlns:a16="http://schemas.microsoft.com/office/drawing/2014/main" id="{6766D6D4-4CB0-4917-A223-25752A459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4744" y="3543219"/>
              <a:ext cx="825872" cy="8248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" name="Graphic 19" descr="Head with Gears">
              <a:extLst>
                <a:ext uri="{FF2B5EF4-FFF2-40B4-BE49-F238E27FC236}">
                  <a16:creationId xmlns:a16="http://schemas.microsoft.com/office/drawing/2014/main" id="{17031223-A73A-46E0-B7D2-25AF0A470E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328006" y="3701420"/>
              <a:ext cx="539348" cy="539348"/>
            </a:xfrm>
            <a:prstGeom prst="rect">
              <a:avLst/>
            </a:prstGeom>
            <a:effectLst/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648BE91-72C4-4ED9-B294-4ECAC2CA5F63}"/>
              </a:ext>
            </a:extLst>
          </p:cNvPr>
          <p:cNvGrpSpPr/>
          <p:nvPr/>
        </p:nvGrpSpPr>
        <p:grpSpPr>
          <a:xfrm>
            <a:off x="4366952" y="3369050"/>
            <a:ext cx="1175716" cy="1173191"/>
            <a:chOff x="3689438" y="3369050"/>
            <a:chExt cx="1175716" cy="1173191"/>
          </a:xfrm>
        </p:grpSpPr>
        <p:sp>
          <p:nvSpPr>
            <p:cNvPr id="67" name="Freeform 84">
              <a:extLst>
                <a:ext uri="{FF2B5EF4-FFF2-40B4-BE49-F238E27FC236}">
                  <a16:creationId xmlns:a16="http://schemas.microsoft.com/office/drawing/2014/main" id="{34C5F415-603C-4C4C-B0BD-9B2A2A671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9438" y="3369050"/>
              <a:ext cx="1175716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Oval 87">
              <a:extLst>
                <a:ext uri="{FF2B5EF4-FFF2-40B4-BE49-F238E27FC236}">
                  <a16:creationId xmlns:a16="http://schemas.microsoft.com/office/drawing/2014/main" id="{3639B8A1-DDAC-45D7-8A9E-98AD7E6B94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4360" y="3543219"/>
              <a:ext cx="825874" cy="82485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3" name="Graphic 22" descr="Planet">
              <a:extLst>
                <a:ext uri="{FF2B5EF4-FFF2-40B4-BE49-F238E27FC236}">
                  <a16:creationId xmlns:a16="http://schemas.microsoft.com/office/drawing/2014/main" id="{4C5ED7F5-8535-41B2-825C-3E31A46E4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017470" y="3702216"/>
              <a:ext cx="537756" cy="537756"/>
            </a:xfrm>
            <a:prstGeom prst="rect">
              <a:avLst/>
            </a:prstGeom>
            <a:effectLst/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9A9BF46-9AA4-446B-8CDB-F618DC216AE6}"/>
              </a:ext>
            </a:extLst>
          </p:cNvPr>
          <p:cNvGrpSpPr/>
          <p:nvPr/>
        </p:nvGrpSpPr>
        <p:grpSpPr>
          <a:xfrm>
            <a:off x="7506693" y="3369050"/>
            <a:ext cx="1175716" cy="1173191"/>
            <a:chOff x="6330206" y="3369050"/>
            <a:chExt cx="1175716" cy="1173191"/>
          </a:xfrm>
        </p:grpSpPr>
        <p:sp>
          <p:nvSpPr>
            <p:cNvPr id="58" name="Freeform 84">
              <a:extLst>
                <a:ext uri="{FF2B5EF4-FFF2-40B4-BE49-F238E27FC236}">
                  <a16:creationId xmlns:a16="http://schemas.microsoft.com/office/drawing/2014/main" id="{30B5C3A6-6B3F-4013-9A0D-E1549C20C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206" y="3369050"/>
              <a:ext cx="1175716" cy="1173191"/>
            </a:xfrm>
            <a:custGeom>
              <a:avLst/>
              <a:gdLst>
                <a:gd name="T0" fmla="*/ 1172 w 1182"/>
                <a:gd name="T1" fmla="*/ 706 h 1179"/>
                <a:gd name="T2" fmla="*/ 1182 w 1182"/>
                <a:gd name="T3" fmla="*/ 619 h 1179"/>
                <a:gd name="T4" fmla="*/ 1082 w 1182"/>
                <a:gd name="T5" fmla="*/ 588 h 1179"/>
                <a:gd name="T6" fmla="*/ 1075 w 1182"/>
                <a:gd name="T7" fmla="*/ 511 h 1179"/>
                <a:gd name="T8" fmla="*/ 1168 w 1182"/>
                <a:gd name="T9" fmla="*/ 459 h 1179"/>
                <a:gd name="T10" fmla="*/ 1143 w 1182"/>
                <a:gd name="T11" fmla="*/ 377 h 1179"/>
                <a:gd name="T12" fmla="*/ 1038 w 1182"/>
                <a:gd name="T13" fmla="*/ 389 h 1179"/>
                <a:gd name="T14" fmla="*/ 999 w 1182"/>
                <a:gd name="T15" fmla="*/ 319 h 1179"/>
                <a:gd name="T16" fmla="*/ 1062 w 1182"/>
                <a:gd name="T17" fmla="*/ 234 h 1179"/>
                <a:gd name="T18" fmla="*/ 1006 w 1182"/>
                <a:gd name="T19" fmla="*/ 171 h 1179"/>
                <a:gd name="T20" fmla="*/ 916 w 1182"/>
                <a:gd name="T21" fmla="*/ 224 h 1179"/>
                <a:gd name="T22" fmla="*/ 850 w 1182"/>
                <a:gd name="T23" fmla="*/ 175 h 1179"/>
                <a:gd name="T24" fmla="*/ 873 w 1182"/>
                <a:gd name="T25" fmla="*/ 72 h 1179"/>
                <a:gd name="T26" fmla="*/ 797 w 1182"/>
                <a:gd name="T27" fmla="*/ 37 h 1179"/>
                <a:gd name="T28" fmla="*/ 735 w 1182"/>
                <a:gd name="T29" fmla="*/ 123 h 1179"/>
                <a:gd name="T30" fmla="*/ 654 w 1182"/>
                <a:gd name="T31" fmla="*/ 105 h 1179"/>
                <a:gd name="T32" fmla="*/ 633 w 1182"/>
                <a:gd name="T33" fmla="*/ 2 h 1179"/>
                <a:gd name="T34" fmla="*/ 591 w 1182"/>
                <a:gd name="T35" fmla="*/ 0 h 1179"/>
                <a:gd name="T36" fmla="*/ 549 w 1182"/>
                <a:gd name="T37" fmla="*/ 2 h 1179"/>
                <a:gd name="T38" fmla="*/ 528 w 1182"/>
                <a:gd name="T39" fmla="*/ 105 h 1179"/>
                <a:gd name="T40" fmla="*/ 447 w 1182"/>
                <a:gd name="T41" fmla="*/ 123 h 1179"/>
                <a:gd name="T42" fmla="*/ 386 w 1182"/>
                <a:gd name="T43" fmla="*/ 37 h 1179"/>
                <a:gd name="T44" fmla="*/ 310 w 1182"/>
                <a:gd name="T45" fmla="*/ 72 h 1179"/>
                <a:gd name="T46" fmla="*/ 333 w 1182"/>
                <a:gd name="T47" fmla="*/ 175 h 1179"/>
                <a:gd name="T48" fmla="*/ 267 w 1182"/>
                <a:gd name="T49" fmla="*/ 224 h 1179"/>
                <a:gd name="T50" fmla="*/ 176 w 1182"/>
                <a:gd name="T51" fmla="*/ 171 h 1179"/>
                <a:gd name="T52" fmla="*/ 120 w 1182"/>
                <a:gd name="T53" fmla="*/ 234 h 1179"/>
                <a:gd name="T54" fmla="*/ 183 w 1182"/>
                <a:gd name="T55" fmla="*/ 319 h 1179"/>
                <a:gd name="T56" fmla="*/ 144 w 1182"/>
                <a:gd name="T57" fmla="*/ 389 h 1179"/>
                <a:gd name="T58" fmla="*/ 40 w 1182"/>
                <a:gd name="T59" fmla="*/ 377 h 1179"/>
                <a:gd name="T60" fmla="*/ 14 w 1182"/>
                <a:gd name="T61" fmla="*/ 459 h 1179"/>
                <a:gd name="T62" fmla="*/ 107 w 1182"/>
                <a:gd name="T63" fmla="*/ 511 h 1179"/>
                <a:gd name="T64" fmla="*/ 100 w 1182"/>
                <a:gd name="T65" fmla="*/ 588 h 1179"/>
                <a:gd name="T66" fmla="*/ 0 w 1182"/>
                <a:gd name="T67" fmla="*/ 619 h 1179"/>
                <a:gd name="T68" fmla="*/ 10 w 1182"/>
                <a:gd name="T69" fmla="*/ 706 h 1179"/>
                <a:gd name="T70" fmla="*/ 116 w 1182"/>
                <a:gd name="T71" fmla="*/ 716 h 1179"/>
                <a:gd name="T72" fmla="*/ 140 w 1182"/>
                <a:gd name="T73" fmla="*/ 786 h 1179"/>
                <a:gd name="T74" fmla="*/ 61 w 1182"/>
                <a:gd name="T75" fmla="*/ 856 h 1179"/>
                <a:gd name="T76" fmla="*/ 107 w 1182"/>
                <a:gd name="T77" fmla="*/ 932 h 1179"/>
                <a:gd name="T78" fmla="*/ 207 w 1182"/>
                <a:gd name="T79" fmla="*/ 898 h 1179"/>
                <a:gd name="T80" fmla="*/ 256 w 1182"/>
                <a:gd name="T81" fmla="*/ 951 h 1179"/>
                <a:gd name="T82" fmla="*/ 212 w 1182"/>
                <a:gd name="T83" fmla="*/ 1047 h 1179"/>
                <a:gd name="T84" fmla="*/ 285 w 1182"/>
                <a:gd name="T85" fmla="*/ 1099 h 1179"/>
                <a:gd name="T86" fmla="*/ 363 w 1182"/>
                <a:gd name="T87" fmla="*/ 1027 h 1179"/>
                <a:gd name="T88" fmla="*/ 427 w 1182"/>
                <a:gd name="T89" fmla="*/ 1055 h 1179"/>
                <a:gd name="T90" fmla="*/ 426 w 1182"/>
                <a:gd name="T91" fmla="*/ 1161 h 1179"/>
                <a:gd name="T92" fmla="*/ 514 w 1182"/>
                <a:gd name="T93" fmla="*/ 1179 h 1179"/>
                <a:gd name="T94" fmla="*/ 557 w 1182"/>
                <a:gd name="T95" fmla="*/ 1082 h 1179"/>
                <a:gd name="T96" fmla="*/ 591 w 1182"/>
                <a:gd name="T97" fmla="*/ 1083 h 1179"/>
                <a:gd name="T98" fmla="*/ 626 w 1182"/>
                <a:gd name="T99" fmla="*/ 1082 h 1179"/>
                <a:gd name="T100" fmla="*/ 668 w 1182"/>
                <a:gd name="T101" fmla="*/ 1179 h 1179"/>
                <a:gd name="T102" fmla="*/ 756 w 1182"/>
                <a:gd name="T103" fmla="*/ 1161 h 1179"/>
                <a:gd name="T104" fmla="*/ 755 w 1182"/>
                <a:gd name="T105" fmla="*/ 1055 h 1179"/>
                <a:gd name="T106" fmla="*/ 819 w 1182"/>
                <a:gd name="T107" fmla="*/ 1027 h 1179"/>
                <a:gd name="T108" fmla="*/ 897 w 1182"/>
                <a:gd name="T109" fmla="*/ 1099 h 1179"/>
                <a:gd name="T110" fmla="*/ 970 w 1182"/>
                <a:gd name="T111" fmla="*/ 1047 h 1179"/>
                <a:gd name="T112" fmla="*/ 927 w 1182"/>
                <a:gd name="T113" fmla="*/ 951 h 1179"/>
                <a:gd name="T114" fmla="*/ 975 w 1182"/>
                <a:gd name="T115" fmla="*/ 898 h 1179"/>
                <a:gd name="T116" fmla="*/ 1076 w 1182"/>
                <a:gd name="T117" fmla="*/ 932 h 1179"/>
                <a:gd name="T118" fmla="*/ 1121 w 1182"/>
                <a:gd name="T119" fmla="*/ 856 h 1179"/>
                <a:gd name="T120" fmla="*/ 1042 w 1182"/>
                <a:gd name="T121" fmla="*/ 786 h 1179"/>
                <a:gd name="T122" fmla="*/ 1066 w 1182"/>
                <a:gd name="T123" fmla="*/ 716 h 1179"/>
                <a:gd name="T124" fmla="*/ 1172 w 1182"/>
                <a:gd name="T125" fmla="*/ 706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2" h="1179">
                  <a:moveTo>
                    <a:pt x="1172" y="706"/>
                  </a:moveTo>
                  <a:cubicBezTo>
                    <a:pt x="1177" y="678"/>
                    <a:pt x="1181" y="649"/>
                    <a:pt x="1182" y="619"/>
                  </a:cubicBezTo>
                  <a:cubicBezTo>
                    <a:pt x="1082" y="588"/>
                    <a:pt x="1082" y="588"/>
                    <a:pt x="1082" y="588"/>
                  </a:cubicBezTo>
                  <a:cubicBezTo>
                    <a:pt x="1082" y="562"/>
                    <a:pt x="1080" y="536"/>
                    <a:pt x="1075" y="511"/>
                  </a:cubicBezTo>
                  <a:cubicBezTo>
                    <a:pt x="1168" y="459"/>
                    <a:pt x="1168" y="459"/>
                    <a:pt x="1168" y="459"/>
                  </a:cubicBezTo>
                  <a:cubicBezTo>
                    <a:pt x="1161" y="431"/>
                    <a:pt x="1153" y="403"/>
                    <a:pt x="1143" y="377"/>
                  </a:cubicBezTo>
                  <a:cubicBezTo>
                    <a:pt x="1038" y="389"/>
                    <a:pt x="1038" y="389"/>
                    <a:pt x="1038" y="389"/>
                  </a:cubicBezTo>
                  <a:cubicBezTo>
                    <a:pt x="1027" y="364"/>
                    <a:pt x="1014" y="341"/>
                    <a:pt x="999" y="319"/>
                  </a:cubicBezTo>
                  <a:cubicBezTo>
                    <a:pt x="1062" y="234"/>
                    <a:pt x="1062" y="234"/>
                    <a:pt x="1062" y="234"/>
                  </a:cubicBezTo>
                  <a:cubicBezTo>
                    <a:pt x="1045" y="211"/>
                    <a:pt x="1026" y="190"/>
                    <a:pt x="1006" y="171"/>
                  </a:cubicBezTo>
                  <a:cubicBezTo>
                    <a:pt x="916" y="224"/>
                    <a:pt x="916" y="224"/>
                    <a:pt x="916" y="224"/>
                  </a:cubicBezTo>
                  <a:cubicBezTo>
                    <a:pt x="895" y="206"/>
                    <a:pt x="873" y="189"/>
                    <a:pt x="850" y="175"/>
                  </a:cubicBezTo>
                  <a:cubicBezTo>
                    <a:pt x="873" y="72"/>
                    <a:pt x="873" y="72"/>
                    <a:pt x="873" y="72"/>
                  </a:cubicBezTo>
                  <a:cubicBezTo>
                    <a:pt x="848" y="58"/>
                    <a:pt x="823" y="47"/>
                    <a:pt x="797" y="37"/>
                  </a:cubicBezTo>
                  <a:cubicBezTo>
                    <a:pt x="735" y="123"/>
                    <a:pt x="735" y="123"/>
                    <a:pt x="735" y="123"/>
                  </a:cubicBezTo>
                  <a:cubicBezTo>
                    <a:pt x="709" y="115"/>
                    <a:pt x="682" y="109"/>
                    <a:pt x="654" y="105"/>
                  </a:cubicBezTo>
                  <a:cubicBezTo>
                    <a:pt x="633" y="2"/>
                    <a:pt x="633" y="2"/>
                    <a:pt x="633" y="2"/>
                  </a:cubicBezTo>
                  <a:cubicBezTo>
                    <a:pt x="619" y="1"/>
                    <a:pt x="605" y="0"/>
                    <a:pt x="591" y="0"/>
                  </a:cubicBezTo>
                  <a:cubicBezTo>
                    <a:pt x="577" y="0"/>
                    <a:pt x="563" y="1"/>
                    <a:pt x="549" y="2"/>
                  </a:cubicBezTo>
                  <a:cubicBezTo>
                    <a:pt x="528" y="105"/>
                    <a:pt x="528" y="105"/>
                    <a:pt x="528" y="105"/>
                  </a:cubicBezTo>
                  <a:cubicBezTo>
                    <a:pt x="500" y="109"/>
                    <a:pt x="473" y="115"/>
                    <a:pt x="447" y="123"/>
                  </a:cubicBezTo>
                  <a:cubicBezTo>
                    <a:pt x="386" y="37"/>
                    <a:pt x="386" y="37"/>
                    <a:pt x="386" y="37"/>
                  </a:cubicBezTo>
                  <a:cubicBezTo>
                    <a:pt x="359" y="47"/>
                    <a:pt x="334" y="58"/>
                    <a:pt x="310" y="72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09" y="189"/>
                    <a:pt x="287" y="206"/>
                    <a:pt x="267" y="224"/>
                  </a:cubicBezTo>
                  <a:cubicBezTo>
                    <a:pt x="176" y="171"/>
                    <a:pt x="176" y="171"/>
                    <a:pt x="176" y="171"/>
                  </a:cubicBezTo>
                  <a:cubicBezTo>
                    <a:pt x="156" y="190"/>
                    <a:pt x="137" y="211"/>
                    <a:pt x="120" y="234"/>
                  </a:cubicBezTo>
                  <a:cubicBezTo>
                    <a:pt x="183" y="319"/>
                    <a:pt x="183" y="319"/>
                    <a:pt x="183" y="319"/>
                  </a:cubicBezTo>
                  <a:cubicBezTo>
                    <a:pt x="168" y="341"/>
                    <a:pt x="155" y="364"/>
                    <a:pt x="144" y="389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29" y="403"/>
                    <a:pt x="21" y="431"/>
                    <a:pt x="14" y="459"/>
                  </a:cubicBezTo>
                  <a:cubicBezTo>
                    <a:pt x="107" y="511"/>
                    <a:pt x="107" y="511"/>
                    <a:pt x="107" y="511"/>
                  </a:cubicBezTo>
                  <a:cubicBezTo>
                    <a:pt x="103" y="536"/>
                    <a:pt x="100" y="562"/>
                    <a:pt x="100" y="588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1" y="649"/>
                    <a:pt x="5" y="678"/>
                    <a:pt x="10" y="706"/>
                  </a:cubicBezTo>
                  <a:cubicBezTo>
                    <a:pt x="116" y="716"/>
                    <a:pt x="116" y="716"/>
                    <a:pt x="116" y="716"/>
                  </a:cubicBezTo>
                  <a:cubicBezTo>
                    <a:pt x="122" y="740"/>
                    <a:pt x="130" y="764"/>
                    <a:pt x="140" y="786"/>
                  </a:cubicBezTo>
                  <a:cubicBezTo>
                    <a:pt x="61" y="856"/>
                    <a:pt x="61" y="856"/>
                    <a:pt x="61" y="856"/>
                  </a:cubicBezTo>
                  <a:cubicBezTo>
                    <a:pt x="74" y="883"/>
                    <a:pt x="90" y="908"/>
                    <a:pt x="107" y="932"/>
                  </a:cubicBezTo>
                  <a:cubicBezTo>
                    <a:pt x="207" y="898"/>
                    <a:pt x="207" y="898"/>
                    <a:pt x="207" y="898"/>
                  </a:cubicBezTo>
                  <a:cubicBezTo>
                    <a:pt x="222" y="917"/>
                    <a:pt x="238" y="934"/>
                    <a:pt x="256" y="951"/>
                  </a:cubicBezTo>
                  <a:cubicBezTo>
                    <a:pt x="212" y="1047"/>
                    <a:pt x="212" y="1047"/>
                    <a:pt x="212" y="1047"/>
                  </a:cubicBezTo>
                  <a:cubicBezTo>
                    <a:pt x="235" y="1066"/>
                    <a:pt x="259" y="1083"/>
                    <a:pt x="285" y="1099"/>
                  </a:cubicBezTo>
                  <a:cubicBezTo>
                    <a:pt x="363" y="1027"/>
                    <a:pt x="363" y="1027"/>
                    <a:pt x="363" y="1027"/>
                  </a:cubicBezTo>
                  <a:cubicBezTo>
                    <a:pt x="384" y="1038"/>
                    <a:pt x="405" y="1047"/>
                    <a:pt x="427" y="1055"/>
                  </a:cubicBezTo>
                  <a:cubicBezTo>
                    <a:pt x="426" y="1161"/>
                    <a:pt x="426" y="1161"/>
                    <a:pt x="426" y="1161"/>
                  </a:cubicBezTo>
                  <a:cubicBezTo>
                    <a:pt x="455" y="1169"/>
                    <a:pt x="484" y="1175"/>
                    <a:pt x="514" y="1179"/>
                  </a:cubicBezTo>
                  <a:cubicBezTo>
                    <a:pt x="557" y="1082"/>
                    <a:pt x="557" y="1082"/>
                    <a:pt x="557" y="1082"/>
                  </a:cubicBezTo>
                  <a:cubicBezTo>
                    <a:pt x="568" y="1083"/>
                    <a:pt x="580" y="1083"/>
                    <a:pt x="591" y="1083"/>
                  </a:cubicBezTo>
                  <a:cubicBezTo>
                    <a:pt x="603" y="1083"/>
                    <a:pt x="614" y="1083"/>
                    <a:pt x="626" y="1082"/>
                  </a:cubicBezTo>
                  <a:cubicBezTo>
                    <a:pt x="668" y="1179"/>
                    <a:pt x="668" y="1179"/>
                    <a:pt x="668" y="1179"/>
                  </a:cubicBezTo>
                  <a:cubicBezTo>
                    <a:pt x="698" y="1175"/>
                    <a:pt x="728" y="1169"/>
                    <a:pt x="756" y="1161"/>
                  </a:cubicBezTo>
                  <a:cubicBezTo>
                    <a:pt x="755" y="1055"/>
                    <a:pt x="755" y="1055"/>
                    <a:pt x="755" y="1055"/>
                  </a:cubicBezTo>
                  <a:cubicBezTo>
                    <a:pt x="777" y="1047"/>
                    <a:pt x="799" y="1038"/>
                    <a:pt x="819" y="1027"/>
                  </a:cubicBezTo>
                  <a:cubicBezTo>
                    <a:pt x="897" y="1099"/>
                    <a:pt x="897" y="1099"/>
                    <a:pt x="897" y="1099"/>
                  </a:cubicBezTo>
                  <a:cubicBezTo>
                    <a:pt x="923" y="1083"/>
                    <a:pt x="947" y="1066"/>
                    <a:pt x="970" y="1047"/>
                  </a:cubicBezTo>
                  <a:cubicBezTo>
                    <a:pt x="927" y="951"/>
                    <a:pt x="927" y="951"/>
                    <a:pt x="927" y="951"/>
                  </a:cubicBezTo>
                  <a:cubicBezTo>
                    <a:pt x="944" y="934"/>
                    <a:pt x="960" y="917"/>
                    <a:pt x="975" y="898"/>
                  </a:cubicBezTo>
                  <a:cubicBezTo>
                    <a:pt x="1076" y="932"/>
                    <a:pt x="1076" y="932"/>
                    <a:pt x="1076" y="932"/>
                  </a:cubicBezTo>
                  <a:cubicBezTo>
                    <a:pt x="1093" y="908"/>
                    <a:pt x="1108" y="883"/>
                    <a:pt x="1121" y="856"/>
                  </a:cubicBezTo>
                  <a:cubicBezTo>
                    <a:pt x="1042" y="786"/>
                    <a:pt x="1042" y="786"/>
                    <a:pt x="1042" y="786"/>
                  </a:cubicBezTo>
                  <a:cubicBezTo>
                    <a:pt x="1052" y="764"/>
                    <a:pt x="1060" y="740"/>
                    <a:pt x="1066" y="716"/>
                  </a:cubicBezTo>
                  <a:lnTo>
                    <a:pt x="1172" y="70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Oval 87">
              <a:extLst>
                <a:ext uri="{FF2B5EF4-FFF2-40B4-BE49-F238E27FC236}">
                  <a16:creationId xmlns:a16="http://schemas.microsoft.com/office/drawing/2014/main" id="{2767A6EA-118E-4832-9186-BD3524252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5128" y="3543219"/>
              <a:ext cx="825872" cy="8248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9" name="Graphic 88" descr="Network">
              <a:extLst>
                <a:ext uri="{FF2B5EF4-FFF2-40B4-BE49-F238E27FC236}">
                  <a16:creationId xmlns:a16="http://schemas.microsoft.com/office/drawing/2014/main" id="{B0867DB5-4660-4F8D-B340-D514B1A12D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628464" y="3650259"/>
              <a:ext cx="586762" cy="586762"/>
            </a:xfrm>
            <a:prstGeom prst="rect">
              <a:avLst/>
            </a:prstGeom>
            <a:effectLst/>
          </p:spPr>
        </p:pic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A79CDD70-F852-EF4F-AB01-C97FD6521E81}"/>
              </a:ext>
            </a:extLst>
          </p:cNvPr>
          <p:cNvSpPr txBox="1"/>
          <p:nvPr/>
        </p:nvSpPr>
        <p:spPr>
          <a:xfrm>
            <a:off x="-457200" y="23241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s-CR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DB31A49-38F6-A444-ACE0-B50F0416EF49}"/>
              </a:ext>
            </a:extLst>
          </p:cNvPr>
          <p:cNvSpPr txBox="1"/>
          <p:nvPr/>
        </p:nvSpPr>
        <p:spPr>
          <a:xfrm>
            <a:off x="-685800" y="23622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s-CR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6FC16F1C-164D-44AC-A750-E659BB077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5 creative bullets</a:t>
            </a:r>
            <a:endParaRPr lang="da-DK" dirty="0"/>
          </a:p>
        </p:txBody>
      </p:sp>
      <p:sp>
        <p:nvSpPr>
          <p:cNvPr id="87" name="Text Placeholder 32">
            <a:extLst>
              <a:ext uri="{FF2B5EF4-FFF2-40B4-BE49-F238E27FC236}">
                <a16:creationId xmlns:a16="http://schemas.microsoft.com/office/drawing/2014/main" id="{B25FCBB0-8B1C-4FE5-9985-0BB8A428E9B5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65609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7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Trapezoid 7">
            <a:extLst>
              <a:ext uri="{FF2B5EF4-FFF2-40B4-BE49-F238E27FC236}">
                <a16:creationId xmlns:a16="http://schemas.microsoft.com/office/drawing/2014/main" id="{A7E8624B-6329-459A-A6D4-206B6B01CDB2}"/>
              </a:ext>
            </a:extLst>
          </p:cNvPr>
          <p:cNvSpPr/>
          <p:nvPr/>
        </p:nvSpPr>
        <p:spPr bwMode="gray">
          <a:xfrm flipV="1">
            <a:off x="2271396" y="5821271"/>
            <a:ext cx="711835" cy="365903"/>
          </a:xfrm>
          <a:custGeom>
            <a:avLst/>
            <a:gdLst>
              <a:gd name="connsiteX0" fmla="*/ 0 w 1455420"/>
              <a:gd name="connsiteY0" fmla="*/ 713626 h 713626"/>
              <a:gd name="connsiteX1" fmla="*/ 373148 w 1455420"/>
              <a:gd name="connsiteY1" fmla="*/ 0 h 713626"/>
              <a:gd name="connsiteX2" fmla="*/ 1082272 w 1455420"/>
              <a:gd name="connsiteY2" fmla="*/ 0 h 713626"/>
              <a:gd name="connsiteX3" fmla="*/ 1455420 w 1455420"/>
              <a:gd name="connsiteY3" fmla="*/ 713626 h 713626"/>
              <a:gd name="connsiteX4" fmla="*/ 0 w 1455420"/>
              <a:gd name="connsiteY4" fmla="*/ 713626 h 713626"/>
              <a:gd name="connsiteX0" fmla="*/ 0 w 1455420"/>
              <a:gd name="connsiteY0" fmla="*/ 739026 h 739026"/>
              <a:gd name="connsiteX1" fmla="*/ 373148 w 1455420"/>
              <a:gd name="connsiteY1" fmla="*/ 25400 h 739026"/>
              <a:gd name="connsiteX2" fmla="*/ 1082272 w 1455420"/>
              <a:gd name="connsiteY2" fmla="*/ 25400 h 739026"/>
              <a:gd name="connsiteX3" fmla="*/ 1455420 w 1455420"/>
              <a:gd name="connsiteY3" fmla="*/ 739026 h 739026"/>
              <a:gd name="connsiteX4" fmla="*/ 0 w 1455420"/>
              <a:gd name="connsiteY4" fmla="*/ 739026 h 739026"/>
              <a:gd name="connsiteX0" fmla="*/ 0 w 1455420"/>
              <a:gd name="connsiteY0" fmla="*/ 748127 h 748127"/>
              <a:gd name="connsiteX1" fmla="*/ 373148 w 1455420"/>
              <a:gd name="connsiteY1" fmla="*/ 34501 h 748127"/>
              <a:gd name="connsiteX2" fmla="*/ 1082272 w 1455420"/>
              <a:gd name="connsiteY2" fmla="*/ 34501 h 748127"/>
              <a:gd name="connsiteX3" fmla="*/ 1455420 w 1455420"/>
              <a:gd name="connsiteY3" fmla="*/ 748127 h 748127"/>
              <a:gd name="connsiteX4" fmla="*/ 0 w 1455420"/>
              <a:gd name="connsiteY4" fmla="*/ 748127 h 748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5420" h="748127">
                <a:moveTo>
                  <a:pt x="0" y="748127"/>
                </a:moveTo>
                <a:lnTo>
                  <a:pt x="373148" y="34501"/>
                </a:lnTo>
                <a:cubicBezTo>
                  <a:pt x="680961" y="-22649"/>
                  <a:pt x="855422" y="1164"/>
                  <a:pt x="1082272" y="34501"/>
                </a:cubicBezTo>
                <a:lnTo>
                  <a:pt x="1455420" y="748127"/>
                </a:lnTo>
                <a:lnTo>
                  <a:pt x="0" y="74812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4F53AB0-AD04-47C7-AF2A-89F25F248193}"/>
              </a:ext>
            </a:extLst>
          </p:cNvPr>
          <p:cNvSpPr/>
          <p:nvPr/>
        </p:nvSpPr>
        <p:spPr bwMode="gray">
          <a:xfrm>
            <a:off x="2271396" y="5766430"/>
            <a:ext cx="711836" cy="103357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5" name="Group 34"/>
          <p:cNvGrpSpPr/>
          <p:nvPr/>
        </p:nvGrpSpPr>
        <p:grpSpPr bwMode="gray">
          <a:xfrm>
            <a:off x="1770395" y="4657687"/>
            <a:ext cx="1713838" cy="1012996"/>
            <a:chOff x="1965959" y="4386731"/>
            <a:chExt cx="1455422" cy="860254"/>
          </a:xfrm>
          <a:solidFill>
            <a:schemeClr val="bg2"/>
          </a:solidFill>
          <a:effectLst/>
        </p:grpSpPr>
        <p:sp>
          <p:nvSpPr>
            <p:cNvPr id="8" name="Trapezoid 7"/>
            <p:cNvSpPr/>
            <p:nvPr/>
          </p:nvSpPr>
          <p:spPr bwMode="gray">
            <a:xfrm flipV="1">
              <a:off x="1965959" y="4498858"/>
              <a:ext cx="1455420" cy="748127"/>
            </a:xfrm>
            <a:custGeom>
              <a:avLst/>
              <a:gdLst>
                <a:gd name="connsiteX0" fmla="*/ 0 w 1455420"/>
                <a:gd name="connsiteY0" fmla="*/ 713626 h 713626"/>
                <a:gd name="connsiteX1" fmla="*/ 373148 w 1455420"/>
                <a:gd name="connsiteY1" fmla="*/ 0 h 713626"/>
                <a:gd name="connsiteX2" fmla="*/ 1082272 w 1455420"/>
                <a:gd name="connsiteY2" fmla="*/ 0 h 713626"/>
                <a:gd name="connsiteX3" fmla="*/ 1455420 w 1455420"/>
                <a:gd name="connsiteY3" fmla="*/ 713626 h 713626"/>
                <a:gd name="connsiteX4" fmla="*/ 0 w 1455420"/>
                <a:gd name="connsiteY4" fmla="*/ 713626 h 713626"/>
                <a:gd name="connsiteX0" fmla="*/ 0 w 1455420"/>
                <a:gd name="connsiteY0" fmla="*/ 739026 h 739026"/>
                <a:gd name="connsiteX1" fmla="*/ 373148 w 1455420"/>
                <a:gd name="connsiteY1" fmla="*/ 25400 h 739026"/>
                <a:gd name="connsiteX2" fmla="*/ 1082272 w 1455420"/>
                <a:gd name="connsiteY2" fmla="*/ 25400 h 739026"/>
                <a:gd name="connsiteX3" fmla="*/ 1455420 w 1455420"/>
                <a:gd name="connsiteY3" fmla="*/ 739026 h 739026"/>
                <a:gd name="connsiteX4" fmla="*/ 0 w 1455420"/>
                <a:gd name="connsiteY4" fmla="*/ 739026 h 739026"/>
                <a:gd name="connsiteX0" fmla="*/ 0 w 1455420"/>
                <a:gd name="connsiteY0" fmla="*/ 748127 h 748127"/>
                <a:gd name="connsiteX1" fmla="*/ 373148 w 1455420"/>
                <a:gd name="connsiteY1" fmla="*/ 34501 h 748127"/>
                <a:gd name="connsiteX2" fmla="*/ 1082272 w 1455420"/>
                <a:gd name="connsiteY2" fmla="*/ 34501 h 748127"/>
                <a:gd name="connsiteX3" fmla="*/ 1455420 w 1455420"/>
                <a:gd name="connsiteY3" fmla="*/ 748127 h 748127"/>
                <a:gd name="connsiteX4" fmla="*/ 0 w 1455420"/>
                <a:gd name="connsiteY4" fmla="*/ 748127 h 748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5420" h="748127">
                  <a:moveTo>
                    <a:pt x="0" y="748127"/>
                  </a:moveTo>
                  <a:lnTo>
                    <a:pt x="373148" y="34501"/>
                  </a:lnTo>
                  <a:cubicBezTo>
                    <a:pt x="680961" y="-22649"/>
                    <a:pt x="855422" y="1164"/>
                    <a:pt x="1082272" y="34501"/>
                  </a:cubicBezTo>
                  <a:lnTo>
                    <a:pt x="1455420" y="748127"/>
                  </a:lnTo>
                  <a:lnTo>
                    <a:pt x="0" y="748127"/>
                  </a:ln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" name="Oval 11"/>
            <p:cNvSpPr/>
            <p:nvPr/>
          </p:nvSpPr>
          <p:spPr bwMode="gray">
            <a:xfrm>
              <a:off x="1965959" y="4386731"/>
              <a:ext cx="1455422" cy="21132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5" name="Trapezoid 4"/>
          <p:cNvSpPr/>
          <p:nvPr/>
        </p:nvSpPr>
        <p:spPr bwMode="gray">
          <a:xfrm flipV="1">
            <a:off x="1175190" y="3547523"/>
            <a:ext cx="2904249" cy="1016529"/>
          </a:xfrm>
          <a:custGeom>
            <a:avLst/>
            <a:gdLst>
              <a:gd name="connsiteX0" fmla="*/ 0 w 2466340"/>
              <a:gd name="connsiteY0" fmla="*/ 812686 h 812686"/>
              <a:gd name="connsiteX1" fmla="*/ 424945 w 2466340"/>
              <a:gd name="connsiteY1" fmla="*/ 0 h 812686"/>
              <a:gd name="connsiteX2" fmla="*/ 2041395 w 2466340"/>
              <a:gd name="connsiteY2" fmla="*/ 0 h 812686"/>
              <a:gd name="connsiteX3" fmla="*/ 2466340 w 2466340"/>
              <a:gd name="connsiteY3" fmla="*/ 812686 h 812686"/>
              <a:gd name="connsiteX4" fmla="*/ 0 w 2466340"/>
              <a:gd name="connsiteY4" fmla="*/ 812686 h 812686"/>
              <a:gd name="connsiteX0" fmla="*/ 0 w 2466340"/>
              <a:gd name="connsiteY0" fmla="*/ 848669 h 848669"/>
              <a:gd name="connsiteX1" fmla="*/ 424945 w 2466340"/>
              <a:gd name="connsiteY1" fmla="*/ 35983 h 848669"/>
              <a:gd name="connsiteX2" fmla="*/ 2041395 w 2466340"/>
              <a:gd name="connsiteY2" fmla="*/ 35983 h 848669"/>
              <a:gd name="connsiteX3" fmla="*/ 2466340 w 2466340"/>
              <a:gd name="connsiteY3" fmla="*/ 848669 h 848669"/>
              <a:gd name="connsiteX4" fmla="*/ 0 w 2466340"/>
              <a:gd name="connsiteY4" fmla="*/ 848669 h 848669"/>
              <a:gd name="connsiteX0" fmla="*/ 0 w 2466340"/>
              <a:gd name="connsiteY0" fmla="*/ 863254 h 863254"/>
              <a:gd name="connsiteX1" fmla="*/ 424945 w 2466340"/>
              <a:gd name="connsiteY1" fmla="*/ 50568 h 863254"/>
              <a:gd name="connsiteX2" fmla="*/ 2041395 w 2466340"/>
              <a:gd name="connsiteY2" fmla="*/ 50568 h 863254"/>
              <a:gd name="connsiteX3" fmla="*/ 2466340 w 2466340"/>
              <a:gd name="connsiteY3" fmla="*/ 863254 h 863254"/>
              <a:gd name="connsiteX4" fmla="*/ 0 w 2466340"/>
              <a:gd name="connsiteY4" fmla="*/ 863254 h 863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6340" h="863254">
                <a:moveTo>
                  <a:pt x="0" y="863254"/>
                </a:moveTo>
                <a:lnTo>
                  <a:pt x="424945" y="50568"/>
                </a:lnTo>
                <a:cubicBezTo>
                  <a:pt x="1035200" y="-30395"/>
                  <a:pt x="1512103" y="-1820"/>
                  <a:pt x="2041395" y="50568"/>
                </a:cubicBezTo>
                <a:lnTo>
                  <a:pt x="2466340" y="863254"/>
                </a:lnTo>
                <a:lnTo>
                  <a:pt x="0" y="863254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1175191" y="3368761"/>
            <a:ext cx="2904249" cy="357899"/>
          </a:xfrm>
          <a:prstGeom prst="ellipse">
            <a:avLst/>
          </a:prstGeom>
          <a:solidFill>
            <a:schemeClr val="tx2">
              <a:lumMod val="5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rapezoid 3"/>
          <p:cNvSpPr/>
          <p:nvPr/>
        </p:nvSpPr>
        <p:spPr bwMode="gray">
          <a:xfrm flipV="1">
            <a:off x="505209" y="1980764"/>
            <a:ext cx="4244211" cy="1275970"/>
          </a:xfrm>
          <a:custGeom>
            <a:avLst/>
            <a:gdLst>
              <a:gd name="connsiteX0" fmla="*/ 0 w 3604260"/>
              <a:gd name="connsiteY0" fmla="*/ 1023582 h 1023582"/>
              <a:gd name="connsiteX1" fmla="*/ 535221 w 3604260"/>
              <a:gd name="connsiteY1" fmla="*/ 0 h 1023582"/>
              <a:gd name="connsiteX2" fmla="*/ 3069039 w 3604260"/>
              <a:gd name="connsiteY2" fmla="*/ 0 h 1023582"/>
              <a:gd name="connsiteX3" fmla="*/ 3604260 w 3604260"/>
              <a:gd name="connsiteY3" fmla="*/ 1023582 h 1023582"/>
              <a:gd name="connsiteX4" fmla="*/ 0 w 3604260"/>
              <a:gd name="connsiteY4" fmla="*/ 1023582 h 1023582"/>
              <a:gd name="connsiteX0" fmla="*/ 0 w 3604260"/>
              <a:gd name="connsiteY0" fmla="*/ 1068032 h 1068032"/>
              <a:gd name="connsiteX1" fmla="*/ 535221 w 3604260"/>
              <a:gd name="connsiteY1" fmla="*/ 44450 h 1068032"/>
              <a:gd name="connsiteX2" fmla="*/ 3069039 w 3604260"/>
              <a:gd name="connsiteY2" fmla="*/ 44450 h 1068032"/>
              <a:gd name="connsiteX3" fmla="*/ 3604260 w 3604260"/>
              <a:gd name="connsiteY3" fmla="*/ 1068032 h 1068032"/>
              <a:gd name="connsiteX4" fmla="*/ 0 w 3604260"/>
              <a:gd name="connsiteY4" fmla="*/ 1068032 h 1068032"/>
              <a:gd name="connsiteX0" fmla="*/ 0 w 3604260"/>
              <a:gd name="connsiteY0" fmla="*/ 1083576 h 1083576"/>
              <a:gd name="connsiteX1" fmla="*/ 535221 w 3604260"/>
              <a:gd name="connsiteY1" fmla="*/ 59994 h 1083576"/>
              <a:gd name="connsiteX2" fmla="*/ 3069039 w 3604260"/>
              <a:gd name="connsiteY2" fmla="*/ 59994 h 1083576"/>
              <a:gd name="connsiteX3" fmla="*/ 3604260 w 3604260"/>
              <a:gd name="connsiteY3" fmla="*/ 1083576 h 1083576"/>
              <a:gd name="connsiteX4" fmla="*/ 0 w 3604260"/>
              <a:gd name="connsiteY4" fmla="*/ 1083576 h 1083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4260" h="1083576">
                <a:moveTo>
                  <a:pt x="0" y="1083576"/>
                </a:moveTo>
                <a:lnTo>
                  <a:pt x="535221" y="59994"/>
                </a:lnTo>
                <a:cubicBezTo>
                  <a:pt x="1298865" y="2844"/>
                  <a:pt x="1967258" y="-40019"/>
                  <a:pt x="3069039" y="59994"/>
                </a:cubicBezTo>
                <a:lnTo>
                  <a:pt x="3604260" y="1083576"/>
                </a:lnTo>
                <a:lnTo>
                  <a:pt x="0" y="1083576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Oval 9"/>
          <p:cNvSpPr/>
          <p:nvPr/>
        </p:nvSpPr>
        <p:spPr bwMode="gray">
          <a:xfrm>
            <a:off x="505209" y="1755458"/>
            <a:ext cx="4244211" cy="435657"/>
          </a:xfrm>
          <a:prstGeom prst="ellipse">
            <a:avLst/>
          </a:prstGeom>
          <a:solidFill>
            <a:schemeClr val="tx1">
              <a:lumMod val="90000"/>
              <a:lumOff val="1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0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2886F96-1422-4828-BB8F-129AFCE97C69}"/>
              </a:ext>
            </a:extLst>
          </p:cNvPr>
          <p:cNvGrpSpPr/>
          <p:nvPr/>
        </p:nvGrpSpPr>
        <p:grpSpPr>
          <a:xfrm>
            <a:off x="6577049" y="2818909"/>
            <a:ext cx="434352" cy="438098"/>
            <a:chOff x="6388480" y="2398436"/>
            <a:chExt cx="434352" cy="438098"/>
          </a:xfrm>
          <a:effectLst/>
        </p:grpSpPr>
        <p:sp>
          <p:nvSpPr>
            <p:cNvPr id="38" name="Rounded Rectangle 37"/>
            <p:cNvSpPr>
              <a:spLocks/>
            </p:cNvSpPr>
            <p:nvPr/>
          </p:nvSpPr>
          <p:spPr bwMode="gray">
            <a:xfrm>
              <a:off x="6388480" y="2398436"/>
              <a:ext cx="434352" cy="438098"/>
            </a:xfrm>
            <a:prstGeom prst="roundRect">
              <a:avLst>
                <a:gd name="adj" fmla="val 11686"/>
              </a:avLst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39369" name="Picture 9" descr="C:\Users\Deepak\Downloads\laundry-service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469231" y="2481060"/>
              <a:ext cx="272851" cy="272851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/>
          <p:cNvSpPr txBox="1">
            <a:spLocks/>
          </p:cNvSpPr>
          <p:nvPr/>
        </p:nvSpPr>
        <p:spPr bwMode="gray">
          <a:xfrm>
            <a:off x="7309437" y="2728217"/>
            <a:ext cx="2180638" cy="1717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duct 1</a:t>
            </a:r>
          </a:p>
        </p:txBody>
      </p:sp>
      <p:sp>
        <p:nvSpPr>
          <p:cNvPr id="23" name="TextBox 22"/>
          <p:cNvSpPr txBox="1">
            <a:spLocks/>
          </p:cNvSpPr>
          <p:nvPr/>
        </p:nvSpPr>
        <p:spPr bwMode="gray">
          <a:xfrm>
            <a:off x="7309437" y="2968295"/>
            <a:ext cx="218063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itable for all categories business and personal presentation</a:t>
            </a:r>
          </a:p>
        </p:txBody>
      </p:sp>
      <p:cxnSp>
        <p:nvCxnSpPr>
          <p:cNvPr id="49" name="Straight Connector 48"/>
          <p:cNvCxnSpPr>
            <a:cxnSpLocks/>
          </p:cNvCxnSpPr>
          <p:nvPr/>
        </p:nvCxnSpPr>
        <p:spPr bwMode="gray">
          <a:xfrm>
            <a:off x="4499572" y="3007191"/>
            <a:ext cx="189186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C06169D-DE80-464F-A523-0372AFA85792}"/>
              </a:ext>
            </a:extLst>
          </p:cNvPr>
          <p:cNvGrpSpPr/>
          <p:nvPr/>
        </p:nvGrpSpPr>
        <p:grpSpPr>
          <a:xfrm>
            <a:off x="6576031" y="3809507"/>
            <a:ext cx="434352" cy="438098"/>
            <a:chOff x="6387462" y="3570925"/>
            <a:chExt cx="434352" cy="438098"/>
          </a:xfrm>
          <a:effectLst/>
        </p:grpSpPr>
        <p:sp>
          <p:nvSpPr>
            <p:cNvPr id="39" name="Rounded Rectangle 38"/>
            <p:cNvSpPr>
              <a:spLocks/>
            </p:cNvSpPr>
            <p:nvPr/>
          </p:nvSpPr>
          <p:spPr bwMode="gray">
            <a:xfrm>
              <a:off x="6387462" y="3570925"/>
              <a:ext cx="434352" cy="438098"/>
            </a:xfrm>
            <a:prstGeom prst="roundRect">
              <a:avLst>
                <a:gd name="adj" fmla="val 11686"/>
              </a:avLst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39371" name="Picture 11" descr="C:\Users\Deepak\Downloads\graph-line-screen (1)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471059" y="3656395"/>
              <a:ext cx="267159" cy="267159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TextBox 25"/>
          <p:cNvSpPr txBox="1">
            <a:spLocks/>
          </p:cNvSpPr>
          <p:nvPr/>
        </p:nvSpPr>
        <p:spPr bwMode="gray">
          <a:xfrm>
            <a:off x="7309437" y="3740183"/>
            <a:ext cx="2180638" cy="1717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duct 2</a:t>
            </a:r>
          </a:p>
        </p:txBody>
      </p:sp>
      <p:sp>
        <p:nvSpPr>
          <p:cNvPr id="27" name="TextBox 26"/>
          <p:cNvSpPr txBox="1">
            <a:spLocks/>
          </p:cNvSpPr>
          <p:nvPr/>
        </p:nvSpPr>
        <p:spPr bwMode="gray">
          <a:xfrm>
            <a:off x="7309437" y="3980261"/>
            <a:ext cx="218063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itable for all categories business and personal presentation</a:t>
            </a:r>
          </a:p>
        </p:txBody>
      </p:sp>
      <p:cxnSp>
        <p:nvCxnSpPr>
          <p:cNvPr id="51" name="Straight Connector 50"/>
          <p:cNvCxnSpPr>
            <a:cxnSpLocks/>
          </p:cNvCxnSpPr>
          <p:nvPr/>
        </p:nvCxnSpPr>
        <p:spPr bwMode="gray">
          <a:xfrm>
            <a:off x="4079439" y="4022211"/>
            <a:ext cx="231200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E5C12AB-4BDF-4C2A-9EBA-221526F1A01F}"/>
              </a:ext>
            </a:extLst>
          </p:cNvPr>
          <p:cNvGrpSpPr/>
          <p:nvPr/>
        </p:nvGrpSpPr>
        <p:grpSpPr>
          <a:xfrm>
            <a:off x="6577049" y="4800105"/>
            <a:ext cx="434352" cy="438098"/>
            <a:chOff x="6388480" y="4529410"/>
            <a:chExt cx="434352" cy="438098"/>
          </a:xfrm>
          <a:effectLst/>
        </p:grpSpPr>
        <p:sp>
          <p:nvSpPr>
            <p:cNvPr id="40" name="Rounded Rectangle 39"/>
            <p:cNvSpPr>
              <a:spLocks/>
            </p:cNvSpPr>
            <p:nvPr/>
          </p:nvSpPr>
          <p:spPr bwMode="gray">
            <a:xfrm>
              <a:off x="6388480" y="4529410"/>
              <a:ext cx="434352" cy="438098"/>
            </a:xfrm>
            <a:prstGeom prst="roundRect">
              <a:avLst>
                <a:gd name="adj" fmla="val 11686"/>
              </a:avLst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9" name="Picture 2" descr="C:\Users\Deepak\Downloads\television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484120" y="4611951"/>
              <a:ext cx="262925" cy="262925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TextBox 28"/>
          <p:cNvSpPr txBox="1">
            <a:spLocks/>
          </p:cNvSpPr>
          <p:nvPr/>
        </p:nvSpPr>
        <p:spPr bwMode="gray">
          <a:xfrm>
            <a:off x="7309437" y="4752149"/>
            <a:ext cx="2180638" cy="1717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duct 3</a:t>
            </a:r>
          </a:p>
        </p:txBody>
      </p:sp>
      <p:sp>
        <p:nvSpPr>
          <p:cNvPr id="30" name="TextBox 29"/>
          <p:cNvSpPr txBox="1">
            <a:spLocks/>
          </p:cNvSpPr>
          <p:nvPr/>
        </p:nvSpPr>
        <p:spPr bwMode="gray">
          <a:xfrm>
            <a:off x="7309437" y="4992227"/>
            <a:ext cx="218063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itable for all categories business and personal presentation</a:t>
            </a:r>
          </a:p>
        </p:txBody>
      </p:sp>
      <p:cxnSp>
        <p:nvCxnSpPr>
          <p:cNvPr id="53" name="Straight Connector 52"/>
          <p:cNvCxnSpPr>
            <a:cxnSpLocks/>
          </p:cNvCxnSpPr>
          <p:nvPr/>
        </p:nvCxnSpPr>
        <p:spPr bwMode="gray">
          <a:xfrm>
            <a:off x="3484231" y="5029039"/>
            <a:ext cx="290721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27E56CE-95F1-4585-9682-AC950E125B46}"/>
              </a:ext>
            </a:extLst>
          </p:cNvPr>
          <p:cNvGrpSpPr/>
          <p:nvPr/>
        </p:nvGrpSpPr>
        <p:grpSpPr>
          <a:xfrm>
            <a:off x="6577049" y="5790704"/>
            <a:ext cx="434352" cy="438098"/>
            <a:chOff x="6388480" y="5499555"/>
            <a:chExt cx="434352" cy="438098"/>
          </a:xfrm>
          <a:effectLst/>
        </p:grpSpPr>
        <p:sp>
          <p:nvSpPr>
            <p:cNvPr id="41" name="Rounded Rectangle 40"/>
            <p:cNvSpPr>
              <a:spLocks/>
            </p:cNvSpPr>
            <p:nvPr/>
          </p:nvSpPr>
          <p:spPr bwMode="gray">
            <a:xfrm>
              <a:off x="6388480" y="5499555"/>
              <a:ext cx="434352" cy="438098"/>
            </a:xfrm>
            <a:prstGeom prst="roundRect">
              <a:avLst>
                <a:gd name="adj" fmla="val 11686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US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39366" name="Picture 6" descr="C:\Users\Deepak\Downloads\photo-camera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464268" y="5577216"/>
              <a:ext cx="282777" cy="282777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TextBox 31"/>
          <p:cNvSpPr txBox="1">
            <a:spLocks/>
          </p:cNvSpPr>
          <p:nvPr/>
        </p:nvSpPr>
        <p:spPr bwMode="gray">
          <a:xfrm>
            <a:off x="7309437" y="5764115"/>
            <a:ext cx="2180638" cy="1717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oduct 4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 bwMode="gray">
          <a:xfrm>
            <a:off x="7309437" y="6004193"/>
            <a:ext cx="218063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itable for all categories business and personal presentation</a:t>
            </a:r>
          </a:p>
        </p:txBody>
      </p:sp>
      <p:cxnSp>
        <p:nvCxnSpPr>
          <p:cNvPr id="55" name="Straight Connector 54"/>
          <p:cNvCxnSpPr>
            <a:cxnSpLocks/>
          </p:cNvCxnSpPr>
          <p:nvPr/>
        </p:nvCxnSpPr>
        <p:spPr bwMode="gray">
          <a:xfrm>
            <a:off x="2983231" y="6038043"/>
            <a:ext cx="340821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9CB60612-B069-4F1B-967F-9DE362B13D97}"/>
              </a:ext>
            </a:extLst>
          </p:cNvPr>
          <p:cNvSpPr/>
          <p:nvPr/>
        </p:nvSpPr>
        <p:spPr bwMode="auto">
          <a:xfrm rot="10800000">
            <a:off x="2498194" y="6300942"/>
            <a:ext cx="258237" cy="293482"/>
          </a:xfrm>
          <a:prstGeom prst="triangl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7" name="Picture 9" descr="C:\Users\Deepak\Downloads\laundry-service.png">
            <a:extLst>
              <a:ext uri="{FF2B5EF4-FFF2-40B4-BE49-F238E27FC236}">
                <a16:creationId xmlns:a16="http://schemas.microsoft.com/office/drawing/2014/main" id="{5C193D13-F40F-4A6C-B51D-2BA26AB8B6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28543" y="2404220"/>
            <a:ext cx="597538" cy="597538"/>
          </a:xfrm>
          <a:prstGeom prst="rect">
            <a:avLst/>
          </a:prstGeom>
          <a:noFill/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1" descr="C:\Users\Deepak\Downloads\graph-line-screen (1).png">
            <a:extLst>
              <a:ext uri="{FF2B5EF4-FFF2-40B4-BE49-F238E27FC236}">
                <a16:creationId xmlns:a16="http://schemas.microsoft.com/office/drawing/2014/main" id="{EBF50DD4-4168-44A3-A30A-678552A078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94438" y="3912791"/>
            <a:ext cx="456828" cy="45682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C:\Users\Deepak\Downloads\television.png">
            <a:extLst>
              <a:ext uri="{FF2B5EF4-FFF2-40B4-BE49-F238E27FC236}">
                <a16:creationId xmlns:a16="http://schemas.microsoft.com/office/drawing/2014/main" id="{E7E53258-9F54-4C40-97CC-10FD6A2E62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453340" y="5044065"/>
            <a:ext cx="372276" cy="37227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" descr="C:\Users\Deepak\Downloads\photo-camera.png">
            <a:extLst>
              <a:ext uri="{FF2B5EF4-FFF2-40B4-BE49-F238E27FC236}">
                <a16:creationId xmlns:a16="http://schemas.microsoft.com/office/drawing/2014/main" id="{A48279F2-2EE0-42A4-8971-D9F174B33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542377" y="5914530"/>
            <a:ext cx="194202" cy="1942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9900BC-B7EF-4A4F-BD28-8483E9ABFA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The majority of consumers will invest in washing machines the next year</a:t>
            </a:r>
            <a:endParaRPr lang="da-DK" dirty="0"/>
          </a:p>
        </p:txBody>
      </p:sp>
      <p:sp>
        <p:nvSpPr>
          <p:cNvPr id="57" name="Text Placeholder 32">
            <a:extLst>
              <a:ext uri="{FF2B5EF4-FFF2-40B4-BE49-F238E27FC236}">
                <a16:creationId xmlns:a16="http://schemas.microsoft.com/office/drawing/2014/main" id="{C5D86DDF-7FD4-4999-8D50-FB464B4F09F0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8662607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5CC3F91-8C31-42B6-9D4A-6D622A3A4A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58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5CC3F91-8C31-42B6-9D4A-6D622A3A4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7450406-8A7B-4E6E-9FCA-A72EA0CFA697}"/>
              </a:ext>
            </a:extLst>
          </p:cNvPr>
          <p:cNvGrpSpPr/>
          <p:nvPr/>
        </p:nvGrpSpPr>
        <p:grpSpPr>
          <a:xfrm>
            <a:off x="-997376" y="5849373"/>
            <a:ext cx="11579483" cy="1457864"/>
            <a:chOff x="-455156" y="6116792"/>
            <a:chExt cx="11579483" cy="1457864"/>
          </a:xfrm>
          <a:solidFill>
            <a:schemeClr val="bg2"/>
          </a:solidFill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0BF0F284-6736-4D1B-A22D-C3CF0FF3EC9F}"/>
                </a:ext>
              </a:extLst>
            </p:cNvPr>
            <p:cNvSpPr/>
            <p:nvPr/>
          </p:nvSpPr>
          <p:spPr bwMode="auto">
            <a:xfrm>
              <a:off x="-45515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BDAF60B0-5A7F-4372-96E0-5052AA06ACDC}"/>
                </a:ext>
              </a:extLst>
            </p:cNvPr>
            <p:cNvSpPr/>
            <p:nvPr/>
          </p:nvSpPr>
          <p:spPr bwMode="auto">
            <a:xfrm>
              <a:off x="392280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1B7C49DD-071C-4060-8852-021A63CAC256}"/>
                </a:ext>
              </a:extLst>
            </p:cNvPr>
            <p:cNvSpPr/>
            <p:nvPr/>
          </p:nvSpPr>
          <p:spPr bwMode="auto">
            <a:xfrm>
              <a:off x="123971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2338C366-561C-460E-8AAF-E17202B108DC}"/>
                </a:ext>
              </a:extLst>
            </p:cNvPr>
            <p:cNvSpPr/>
            <p:nvPr/>
          </p:nvSpPr>
          <p:spPr bwMode="auto">
            <a:xfrm>
              <a:off x="2087152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100CD91F-2706-4B11-93EB-F447E5397CE7}"/>
                </a:ext>
              </a:extLst>
            </p:cNvPr>
            <p:cNvSpPr/>
            <p:nvPr/>
          </p:nvSpPr>
          <p:spPr bwMode="auto">
            <a:xfrm>
              <a:off x="2934588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3282EC73-7642-4415-9888-385964CB49A4}"/>
                </a:ext>
              </a:extLst>
            </p:cNvPr>
            <p:cNvSpPr/>
            <p:nvPr/>
          </p:nvSpPr>
          <p:spPr bwMode="auto">
            <a:xfrm>
              <a:off x="3782024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44FE5FB8-43E1-4896-B57E-589BA7F2F187}"/>
                </a:ext>
              </a:extLst>
            </p:cNvPr>
            <p:cNvSpPr/>
            <p:nvPr/>
          </p:nvSpPr>
          <p:spPr bwMode="auto">
            <a:xfrm>
              <a:off x="4629460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BC0BF087-D435-4EA3-BEB3-E29EA7A237B7}"/>
                </a:ext>
              </a:extLst>
            </p:cNvPr>
            <p:cNvSpPr/>
            <p:nvPr/>
          </p:nvSpPr>
          <p:spPr bwMode="auto">
            <a:xfrm>
              <a:off x="547689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A9CAB7B5-38A0-423F-B733-43C08BF6FF35}"/>
                </a:ext>
              </a:extLst>
            </p:cNvPr>
            <p:cNvSpPr/>
            <p:nvPr/>
          </p:nvSpPr>
          <p:spPr bwMode="auto">
            <a:xfrm>
              <a:off x="6324332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2D85C115-0BD8-46CB-BCA6-77DA9801F906}"/>
                </a:ext>
              </a:extLst>
            </p:cNvPr>
            <p:cNvSpPr/>
            <p:nvPr/>
          </p:nvSpPr>
          <p:spPr bwMode="auto">
            <a:xfrm>
              <a:off x="7171768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725B06AE-AE5B-4365-AFFE-D4C3AAB3F892}"/>
                </a:ext>
              </a:extLst>
            </p:cNvPr>
            <p:cNvSpPr/>
            <p:nvPr/>
          </p:nvSpPr>
          <p:spPr bwMode="auto">
            <a:xfrm>
              <a:off x="8019204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63FBAD2A-36D3-4459-8E9C-37D1B313F02B}"/>
                </a:ext>
              </a:extLst>
            </p:cNvPr>
            <p:cNvSpPr/>
            <p:nvPr/>
          </p:nvSpPr>
          <p:spPr bwMode="auto">
            <a:xfrm>
              <a:off x="8866635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D89FAE44-C016-4948-AB18-3364796ED3F7}"/>
                </a:ext>
              </a:extLst>
            </p:cNvPr>
            <p:cNvSpPr/>
            <p:nvPr/>
          </p:nvSpPr>
          <p:spPr bwMode="auto">
            <a:xfrm>
              <a:off x="9666463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05EC560B-2438-4764-9F53-5C4291A82200}"/>
              </a:ext>
            </a:extLst>
          </p:cNvPr>
          <p:cNvSpPr/>
          <p:nvPr/>
        </p:nvSpPr>
        <p:spPr bwMode="auto">
          <a:xfrm>
            <a:off x="8400712" y="1554841"/>
            <a:ext cx="355138" cy="2637024"/>
          </a:xfrm>
          <a:custGeom>
            <a:avLst/>
            <a:gdLst>
              <a:gd name="connsiteX0" fmla="*/ 0 w 371302"/>
              <a:gd name="connsiteY0" fmla="*/ 2781992 h 2787534"/>
              <a:gd name="connsiteX1" fmla="*/ 88669 w 371302"/>
              <a:gd name="connsiteY1" fmla="*/ 0 h 2787534"/>
              <a:gd name="connsiteX2" fmla="*/ 310342 w 371302"/>
              <a:gd name="connsiteY2" fmla="*/ 0 h 2787534"/>
              <a:gd name="connsiteX3" fmla="*/ 371302 w 371302"/>
              <a:gd name="connsiteY3" fmla="*/ 2787534 h 2787534"/>
              <a:gd name="connsiteX4" fmla="*/ 0 w 371302"/>
              <a:gd name="connsiteY4" fmla="*/ 2781992 h 2787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302" h="2787534">
                <a:moveTo>
                  <a:pt x="0" y="2781992"/>
                </a:moveTo>
                <a:lnTo>
                  <a:pt x="88669" y="0"/>
                </a:lnTo>
                <a:lnTo>
                  <a:pt x="310342" y="0"/>
                </a:lnTo>
                <a:lnTo>
                  <a:pt x="371302" y="2787534"/>
                </a:lnTo>
                <a:lnTo>
                  <a:pt x="0" y="2781992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F370D14-1227-45A6-B2E8-2793F70BA92B}"/>
              </a:ext>
            </a:extLst>
          </p:cNvPr>
          <p:cNvSpPr/>
          <p:nvPr/>
        </p:nvSpPr>
        <p:spPr bwMode="auto">
          <a:xfrm>
            <a:off x="7940254" y="2091155"/>
            <a:ext cx="380324" cy="380324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6" name="Teardrop 65">
            <a:extLst>
              <a:ext uri="{FF2B5EF4-FFF2-40B4-BE49-F238E27FC236}">
                <a16:creationId xmlns:a16="http://schemas.microsoft.com/office/drawing/2014/main" id="{8C9AE265-8169-4E5D-A05C-170AFBDB40EB}"/>
              </a:ext>
            </a:extLst>
          </p:cNvPr>
          <p:cNvSpPr/>
          <p:nvPr/>
        </p:nvSpPr>
        <p:spPr bwMode="auto">
          <a:xfrm rot="8325441">
            <a:off x="8042725" y="2203330"/>
            <a:ext cx="172231" cy="181289"/>
          </a:xfrm>
          <a:prstGeom prst="teardrop">
            <a:avLst>
              <a:gd name="adj" fmla="val 115611"/>
            </a:avLst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0B62B0D-FF78-4F19-ADB1-069E61D3FB09}"/>
              </a:ext>
            </a:extLst>
          </p:cNvPr>
          <p:cNvSpPr/>
          <p:nvPr/>
        </p:nvSpPr>
        <p:spPr bwMode="auto">
          <a:xfrm>
            <a:off x="7035198" y="2673617"/>
            <a:ext cx="355138" cy="1899668"/>
          </a:xfrm>
          <a:custGeom>
            <a:avLst/>
            <a:gdLst>
              <a:gd name="connsiteX0" fmla="*/ 0 w 371302"/>
              <a:gd name="connsiteY0" fmla="*/ 2781992 h 2787534"/>
              <a:gd name="connsiteX1" fmla="*/ 88669 w 371302"/>
              <a:gd name="connsiteY1" fmla="*/ 0 h 2787534"/>
              <a:gd name="connsiteX2" fmla="*/ 310342 w 371302"/>
              <a:gd name="connsiteY2" fmla="*/ 0 h 2787534"/>
              <a:gd name="connsiteX3" fmla="*/ 371302 w 371302"/>
              <a:gd name="connsiteY3" fmla="*/ 2787534 h 2787534"/>
              <a:gd name="connsiteX4" fmla="*/ 0 w 371302"/>
              <a:gd name="connsiteY4" fmla="*/ 2781992 h 2787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302" h="2787534">
                <a:moveTo>
                  <a:pt x="0" y="2781992"/>
                </a:moveTo>
                <a:lnTo>
                  <a:pt x="88669" y="0"/>
                </a:lnTo>
                <a:lnTo>
                  <a:pt x="310342" y="0"/>
                </a:lnTo>
                <a:lnTo>
                  <a:pt x="371302" y="2787534"/>
                </a:lnTo>
                <a:lnTo>
                  <a:pt x="0" y="2781992"/>
                </a:lnTo>
                <a:close/>
              </a:path>
            </a:pathLst>
          </a:custGeom>
          <a:solidFill>
            <a:schemeClr val="accent2">
              <a:lumMod val="9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Moon 7">
            <a:extLst>
              <a:ext uri="{FF2B5EF4-FFF2-40B4-BE49-F238E27FC236}">
                <a16:creationId xmlns:a16="http://schemas.microsoft.com/office/drawing/2014/main" id="{B4ECF885-BA16-432B-95E2-51A60BE38584}"/>
              </a:ext>
            </a:extLst>
          </p:cNvPr>
          <p:cNvSpPr/>
          <p:nvPr/>
        </p:nvSpPr>
        <p:spPr bwMode="auto">
          <a:xfrm rot="21119468" flipH="1">
            <a:off x="7056460" y="2649800"/>
            <a:ext cx="357424" cy="1493984"/>
          </a:xfrm>
          <a:custGeom>
            <a:avLst/>
            <a:gdLst>
              <a:gd name="connsiteX0" fmla="*/ 609601 w 609601"/>
              <a:gd name="connsiteY0" fmla="*/ 1924050 h 1924050"/>
              <a:gd name="connsiteX1" fmla="*/ 0 w 609601"/>
              <a:gd name="connsiteY1" fmla="*/ 962025 h 1924050"/>
              <a:gd name="connsiteX2" fmla="*/ 609601 w 609601"/>
              <a:gd name="connsiteY2" fmla="*/ 0 h 1924050"/>
              <a:gd name="connsiteX3" fmla="*/ 304801 w 609601"/>
              <a:gd name="connsiteY3" fmla="*/ 962025 h 1924050"/>
              <a:gd name="connsiteX4" fmla="*/ 609601 w 609601"/>
              <a:gd name="connsiteY4" fmla="*/ 1924050 h 1924050"/>
              <a:gd name="connsiteX0" fmla="*/ 616244 w 616244"/>
              <a:gd name="connsiteY0" fmla="*/ 1082278 h 1082278"/>
              <a:gd name="connsiteX1" fmla="*/ 6643 w 616244"/>
              <a:gd name="connsiteY1" fmla="*/ 120253 h 1082278"/>
              <a:gd name="connsiteX2" fmla="*/ 311444 w 616244"/>
              <a:gd name="connsiteY2" fmla="*/ 120253 h 1082278"/>
              <a:gd name="connsiteX3" fmla="*/ 616244 w 616244"/>
              <a:gd name="connsiteY3" fmla="*/ 1082278 h 1082278"/>
              <a:gd name="connsiteX0" fmla="*/ 618131 w 618131"/>
              <a:gd name="connsiteY0" fmla="*/ 1283587 h 1283587"/>
              <a:gd name="connsiteX1" fmla="*/ 8530 w 618131"/>
              <a:gd name="connsiteY1" fmla="*/ 321562 h 1283587"/>
              <a:gd name="connsiteX2" fmla="*/ 284756 w 618131"/>
              <a:gd name="connsiteY2" fmla="*/ 54862 h 1283587"/>
              <a:gd name="connsiteX3" fmla="*/ 618131 w 618131"/>
              <a:gd name="connsiteY3" fmla="*/ 1283587 h 1283587"/>
              <a:gd name="connsiteX0" fmla="*/ 616324 w 616324"/>
              <a:gd name="connsiteY0" fmla="*/ 1228727 h 1228727"/>
              <a:gd name="connsiteX1" fmla="*/ 6723 w 616324"/>
              <a:gd name="connsiteY1" fmla="*/ 266702 h 1228727"/>
              <a:gd name="connsiteX2" fmla="*/ 282949 w 616324"/>
              <a:gd name="connsiteY2" fmla="*/ 2 h 1228727"/>
              <a:gd name="connsiteX3" fmla="*/ 616324 w 616324"/>
              <a:gd name="connsiteY3" fmla="*/ 1228727 h 1228727"/>
              <a:gd name="connsiteX0" fmla="*/ 562772 w 562772"/>
              <a:gd name="connsiteY0" fmla="*/ 1331932 h 1331932"/>
              <a:gd name="connsiteX1" fmla="*/ 10321 w 562772"/>
              <a:gd name="connsiteY1" fmla="*/ 207982 h 1331932"/>
              <a:gd name="connsiteX2" fmla="*/ 229397 w 562772"/>
              <a:gd name="connsiteY2" fmla="*/ 103207 h 1331932"/>
              <a:gd name="connsiteX3" fmla="*/ 562772 w 562772"/>
              <a:gd name="connsiteY3" fmla="*/ 1331932 h 1331932"/>
              <a:gd name="connsiteX0" fmla="*/ 558354 w 558354"/>
              <a:gd name="connsiteY0" fmla="*/ 1292071 h 1292071"/>
              <a:gd name="connsiteX1" fmla="*/ 5903 w 558354"/>
              <a:gd name="connsiteY1" fmla="*/ 168121 h 1292071"/>
              <a:gd name="connsiteX2" fmla="*/ 224979 w 558354"/>
              <a:gd name="connsiteY2" fmla="*/ 63346 h 1292071"/>
              <a:gd name="connsiteX3" fmla="*/ 558354 w 558354"/>
              <a:gd name="connsiteY3" fmla="*/ 1292071 h 1292071"/>
              <a:gd name="connsiteX0" fmla="*/ 558354 w 558354"/>
              <a:gd name="connsiteY0" fmla="*/ 1228844 h 1228844"/>
              <a:gd name="connsiteX1" fmla="*/ 5903 w 558354"/>
              <a:gd name="connsiteY1" fmla="*/ 104894 h 1228844"/>
              <a:gd name="connsiteX2" fmla="*/ 224979 w 558354"/>
              <a:gd name="connsiteY2" fmla="*/ 119 h 1228844"/>
              <a:gd name="connsiteX3" fmla="*/ 558354 w 558354"/>
              <a:gd name="connsiteY3" fmla="*/ 1228844 h 1228844"/>
              <a:gd name="connsiteX0" fmla="*/ 558354 w 558354"/>
              <a:gd name="connsiteY0" fmla="*/ 1308907 h 1308907"/>
              <a:gd name="connsiteX1" fmla="*/ 5903 w 558354"/>
              <a:gd name="connsiteY1" fmla="*/ 118282 h 1308907"/>
              <a:gd name="connsiteX2" fmla="*/ 224979 w 558354"/>
              <a:gd name="connsiteY2" fmla="*/ 80182 h 1308907"/>
              <a:gd name="connsiteX3" fmla="*/ 558354 w 558354"/>
              <a:gd name="connsiteY3" fmla="*/ 1308907 h 1308907"/>
              <a:gd name="connsiteX0" fmla="*/ 558354 w 558354"/>
              <a:gd name="connsiteY0" fmla="*/ 1228816 h 1228816"/>
              <a:gd name="connsiteX1" fmla="*/ 5903 w 558354"/>
              <a:gd name="connsiteY1" fmla="*/ 38191 h 1228816"/>
              <a:gd name="connsiteX2" fmla="*/ 224979 w 558354"/>
              <a:gd name="connsiteY2" fmla="*/ 91 h 1228816"/>
              <a:gd name="connsiteX3" fmla="*/ 558354 w 558354"/>
              <a:gd name="connsiteY3" fmla="*/ 1228816 h 1228816"/>
              <a:gd name="connsiteX0" fmla="*/ 573734 w 573734"/>
              <a:gd name="connsiteY0" fmla="*/ 1339806 h 1339806"/>
              <a:gd name="connsiteX1" fmla="*/ 5624 w 573734"/>
              <a:gd name="connsiteY1" fmla="*/ 60982 h 1339806"/>
              <a:gd name="connsiteX2" fmla="*/ 240359 w 573734"/>
              <a:gd name="connsiteY2" fmla="*/ 111081 h 1339806"/>
              <a:gd name="connsiteX3" fmla="*/ 573734 w 573734"/>
              <a:gd name="connsiteY3" fmla="*/ 1339806 h 1339806"/>
              <a:gd name="connsiteX0" fmla="*/ 580497 w 580497"/>
              <a:gd name="connsiteY0" fmla="*/ 1445190 h 1445190"/>
              <a:gd name="connsiteX1" fmla="*/ 12387 w 580497"/>
              <a:gd name="connsiteY1" fmla="*/ 166366 h 1445190"/>
              <a:gd name="connsiteX2" fmla="*/ 220001 w 580497"/>
              <a:gd name="connsiteY2" fmla="*/ 154956 h 1445190"/>
              <a:gd name="connsiteX3" fmla="*/ 580497 w 580497"/>
              <a:gd name="connsiteY3" fmla="*/ 1445190 h 1445190"/>
              <a:gd name="connsiteX0" fmla="*/ 578732 w 578732"/>
              <a:gd name="connsiteY0" fmla="*/ 1375966 h 1375966"/>
              <a:gd name="connsiteX1" fmla="*/ 10622 w 578732"/>
              <a:gd name="connsiteY1" fmla="*/ 97142 h 1375966"/>
              <a:gd name="connsiteX2" fmla="*/ 218236 w 578732"/>
              <a:gd name="connsiteY2" fmla="*/ 85732 h 1375966"/>
              <a:gd name="connsiteX3" fmla="*/ 578732 w 578732"/>
              <a:gd name="connsiteY3" fmla="*/ 1375966 h 1375966"/>
              <a:gd name="connsiteX0" fmla="*/ 572915 w 572915"/>
              <a:gd name="connsiteY0" fmla="*/ 1290263 h 1290263"/>
              <a:gd name="connsiteX1" fmla="*/ 4805 w 572915"/>
              <a:gd name="connsiteY1" fmla="*/ 11439 h 1290263"/>
              <a:gd name="connsiteX2" fmla="*/ 212419 w 572915"/>
              <a:gd name="connsiteY2" fmla="*/ 29 h 1290263"/>
              <a:gd name="connsiteX3" fmla="*/ 572915 w 572915"/>
              <a:gd name="connsiteY3" fmla="*/ 1290263 h 129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915" h="1290263">
                <a:moveTo>
                  <a:pt x="572915" y="1290263"/>
                </a:moveTo>
                <a:cubicBezTo>
                  <a:pt x="236242" y="1290263"/>
                  <a:pt x="41982" y="11699"/>
                  <a:pt x="4805" y="11439"/>
                </a:cubicBezTo>
                <a:cubicBezTo>
                  <a:pt x="-32372" y="11179"/>
                  <a:pt x="156628" y="6420"/>
                  <a:pt x="212419" y="29"/>
                </a:cubicBezTo>
                <a:cubicBezTo>
                  <a:pt x="268210" y="-6362"/>
                  <a:pt x="381039" y="1063160"/>
                  <a:pt x="572915" y="1290263"/>
                </a:cubicBezTo>
                <a:close/>
              </a:path>
            </a:pathLst>
          </a:custGeom>
          <a:solidFill>
            <a:schemeClr val="bg1">
              <a:lumMod val="95000"/>
              <a:alpha val="34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0829367D-8996-45C8-91BC-580A4220DF87}"/>
              </a:ext>
            </a:extLst>
          </p:cNvPr>
          <p:cNvSpPr/>
          <p:nvPr/>
        </p:nvSpPr>
        <p:spPr bwMode="auto">
          <a:xfrm>
            <a:off x="6822476" y="3937057"/>
            <a:ext cx="1229783" cy="1150744"/>
          </a:xfrm>
          <a:custGeom>
            <a:avLst/>
            <a:gdLst>
              <a:gd name="connsiteX0" fmla="*/ 0 w 1285755"/>
              <a:gd name="connsiteY0" fmla="*/ 1203118 h 1203118"/>
              <a:gd name="connsiteX1" fmla="*/ 642878 w 1285755"/>
              <a:gd name="connsiteY1" fmla="*/ 0 h 1203118"/>
              <a:gd name="connsiteX2" fmla="*/ 1285755 w 1285755"/>
              <a:gd name="connsiteY2" fmla="*/ 1203118 h 1203118"/>
              <a:gd name="connsiteX3" fmla="*/ 0 w 1285755"/>
              <a:gd name="connsiteY3" fmla="*/ 1203118 h 1203118"/>
              <a:gd name="connsiteX0" fmla="*/ 0 w 1285755"/>
              <a:gd name="connsiteY0" fmla="*/ 1203118 h 1203118"/>
              <a:gd name="connsiteX1" fmla="*/ 642878 w 1285755"/>
              <a:gd name="connsiteY1" fmla="*/ 0 h 1203118"/>
              <a:gd name="connsiteX2" fmla="*/ 833593 w 1285755"/>
              <a:gd name="connsiteY2" fmla="*/ 313568 h 1203118"/>
              <a:gd name="connsiteX3" fmla="*/ 1285755 w 1285755"/>
              <a:gd name="connsiteY3" fmla="*/ 1203118 h 1203118"/>
              <a:gd name="connsiteX4" fmla="*/ 0 w 1285755"/>
              <a:gd name="connsiteY4" fmla="*/ 1203118 h 120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5755" h="1203118">
                <a:moveTo>
                  <a:pt x="0" y="1203118"/>
                </a:moveTo>
                <a:lnTo>
                  <a:pt x="642878" y="0"/>
                </a:lnTo>
                <a:cubicBezTo>
                  <a:pt x="695337" y="99760"/>
                  <a:pt x="781134" y="213808"/>
                  <a:pt x="833593" y="313568"/>
                </a:cubicBezTo>
                <a:lnTo>
                  <a:pt x="1285755" y="1203118"/>
                </a:lnTo>
                <a:lnTo>
                  <a:pt x="0" y="1203118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53EBDA87-B870-438E-8744-808AFA7DDCDB}"/>
              </a:ext>
            </a:extLst>
          </p:cNvPr>
          <p:cNvSpPr/>
          <p:nvPr/>
        </p:nvSpPr>
        <p:spPr bwMode="auto">
          <a:xfrm>
            <a:off x="7134006" y="3937057"/>
            <a:ext cx="1405660" cy="1150744"/>
          </a:xfrm>
          <a:custGeom>
            <a:avLst/>
            <a:gdLst>
              <a:gd name="connsiteX0" fmla="*/ 0 w 1427302"/>
              <a:gd name="connsiteY0" fmla="*/ 1203118 h 1203118"/>
              <a:gd name="connsiteX1" fmla="*/ 713651 w 1427302"/>
              <a:gd name="connsiteY1" fmla="*/ 0 h 1203118"/>
              <a:gd name="connsiteX2" fmla="*/ 1427302 w 1427302"/>
              <a:gd name="connsiteY2" fmla="*/ 1203118 h 1203118"/>
              <a:gd name="connsiteX3" fmla="*/ 0 w 1427302"/>
              <a:gd name="connsiteY3" fmla="*/ 1203118 h 1203118"/>
              <a:gd name="connsiteX0" fmla="*/ 0 w 1469636"/>
              <a:gd name="connsiteY0" fmla="*/ 1203118 h 1203118"/>
              <a:gd name="connsiteX1" fmla="*/ 713651 w 1469636"/>
              <a:gd name="connsiteY1" fmla="*/ 0 h 1203118"/>
              <a:gd name="connsiteX2" fmla="*/ 1469636 w 1469636"/>
              <a:gd name="connsiteY2" fmla="*/ 1198885 h 1203118"/>
              <a:gd name="connsiteX3" fmla="*/ 0 w 1469636"/>
              <a:gd name="connsiteY3" fmla="*/ 1203118 h 1203118"/>
              <a:gd name="connsiteX0" fmla="*/ 0 w 1469636"/>
              <a:gd name="connsiteY0" fmla="*/ 1203118 h 1203118"/>
              <a:gd name="connsiteX1" fmla="*/ 479309 w 1469636"/>
              <a:gd name="connsiteY1" fmla="*/ 330237 h 1203118"/>
              <a:gd name="connsiteX2" fmla="*/ 713651 w 1469636"/>
              <a:gd name="connsiteY2" fmla="*/ 0 h 1203118"/>
              <a:gd name="connsiteX3" fmla="*/ 1469636 w 1469636"/>
              <a:gd name="connsiteY3" fmla="*/ 1198885 h 1203118"/>
              <a:gd name="connsiteX4" fmla="*/ 0 w 1469636"/>
              <a:gd name="connsiteY4" fmla="*/ 1203118 h 1203118"/>
              <a:gd name="connsiteX0" fmla="*/ 0 w 1469636"/>
              <a:gd name="connsiteY0" fmla="*/ 1203118 h 1203118"/>
              <a:gd name="connsiteX1" fmla="*/ 479309 w 1469636"/>
              <a:gd name="connsiteY1" fmla="*/ 330237 h 1203118"/>
              <a:gd name="connsiteX2" fmla="*/ 713651 w 1469636"/>
              <a:gd name="connsiteY2" fmla="*/ 0 h 1203118"/>
              <a:gd name="connsiteX3" fmla="*/ 1469636 w 1469636"/>
              <a:gd name="connsiteY3" fmla="*/ 1198885 h 1203118"/>
              <a:gd name="connsiteX4" fmla="*/ 0 w 1469636"/>
              <a:gd name="connsiteY4" fmla="*/ 1203118 h 120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9636" h="1203118">
                <a:moveTo>
                  <a:pt x="0" y="1203118"/>
                </a:moveTo>
                <a:cubicBezTo>
                  <a:pt x="164532" y="928826"/>
                  <a:pt x="417170" y="206861"/>
                  <a:pt x="479309" y="330237"/>
                </a:cubicBezTo>
                <a:lnTo>
                  <a:pt x="713651" y="0"/>
                </a:lnTo>
                <a:lnTo>
                  <a:pt x="1469636" y="1198885"/>
                </a:lnTo>
                <a:lnTo>
                  <a:pt x="0" y="1203118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9" name="Isosceles Triangle 37">
            <a:extLst>
              <a:ext uri="{FF2B5EF4-FFF2-40B4-BE49-F238E27FC236}">
                <a16:creationId xmlns:a16="http://schemas.microsoft.com/office/drawing/2014/main" id="{E6ED329A-F8ED-451A-A9EB-FF8D05A8880B}"/>
              </a:ext>
            </a:extLst>
          </p:cNvPr>
          <p:cNvSpPr/>
          <p:nvPr/>
        </p:nvSpPr>
        <p:spPr bwMode="auto">
          <a:xfrm>
            <a:off x="8223511" y="3730556"/>
            <a:ext cx="920686" cy="1376224"/>
          </a:xfrm>
          <a:custGeom>
            <a:avLst/>
            <a:gdLst>
              <a:gd name="connsiteX0" fmla="*/ 0 w 1427302"/>
              <a:gd name="connsiteY0" fmla="*/ 1203118 h 1203118"/>
              <a:gd name="connsiteX1" fmla="*/ 713651 w 1427302"/>
              <a:gd name="connsiteY1" fmla="*/ 0 h 1203118"/>
              <a:gd name="connsiteX2" fmla="*/ 1427302 w 1427302"/>
              <a:gd name="connsiteY2" fmla="*/ 1203118 h 1203118"/>
              <a:gd name="connsiteX3" fmla="*/ 0 w 1427302"/>
              <a:gd name="connsiteY3" fmla="*/ 1203118 h 1203118"/>
              <a:gd name="connsiteX0" fmla="*/ 0 w 1469636"/>
              <a:gd name="connsiteY0" fmla="*/ 1203118 h 1203118"/>
              <a:gd name="connsiteX1" fmla="*/ 713651 w 1469636"/>
              <a:gd name="connsiteY1" fmla="*/ 0 h 1203118"/>
              <a:gd name="connsiteX2" fmla="*/ 1469636 w 1469636"/>
              <a:gd name="connsiteY2" fmla="*/ 1198885 h 1203118"/>
              <a:gd name="connsiteX3" fmla="*/ 0 w 1469636"/>
              <a:gd name="connsiteY3" fmla="*/ 1203118 h 1203118"/>
              <a:gd name="connsiteX0" fmla="*/ 0 w 1469636"/>
              <a:gd name="connsiteY0" fmla="*/ 1419018 h 1419018"/>
              <a:gd name="connsiteX1" fmla="*/ 751751 w 1469636"/>
              <a:gd name="connsiteY1" fmla="*/ 0 h 1419018"/>
              <a:gd name="connsiteX2" fmla="*/ 1469636 w 1469636"/>
              <a:gd name="connsiteY2" fmla="*/ 1414785 h 1419018"/>
              <a:gd name="connsiteX3" fmla="*/ 0 w 1469636"/>
              <a:gd name="connsiteY3" fmla="*/ 1419018 h 1419018"/>
              <a:gd name="connsiteX0" fmla="*/ 0 w 1384970"/>
              <a:gd name="connsiteY0" fmla="*/ 1054951 h 1414785"/>
              <a:gd name="connsiteX1" fmla="*/ 667085 w 1384970"/>
              <a:gd name="connsiteY1" fmla="*/ 0 h 1414785"/>
              <a:gd name="connsiteX2" fmla="*/ 1384970 w 1384970"/>
              <a:gd name="connsiteY2" fmla="*/ 1414785 h 1414785"/>
              <a:gd name="connsiteX3" fmla="*/ 0 w 1384970"/>
              <a:gd name="connsiteY3" fmla="*/ 1054951 h 1414785"/>
              <a:gd name="connsiteX0" fmla="*/ 0 w 995503"/>
              <a:gd name="connsiteY0" fmla="*/ 1054951 h 1054951"/>
              <a:gd name="connsiteX1" fmla="*/ 667085 w 995503"/>
              <a:gd name="connsiteY1" fmla="*/ 0 h 1054951"/>
              <a:gd name="connsiteX2" fmla="*/ 995503 w 995503"/>
              <a:gd name="connsiteY2" fmla="*/ 530018 h 1054951"/>
              <a:gd name="connsiteX3" fmla="*/ 0 w 995503"/>
              <a:gd name="connsiteY3" fmla="*/ 1054951 h 1054951"/>
              <a:gd name="connsiteX0" fmla="*/ 0 w 1067470"/>
              <a:gd name="connsiteY0" fmla="*/ 1054951 h 1431718"/>
              <a:gd name="connsiteX1" fmla="*/ 667085 w 1067470"/>
              <a:gd name="connsiteY1" fmla="*/ 0 h 1431718"/>
              <a:gd name="connsiteX2" fmla="*/ 1067470 w 1067470"/>
              <a:gd name="connsiteY2" fmla="*/ 1431718 h 1431718"/>
              <a:gd name="connsiteX3" fmla="*/ 0 w 1067470"/>
              <a:gd name="connsiteY3" fmla="*/ 1054951 h 1431718"/>
              <a:gd name="connsiteX0" fmla="*/ 0 w 1067470"/>
              <a:gd name="connsiteY0" fmla="*/ 1054951 h 1431718"/>
              <a:gd name="connsiteX1" fmla="*/ 667085 w 1067470"/>
              <a:gd name="connsiteY1" fmla="*/ 0 h 1431718"/>
              <a:gd name="connsiteX2" fmla="*/ 973595 w 1067470"/>
              <a:gd name="connsiteY2" fmla="*/ 506449 h 1431718"/>
              <a:gd name="connsiteX3" fmla="*/ 1067470 w 1067470"/>
              <a:gd name="connsiteY3" fmla="*/ 1431718 h 1431718"/>
              <a:gd name="connsiteX4" fmla="*/ 0 w 1067470"/>
              <a:gd name="connsiteY4" fmla="*/ 1054951 h 1431718"/>
              <a:gd name="connsiteX0" fmla="*/ 0 w 881204"/>
              <a:gd name="connsiteY0" fmla="*/ 1431717 h 1431718"/>
              <a:gd name="connsiteX1" fmla="*/ 480819 w 881204"/>
              <a:gd name="connsiteY1" fmla="*/ 0 h 1431718"/>
              <a:gd name="connsiteX2" fmla="*/ 787329 w 881204"/>
              <a:gd name="connsiteY2" fmla="*/ 506449 h 1431718"/>
              <a:gd name="connsiteX3" fmla="*/ 881204 w 881204"/>
              <a:gd name="connsiteY3" fmla="*/ 1431718 h 1431718"/>
              <a:gd name="connsiteX4" fmla="*/ 0 w 881204"/>
              <a:gd name="connsiteY4" fmla="*/ 1431717 h 1431718"/>
              <a:gd name="connsiteX0" fmla="*/ 0 w 893904"/>
              <a:gd name="connsiteY0" fmla="*/ 1427483 h 1431718"/>
              <a:gd name="connsiteX1" fmla="*/ 493519 w 893904"/>
              <a:gd name="connsiteY1" fmla="*/ 0 h 1431718"/>
              <a:gd name="connsiteX2" fmla="*/ 800029 w 893904"/>
              <a:gd name="connsiteY2" fmla="*/ 506449 h 1431718"/>
              <a:gd name="connsiteX3" fmla="*/ 893904 w 893904"/>
              <a:gd name="connsiteY3" fmla="*/ 1431718 h 1431718"/>
              <a:gd name="connsiteX4" fmla="*/ 0 w 893904"/>
              <a:gd name="connsiteY4" fmla="*/ 1427483 h 1431718"/>
              <a:gd name="connsiteX0" fmla="*/ 104405 w 998309"/>
              <a:gd name="connsiteY0" fmla="*/ 1427483 h 1431718"/>
              <a:gd name="connsiteX1" fmla="*/ 15434 w 998309"/>
              <a:gd name="connsiteY1" fmla="*/ 912849 h 1431718"/>
              <a:gd name="connsiteX2" fmla="*/ 597924 w 998309"/>
              <a:gd name="connsiteY2" fmla="*/ 0 h 1431718"/>
              <a:gd name="connsiteX3" fmla="*/ 904434 w 998309"/>
              <a:gd name="connsiteY3" fmla="*/ 506449 h 1431718"/>
              <a:gd name="connsiteX4" fmla="*/ 998309 w 998309"/>
              <a:gd name="connsiteY4" fmla="*/ 1431718 h 1431718"/>
              <a:gd name="connsiteX5" fmla="*/ 104405 w 998309"/>
              <a:gd name="connsiteY5" fmla="*/ 1427483 h 1431718"/>
              <a:gd name="connsiteX0" fmla="*/ 104405 w 998309"/>
              <a:gd name="connsiteY0" fmla="*/ 1427483 h 1431718"/>
              <a:gd name="connsiteX1" fmla="*/ 15434 w 998309"/>
              <a:gd name="connsiteY1" fmla="*/ 912849 h 1431718"/>
              <a:gd name="connsiteX2" fmla="*/ 597924 w 998309"/>
              <a:gd name="connsiteY2" fmla="*/ 0 h 1431718"/>
              <a:gd name="connsiteX3" fmla="*/ 904434 w 998309"/>
              <a:gd name="connsiteY3" fmla="*/ 506449 h 1431718"/>
              <a:gd name="connsiteX4" fmla="*/ 998309 w 998309"/>
              <a:gd name="connsiteY4" fmla="*/ 1431718 h 1431718"/>
              <a:gd name="connsiteX5" fmla="*/ 104405 w 998309"/>
              <a:gd name="connsiteY5" fmla="*/ 1427483 h 1431718"/>
              <a:gd name="connsiteX0" fmla="*/ 104405 w 941159"/>
              <a:gd name="connsiteY0" fmla="*/ 1427483 h 1431718"/>
              <a:gd name="connsiteX1" fmla="*/ 15434 w 941159"/>
              <a:gd name="connsiteY1" fmla="*/ 912849 h 1431718"/>
              <a:gd name="connsiteX2" fmla="*/ 597924 w 941159"/>
              <a:gd name="connsiteY2" fmla="*/ 0 h 1431718"/>
              <a:gd name="connsiteX3" fmla="*/ 904434 w 941159"/>
              <a:gd name="connsiteY3" fmla="*/ 506449 h 1431718"/>
              <a:gd name="connsiteX4" fmla="*/ 941159 w 941159"/>
              <a:gd name="connsiteY4" fmla="*/ 1431718 h 1431718"/>
              <a:gd name="connsiteX5" fmla="*/ 104405 w 941159"/>
              <a:gd name="connsiteY5" fmla="*/ 1427483 h 1431718"/>
              <a:gd name="connsiteX0" fmla="*/ 104405 w 962590"/>
              <a:gd name="connsiteY0" fmla="*/ 1427483 h 1438861"/>
              <a:gd name="connsiteX1" fmla="*/ 15434 w 962590"/>
              <a:gd name="connsiteY1" fmla="*/ 912849 h 1438861"/>
              <a:gd name="connsiteX2" fmla="*/ 597924 w 962590"/>
              <a:gd name="connsiteY2" fmla="*/ 0 h 1438861"/>
              <a:gd name="connsiteX3" fmla="*/ 904434 w 962590"/>
              <a:gd name="connsiteY3" fmla="*/ 506449 h 1438861"/>
              <a:gd name="connsiteX4" fmla="*/ 962590 w 962590"/>
              <a:gd name="connsiteY4" fmla="*/ 1438861 h 1438861"/>
              <a:gd name="connsiteX5" fmla="*/ 104405 w 962590"/>
              <a:gd name="connsiteY5" fmla="*/ 1427483 h 1438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2590" h="1438861">
                <a:moveTo>
                  <a:pt x="104405" y="1427483"/>
                </a:moveTo>
                <a:cubicBezTo>
                  <a:pt x="181992" y="1207961"/>
                  <a:pt x="-62153" y="1132371"/>
                  <a:pt x="15434" y="912849"/>
                </a:cubicBezTo>
                <a:lnTo>
                  <a:pt x="597924" y="0"/>
                </a:lnTo>
                <a:cubicBezTo>
                  <a:pt x="648764" y="107080"/>
                  <a:pt x="848831" y="313644"/>
                  <a:pt x="904434" y="506449"/>
                </a:cubicBezTo>
                <a:lnTo>
                  <a:pt x="962590" y="1438861"/>
                </a:lnTo>
                <a:lnTo>
                  <a:pt x="104405" y="1427483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2B34CA8-608E-44F5-89D0-1BEEA279C555}"/>
              </a:ext>
            </a:extLst>
          </p:cNvPr>
          <p:cNvSpPr/>
          <p:nvPr/>
        </p:nvSpPr>
        <p:spPr bwMode="auto">
          <a:xfrm>
            <a:off x="8840570" y="5460040"/>
            <a:ext cx="355303" cy="901925"/>
          </a:xfrm>
          <a:prstGeom prst="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6AAD8E-1B61-4457-8FB5-253EAFCAFDFE}"/>
              </a:ext>
            </a:extLst>
          </p:cNvPr>
          <p:cNvSpPr/>
          <p:nvPr/>
        </p:nvSpPr>
        <p:spPr bwMode="auto">
          <a:xfrm>
            <a:off x="7574230" y="5460040"/>
            <a:ext cx="355303" cy="901925"/>
          </a:xfrm>
          <a:prstGeom prst="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58659F-7138-4730-89EE-18532CF35AE8}"/>
              </a:ext>
            </a:extLst>
          </p:cNvPr>
          <p:cNvSpPr/>
          <p:nvPr/>
        </p:nvSpPr>
        <p:spPr bwMode="auto">
          <a:xfrm>
            <a:off x="6276005" y="5460040"/>
            <a:ext cx="355303" cy="901925"/>
          </a:xfrm>
          <a:prstGeom prst="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" name="Moon 7">
            <a:extLst>
              <a:ext uri="{FF2B5EF4-FFF2-40B4-BE49-F238E27FC236}">
                <a16:creationId xmlns:a16="http://schemas.microsoft.com/office/drawing/2014/main" id="{A4465DA7-CA30-4D92-9535-A98B07DF35D9}"/>
              </a:ext>
            </a:extLst>
          </p:cNvPr>
          <p:cNvSpPr/>
          <p:nvPr/>
        </p:nvSpPr>
        <p:spPr bwMode="auto">
          <a:xfrm rot="21042650" flipH="1">
            <a:off x="8938814" y="5409179"/>
            <a:ext cx="308549" cy="847263"/>
          </a:xfrm>
          <a:custGeom>
            <a:avLst/>
            <a:gdLst>
              <a:gd name="connsiteX0" fmla="*/ 609601 w 609601"/>
              <a:gd name="connsiteY0" fmla="*/ 1924050 h 1924050"/>
              <a:gd name="connsiteX1" fmla="*/ 0 w 609601"/>
              <a:gd name="connsiteY1" fmla="*/ 962025 h 1924050"/>
              <a:gd name="connsiteX2" fmla="*/ 609601 w 609601"/>
              <a:gd name="connsiteY2" fmla="*/ 0 h 1924050"/>
              <a:gd name="connsiteX3" fmla="*/ 304801 w 609601"/>
              <a:gd name="connsiteY3" fmla="*/ 962025 h 1924050"/>
              <a:gd name="connsiteX4" fmla="*/ 609601 w 609601"/>
              <a:gd name="connsiteY4" fmla="*/ 1924050 h 1924050"/>
              <a:gd name="connsiteX0" fmla="*/ 616244 w 616244"/>
              <a:gd name="connsiteY0" fmla="*/ 1082278 h 1082278"/>
              <a:gd name="connsiteX1" fmla="*/ 6643 w 616244"/>
              <a:gd name="connsiteY1" fmla="*/ 120253 h 1082278"/>
              <a:gd name="connsiteX2" fmla="*/ 311444 w 616244"/>
              <a:gd name="connsiteY2" fmla="*/ 120253 h 1082278"/>
              <a:gd name="connsiteX3" fmla="*/ 616244 w 616244"/>
              <a:gd name="connsiteY3" fmla="*/ 1082278 h 1082278"/>
              <a:gd name="connsiteX0" fmla="*/ 618131 w 618131"/>
              <a:gd name="connsiteY0" fmla="*/ 1283587 h 1283587"/>
              <a:gd name="connsiteX1" fmla="*/ 8530 w 618131"/>
              <a:gd name="connsiteY1" fmla="*/ 321562 h 1283587"/>
              <a:gd name="connsiteX2" fmla="*/ 284756 w 618131"/>
              <a:gd name="connsiteY2" fmla="*/ 54862 h 1283587"/>
              <a:gd name="connsiteX3" fmla="*/ 618131 w 618131"/>
              <a:gd name="connsiteY3" fmla="*/ 1283587 h 1283587"/>
              <a:gd name="connsiteX0" fmla="*/ 616324 w 616324"/>
              <a:gd name="connsiteY0" fmla="*/ 1228727 h 1228727"/>
              <a:gd name="connsiteX1" fmla="*/ 6723 w 616324"/>
              <a:gd name="connsiteY1" fmla="*/ 266702 h 1228727"/>
              <a:gd name="connsiteX2" fmla="*/ 282949 w 616324"/>
              <a:gd name="connsiteY2" fmla="*/ 2 h 1228727"/>
              <a:gd name="connsiteX3" fmla="*/ 616324 w 616324"/>
              <a:gd name="connsiteY3" fmla="*/ 1228727 h 1228727"/>
              <a:gd name="connsiteX0" fmla="*/ 562772 w 562772"/>
              <a:gd name="connsiteY0" fmla="*/ 1331932 h 1331932"/>
              <a:gd name="connsiteX1" fmla="*/ 10321 w 562772"/>
              <a:gd name="connsiteY1" fmla="*/ 207982 h 1331932"/>
              <a:gd name="connsiteX2" fmla="*/ 229397 w 562772"/>
              <a:gd name="connsiteY2" fmla="*/ 103207 h 1331932"/>
              <a:gd name="connsiteX3" fmla="*/ 562772 w 562772"/>
              <a:gd name="connsiteY3" fmla="*/ 1331932 h 1331932"/>
              <a:gd name="connsiteX0" fmla="*/ 558354 w 558354"/>
              <a:gd name="connsiteY0" fmla="*/ 1292071 h 1292071"/>
              <a:gd name="connsiteX1" fmla="*/ 5903 w 558354"/>
              <a:gd name="connsiteY1" fmla="*/ 168121 h 1292071"/>
              <a:gd name="connsiteX2" fmla="*/ 224979 w 558354"/>
              <a:gd name="connsiteY2" fmla="*/ 63346 h 1292071"/>
              <a:gd name="connsiteX3" fmla="*/ 558354 w 558354"/>
              <a:gd name="connsiteY3" fmla="*/ 1292071 h 1292071"/>
              <a:gd name="connsiteX0" fmla="*/ 558354 w 558354"/>
              <a:gd name="connsiteY0" fmla="*/ 1228844 h 1228844"/>
              <a:gd name="connsiteX1" fmla="*/ 5903 w 558354"/>
              <a:gd name="connsiteY1" fmla="*/ 104894 h 1228844"/>
              <a:gd name="connsiteX2" fmla="*/ 224979 w 558354"/>
              <a:gd name="connsiteY2" fmla="*/ 119 h 1228844"/>
              <a:gd name="connsiteX3" fmla="*/ 558354 w 558354"/>
              <a:gd name="connsiteY3" fmla="*/ 1228844 h 1228844"/>
              <a:gd name="connsiteX0" fmla="*/ 558354 w 558354"/>
              <a:gd name="connsiteY0" fmla="*/ 1308907 h 1308907"/>
              <a:gd name="connsiteX1" fmla="*/ 5903 w 558354"/>
              <a:gd name="connsiteY1" fmla="*/ 118282 h 1308907"/>
              <a:gd name="connsiteX2" fmla="*/ 224979 w 558354"/>
              <a:gd name="connsiteY2" fmla="*/ 80182 h 1308907"/>
              <a:gd name="connsiteX3" fmla="*/ 558354 w 558354"/>
              <a:gd name="connsiteY3" fmla="*/ 1308907 h 1308907"/>
              <a:gd name="connsiteX0" fmla="*/ 558354 w 558354"/>
              <a:gd name="connsiteY0" fmla="*/ 1228816 h 1228816"/>
              <a:gd name="connsiteX1" fmla="*/ 5903 w 558354"/>
              <a:gd name="connsiteY1" fmla="*/ 38191 h 1228816"/>
              <a:gd name="connsiteX2" fmla="*/ 224979 w 558354"/>
              <a:gd name="connsiteY2" fmla="*/ 91 h 1228816"/>
              <a:gd name="connsiteX3" fmla="*/ 558354 w 558354"/>
              <a:gd name="connsiteY3" fmla="*/ 1228816 h 1228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354" h="1228816">
                <a:moveTo>
                  <a:pt x="558354" y="1228816"/>
                </a:moveTo>
                <a:cubicBezTo>
                  <a:pt x="221681" y="1228816"/>
                  <a:pt x="-43309" y="42954"/>
                  <a:pt x="5903" y="38191"/>
                </a:cubicBezTo>
                <a:cubicBezTo>
                  <a:pt x="55115" y="33428"/>
                  <a:pt x="180529" y="11204"/>
                  <a:pt x="224979" y="91"/>
                </a:cubicBezTo>
                <a:cubicBezTo>
                  <a:pt x="269429" y="-11022"/>
                  <a:pt x="366478" y="1001713"/>
                  <a:pt x="558354" y="1228816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Moon 7">
            <a:extLst>
              <a:ext uri="{FF2B5EF4-FFF2-40B4-BE49-F238E27FC236}">
                <a16:creationId xmlns:a16="http://schemas.microsoft.com/office/drawing/2014/main" id="{50AEC8C0-2A51-4AC9-A022-0A279A74F346}"/>
              </a:ext>
            </a:extLst>
          </p:cNvPr>
          <p:cNvSpPr/>
          <p:nvPr/>
        </p:nvSpPr>
        <p:spPr bwMode="auto">
          <a:xfrm rot="21042650" flipH="1">
            <a:off x="7667335" y="5409179"/>
            <a:ext cx="308549" cy="847263"/>
          </a:xfrm>
          <a:custGeom>
            <a:avLst/>
            <a:gdLst>
              <a:gd name="connsiteX0" fmla="*/ 609601 w 609601"/>
              <a:gd name="connsiteY0" fmla="*/ 1924050 h 1924050"/>
              <a:gd name="connsiteX1" fmla="*/ 0 w 609601"/>
              <a:gd name="connsiteY1" fmla="*/ 962025 h 1924050"/>
              <a:gd name="connsiteX2" fmla="*/ 609601 w 609601"/>
              <a:gd name="connsiteY2" fmla="*/ 0 h 1924050"/>
              <a:gd name="connsiteX3" fmla="*/ 304801 w 609601"/>
              <a:gd name="connsiteY3" fmla="*/ 962025 h 1924050"/>
              <a:gd name="connsiteX4" fmla="*/ 609601 w 609601"/>
              <a:gd name="connsiteY4" fmla="*/ 1924050 h 1924050"/>
              <a:gd name="connsiteX0" fmla="*/ 616244 w 616244"/>
              <a:gd name="connsiteY0" fmla="*/ 1082278 h 1082278"/>
              <a:gd name="connsiteX1" fmla="*/ 6643 w 616244"/>
              <a:gd name="connsiteY1" fmla="*/ 120253 h 1082278"/>
              <a:gd name="connsiteX2" fmla="*/ 311444 w 616244"/>
              <a:gd name="connsiteY2" fmla="*/ 120253 h 1082278"/>
              <a:gd name="connsiteX3" fmla="*/ 616244 w 616244"/>
              <a:gd name="connsiteY3" fmla="*/ 1082278 h 1082278"/>
              <a:gd name="connsiteX0" fmla="*/ 618131 w 618131"/>
              <a:gd name="connsiteY0" fmla="*/ 1283587 h 1283587"/>
              <a:gd name="connsiteX1" fmla="*/ 8530 w 618131"/>
              <a:gd name="connsiteY1" fmla="*/ 321562 h 1283587"/>
              <a:gd name="connsiteX2" fmla="*/ 284756 w 618131"/>
              <a:gd name="connsiteY2" fmla="*/ 54862 h 1283587"/>
              <a:gd name="connsiteX3" fmla="*/ 618131 w 618131"/>
              <a:gd name="connsiteY3" fmla="*/ 1283587 h 1283587"/>
              <a:gd name="connsiteX0" fmla="*/ 616324 w 616324"/>
              <a:gd name="connsiteY0" fmla="*/ 1228727 h 1228727"/>
              <a:gd name="connsiteX1" fmla="*/ 6723 w 616324"/>
              <a:gd name="connsiteY1" fmla="*/ 266702 h 1228727"/>
              <a:gd name="connsiteX2" fmla="*/ 282949 w 616324"/>
              <a:gd name="connsiteY2" fmla="*/ 2 h 1228727"/>
              <a:gd name="connsiteX3" fmla="*/ 616324 w 616324"/>
              <a:gd name="connsiteY3" fmla="*/ 1228727 h 1228727"/>
              <a:gd name="connsiteX0" fmla="*/ 562772 w 562772"/>
              <a:gd name="connsiteY0" fmla="*/ 1331932 h 1331932"/>
              <a:gd name="connsiteX1" fmla="*/ 10321 w 562772"/>
              <a:gd name="connsiteY1" fmla="*/ 207982 h 1331932"/>
              <a:gd name="connsiteX2" fmla="*/ 229397 w 562772"/>
              <a:gd name="connsiteY2" fmla="*/ 103207 h 1331932"/>
              <a:gd name="connsiteX3" fmla="*/ 562772 w 562772"/>
              <a:gd name="connsiteY3" fmla="*/ 1331932 h 1331932"/>
              <a:gd name="connsiteX0" fmla="*/ 558354 w 558354"/>
              <a:gd name="connsiteY0" fmla="*/ 1292071 h 1292071"/>
              <a:gd name="connsiteX1" fmla="*/ 5903 w 558354"/>
              <a:gd name="connsiteY1" fmla="*/ 168121 h 1292071"/>
              <a:gd name="connsiteX2" fmla="*/ 224979 w 558354"/>
              <a:gd name="connsiteY2" fmla="*/ 63346 h 1292071"/>
              <a:gd name="connsiteX3" fmla="*/ 558354 w 558354"/>
              <a:gd name="connsiteY3" fmla="*/ 1292071 h 1292071"/>
              <a:gd name="connsiteX0" fmla="*/ 558354 w 558354"/>
              <a:gd name="connsiteY0" fmla="*/ 1228844 h 1228844"/>
              <a:gd name="connsiteX1" fmla="*/ 5903 w 558354"/>
              <a:gd name="connsiteY1" fmla="*/ 104894 h 1228844"/>
              <a:gd name="connsiteX2" fmla="*/ 224979 w 558354"/>
              <a:gd name="connsiteY2" fmla="*/ 119 h 1228844"/>
              <a:gd name="connsiteX3" fmla="*/ 558354 w 558354"/>
              <a:gd name="connsiteY3" fmla="*/ 1228844 h 1228844"/>
              <a:gd name="connsiteX0" fmla="*/ 558354 w 558354"/>
              <a:gd name="connsiteY0" fmla="*/ 1308907 h 1308907"/>
              <a:gd name="connsiteX1" fmla="*/ 5903 w 558354"/>
              <a:gd name="connsiteY1" fmla="*/ 118282 h 1308907"/>
              <a:gd name="connsiteX2" fmla="*/ 224979 w 558354"/>
              <a:gd name="connsiteY2" fmla="*/ 80182 h 1308907"/>
              <a:gd name="connsiteX3" fmla="*/ 558354 w 558354"/>
              <a:gd name="connsiteY3" fmla="*/ 1308907 h 1308907"/>
              <a:gd name="connsiteX0" fmla="*/ 558354 w 558354"/>
              <a:gd name="connsiteY0" fmla="*/ 1228816 h 1228816"/>
              <a:gd name="connsiteX1" fmla="*/ 5903 w 558354"/>
              <a:gd name="connsiteY1" fmla="*/ 38191 h 1228816"/>
              <a:gd name="connsiteX2" fmla="*/ 224979 w 558354"/>
              <a:gd name="connsiteY2" fmla="*/ 91 h 1228816"/>
              <a:gd name="connsiteX3" fmla="*/ 558354 w 558354"/>
              <a:gd name="connsiteY3" fmla="*/ 1228816 h 1228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354" h="1228816">
                <a:moveTo>
                  <a:pt x="558354" y="1228816"/>
                </a:moveTo>
                <a:cubicBezTo>
                  <a:pt x="221681" y="1228816"/>
                  <a:pt x="-43309" y="42954"/>
                  <a:pt x="5903" y="38191"/>
                </a:cubicBezTo>
                <a:cubicBezTo>
                  <a:pt x="55115" y="33428"/>
                  <a:pt x="180529" y="11204"/>
                  <a:pt x="224979" y="91"/>
                </a:cubicBezTo>
                <a:cubicBezTo>
                  <a:pt x="269429" y="-11022"/>
                  <a:pt x="366478" y="1001713"/>
                  <a:pt x="558354" y="1228816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Moon 7">
            <a:extLst>
              <a:ext uri="{FF2B5EF4-FFF2-40B4-BE49-F238E27FC236}">
                <a16:creationId xmlns:a16="http://schemas.microsoft.com/office/drawing/2014/main" id="{1C683548-5F96-4563-B13B-6218706A8957}"/>
              </a:ext>
            </a:extLst>
          </p:cNvPr>
          <p:cNvSpPr/>
          <p:nvPr/>
        </p:nvSpPr>
        <p:spPr bwMode="auto">
          <a:xfrm rot="21042650" flipH="1">
            <a:off x="6395855" y="5409179"/>
            <a:ext cx="308549" cy="847263"/>
          </a:xfrm>
          <a:custGeom>
            <a:avLst/>
            <a:gdLst>
              <a:gd name="connsiteX0" fmla="*/ 609601 w 609601"/>
              <a:gd name="connsiteY0" fmla="*/ 1924050 h 1924050"/>
              <a:gd name="connsiteX1" fmla="*/ 0 w 609601"/>
              <a:gd name="connsiteY1" fmla="*/ 962025 h 1924050"/>
              <a:gd name="connsiteX2" fmla="*/ 609601 w 609601"/>
              <a:gd name="connsiteY2" fmla="*/ 0 h 1924050"/>
              <a:gd name="connsiteX3" fmla="*/ 304801 w 609601"/>
              <a:gd name="connsiteY3" fmla="*/ 962025 h 1924050"/>
              <a:gd name="connsiteX4" fmla="*/ 609601 w 609601"/>
              <a:gd name="connsiteY4" fmla="*/ 1924050 h 1924050"/>
              <a:gd name="connsiteX0" fmla="*/ 616244 w 616244"/>
              <a:gd name="connsiteY0" fmla="*/ 1082278 h 1082278"/>
              <a:gd name="connsiteX1" fmla="*/ 6643 w 616244"/>
              <a:gd name="connsiteY1" fmla="*/ 120253 h 1082278"/>
              <a:gd name="connsiteX2" fmla="*/ 311444 w 616244"/>
              <a:gd name="connsiteY2" fmla="*/ 120253 h 1082278"/>
              <a:gd name="connsiteX3" fmla="*/ 616244 w 616244"/>
              <a:gd name="connsiteY3" fmla="*/ 1082278 h 1082278"/>
              <a:gd name="connsiteX0" fmla="*/ 618131 w 618131"/>
              <a:gd name="connsiteY0" fmla="*/ 1283587 h 1283587"/>
              <a:gd name="connsiteX1" fmla="*/ 8530 w 618131"/>
              <a:gd name="connsiteY1" fmla="*/ 321562 h 1283587"/>
              <a:gd name="connsiteX2" fmla="*/ 284756 w 618131"/>
              <a:gd name="connsiteY2" fmla="*/ 54862 h 1283587"/>
              <a:gd name="connsiteX3" fmla="*/ 618131 w 618131"/>
              <a:gd name="connsiteY3" fmla="*/ 1283587 h 1283587"/>
              <a:gd name="connsiteX0" fmla="*/ 616324 w 616324"/>
              <a:gd name="connsiteY0" fmla="*/ 1228727 h 1228727"/>
              <a:gd name="connsiteX1" fmla="*/ 6723 w 616324"/>
              <a:gd name="connsiteY1" fmla="*/ 266702 h 1228727"/>
              <a:gd name="connsiteX2" fmla="*/ 282949 w 616324"/>
              <a:gd name="connsiteY2" fmla="*/ 2 h 1228727"/>
              <a:gd name="connsiteX3" fmla="*/ 616324 w 616324"/>
              <a:gd name="connsiteY3" fmla="*/ 1228727 h 1228727"/>
              <a:gd name="connsiteX0" fmla="*/ 562772 w 562772"/>
              <a:gd name="connsiteY0" fmla="*/ 1331932 h 1331932"/>
              <a:gd name="connsiteX1" fmla="*/ 10321 w 562772"/>
              <a:gd name="connsiteY1" fmla="*/ 207982 h 1331932"/>
              <a:gd name="connsiteX2" fmla="*/ 229397 w 562772"/>
              <a:gd name="connsiteY2" fmla="*/ 103207 h 1331932"/>
              <a:gd name="connsiteX3" fmla="*/ 562772 w 562772"/>
              <a:gd name="connsiteY3" fmla="*/ 1331932 h 1331932"/>
              <a:gd name="connsiteX0" fmla="*/ 558354 w 558354"/>
              <a:gd name="connsiteY0" fmla="*/ 1292071 h 1292071"/>
              <a:gd name="connsiteX1" fmla="*/ 5903 w 558354"/>
              <a:gd name="connsiteY1" fmla="*/ 168121 h 1292071"/>
              <a:gd name="connsiteX2" fmla="*/ 224979 w 558354"/>
              <a:gd name="connsiteY2" fmla="*/ 63346 h 1292071"/>
              <a:gd name="connsiteX3" fmla="*/ 558354 w 558354"/>
              <a:gd name="connsiteY3" fmla="*/ 1292071 h 1292071"/>
              <a:gd name="connsiteX0" fmla="*/ 558354 w 558354"/>
              <a:gd name="connsiteY0" fmla="*/ 1228844 h 1228844"/>
              <a:gd name="connsiteX1" fmla="*/ 5903 w 558354"/>
              <a:gd name="connsiteY1" fmla="*/ 104894 h 1228844"/>
              <a:gd name="connsiteX2" fmla="*/ 224979 w 558354"/>
              <a:gd name="connsiteY2" fmla="*/ 119 h 1228844"/>
              <a:gd name="connsiteX3" fmla="*/ 558354 w 558354"/>
              <a:gd name="connsiteY3" fmla="*/ 1228844 h 1228844"/>
              <a:gd name="connsiteX0" fmla="*/ 558354 w 558354"/>
              <a:gd name="connsiteY0" fmla="*/ 1308907 h 1308907"/>
              <a:gd name="connsiteX1" fmla="*/ 5903 w 558354"/>
              <a:gd name="connsiteY1" fmla="*/ 118282 h 1308907"/>
              <a:gd name="connsiteX2" fmla="*/ 224979 w 558354"/>
              <a:gd name="connsiteY2" fmla="*/ 80182 h 1308907"/>
              <a:gd name="connsiteX3" fmla="*/ 558354 w 558354"/>
              <a:gd name="connsiteY3" fmla="*/ 1308907 h 1308907"/>
              <a:gd name="connsiteX0" fmla="*/ 558354 w 558354"/>
              <a:gd name="connsiteY0" fmla="*/ 1228816 h 1228816"/>
              <a:gd name="connsiteX1" fmla="*/ 5903 w 558354"/>
              <a:gd name="connsiteY1" fmla="*/ 38191 h 1228816"/>
              <a:gd name="connsiteX2" fmla="*/ 224979 w 558354"/>
              <a:gd name="connsiteY2" fmla="*/ 91 h 1228816"/>
              <a:gd name="connsiteX3" fmla="*/ 558354 w 558354"/>
              <a:gd name="connsiteY3" fmla="*/ 1228816 h 1228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354" h="1228816">
                <a:moveTo>
                  <a:pt x="558354" y="1228816"/>
                </a:moveTo>
                <a:cubicBezTo>
                  <a:pt x="221681" y="1228816"/>
                  <a:pt x="-43309" y="42954"/>
                  <a:pt x="5903" y="38191"/>
                </a:cubicBezTo>
                <a:cubicBezTo>
                  <a:pt x="55115" y="33428"/>
                  <a:pt x="180529" y="11204"/>
                  <a:pt x="224979" y="91"/>
                </a:cubicBezTo>
                <a:cubicBezTo>
                  <a:pt x="269429" y="-11022"/>
                  <a:pt x="366478" y="1001713"/>
                  <a:pt x="558354" y="1228816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631AFF-63C8-457D-8BFC-F696C21DF62B}"/>
              </a:ext>
            </a:extLst>
          </p:cNvPr>
          <p:cNvSpPr/>
          <p:nvPr/>
        </p:nvSpPr>
        <p:spPr bwMode="auto">
          <a:xfrm rot="19422704" flipH="1">
            <a:off x="5927691" y="4910379"/>
            <a:ext cx="104320" cy="1142848"/>
          </a:xfrm>
          <a:custGeom>
            <a:avLst/>
            <a:gdLst>
              <a:gd name="connsiteX0" fmla="*/ 0 w 93225"/>
              <a:gd name="connsiteY0" fmla="*/ 0 h 1190488"/>
              <a:gd name="connsiteX1" fmla="*/ 93225 w 93225"/>
              <a:gd name="connsiteY1" fmla="*/ 0 h 1190488"/>
              <a:gd name="connsiteX2" fmla="*/ 93225 w 93225"/>
              <a:gd name="connsiteY2" fmla="*/ 1190488 h 1190488"/>
              <a:gd name="connsiteX3" fmla="*/ 0 w 93225"/>
              <a:gd name="connsiteY3" fmla="*/ 1190488 h 1190488"/>
              <a:gd name="connsiteX4" fmla="*/ 0 w 93225"/>
              <a:gd name="connsiteY4" fmla="*/ 0 h 1190488"/>
              <a:gd name="connsiteX0" fmla="*/ 48743 w 93225"/>
              <a:gd name="connsiteY0" fmla="*/ 0 h 1212388"/>
              <a:gd name="connsiteX1" fmla="*/ 93225 w 93225"/>
              <a:gd name="connsiteY1" fmla="*/ 21900 h 1212388"/>
              <a:gd name="connsiteX2" fmla="*/ 93225 w 93225"/>
              <a:gd name="connsiteY2" fmla="*/ 1212388 h 1212388"/>
              <a:gd name="connsiteX3" fmla="*/ 0 w 93225"/>
              <a:gd name="connsiteY3" fmla="*/ 1212388 h 1212388"/>
              <a:gd name="connsiteX4" fmla="*/ 48743 w 93225"/>
              <a:gd name="connsiteY4" fmla="*/ 0 h 1212388"/>
              <a:gd name="connsiteX0" fmla="*/ 0 w 109068"/>
              <a:gd name="connsiteY0" fmla="*/ 16261 h 1190488"/>
              <a:gd name="connsiteX1" fmla="*/ 109068 w 109068"/>
              <a:gd name="connsiteY1" fmla="*/ 0 h 1190488"/>
              <a:gd name="connsiteX2" fmla="*/ 109068 w 109068"/>
              <a:gd name="connsiteY2" fmla="*/ 1190488 h 1190488"/>
              <a:gd name="connsiteX3" fmla="*/ 15843 w 109068"/>
              <a:gd name="connsiteY3" fmla="*/ 1190488 h 1190488"/>
              <a:gd name="connsiteX4" fmla="*/ 0 w 109068"/>
              <a:gd name="connsiteY4" fmla="*/ 16261 h 1190488"/>
              <a:gd name="connsiteX0" fmla="*/ 0 w 109068"/>
              <a:gd name="connsiteY0" fmla="*/ 20636 h 1194863"/>
              <a:gd name="connsiteX1" fmla="*/ 45661 w 109068"/>
              <a:gd name="connsiteY1" fmla="*/ 0 h 1194863"/>
              <a:gd name="connsiteX2" fmla="*/ 109068 w 109068"/>
              <a:gd name="connsiteY2" fmla="*/ 1194863 h 1194863"/>
              <a:gd name="connsiteX3" fmla="*/ 15843 w 109068"/>
              <a:gd name="connsiteY3" fmla="*/ 1194863 h 1194863"/>
              <a:gd name="connsiteX4" fmla="*/ 0 w 109068"/>
              <a:gd name="connsiteY4" fmla="*/ 20636 h 119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068" h="1194863">
                <a:moveTo>
                  <a:pt x="0" y="20636"/>
                </a:moveTo>
                <a:lnTo>
                  <a:pt x="45661" y="0"/>
                </a:lnTo>
                <a:lnTo>
                  <a:pt x="109068" y="1194863"/>
                </a:lnTo>
                <a:lnTo>
                  <a:pt x="15843" y="1194863"/>
                </a:lnTo>
                <a:lnTo>
                  <a:pt x="0" y="20636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E1FEFB9-DAC8-4539-8ACF-2544B19629C9}"/>
              </a:ext>
            </a:extLst>
          </p:cNvPr>
          <p:cNvSpPr/>
          <p:nvPr/>
        </p:nvSpPr>
        <p:spPr bwMode="auto">
          <a:xfrm>
            <a:off x="6543931" y="2284677"/>
            <a:ext cx="355138" cy="2637024"/>
          </a:xfrm>
          <a:custGeom>
            <a:avLst/>
            <a:gdLst>
              <a:gd name="connsiteX0" fmla="*/ 0 w 371302"/>
              <a:gd name="connsiteY0" fmla="*/ 2781992 h 2787534"/>
              <a:gd name="connsiteX1" fmla="*/ 88669 w 371302"/>
              <a:gd name="connsiteY1" fmla="*/ 0 h 2787534"/>
              <a:gd name="connsiteX2" fmla="*/ 310342 w 371302"/>
              <a:gd name="connsiteY2" fmla="*/ 0 h 2787534"/>
              <a:gd name="connsiteX3" fmla="*/ 371302 w 371302"/>
              <a:gd name="connsiteY3" fmla="*/ 2787534 h 2787534"/>
              <a:gd name="connsiteX4" fmla="*/ 0 w 371302"/>
              <a:gd name="connsiteY4" fmla="*/ 2781992 h 2787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1302" h="2787534">
                <a:moveTo>
                  <a:pt x="0" y="2781992"/>
                </a:moveTo>
                <a:lnTo>
                  <a:pt x="88669" y="0"/>
                </a:lnTo>
                <a:lnTo>
                  <a:pt x="310342" y="0"/>
                </a:lnTo>
                <a:lnTo>
                  <a:pt x="371302" y="2787534"/>
                </a:lnTo>
                <a:lnTo>
                  <a:pt x="0" y="2781992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59C697C-1B3E-45CD-9C4F-27F47452B3F3}"/>
              </a:ext>
            </a:extLst>
          </p:cNvPr>
          <p:cNvSpPr/>
          <p:nvPr/>
        </p:nvSpPr>
        <p:spPr bwMode="auto">
          <a:xfrm rot="16200000" flipH="1">
            <a:off x="5851417" y="4276767"/>
            <a:ext cx="140688" cy="1419095"/>
          </a:xfrm>
          <a:prstGeom prst="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11686C-CA38-454B-9EAB-74AF0FAA45BA}"/>
              </a:ext>
            </a:extLst>
          </p:cNvPr>
          <p:cNvSpPr/>
          <p:nvPr/>
        </p:nvSpPr>
        <p:spPr bwMode="auto">
          <a:xfrm rot="16200000" flipH="1">
            <a:off x="5861076" y="4355967"/>
            <a:ext cx="89245" cy="1257025"/>
          </a:xfrm>
          <a:custGeom>
            <a:avLst/>
            <a:gdLst>
              <a:gd name="connsiteX0" fmla="*/ 0 w 97039"/>
              <a:gd name="connsiteY0" fmla="*/ 0 h 1213464"/>
              <a:gd name="connsiteX1" fmla="*/ 97039 w 97039"/>
              <a:gd name="connsiteY1" fmla="*/ 0 h 1213464"/>
              <a:gd name="connsiteX2" fmla="*/ 97039 w 97039"/>
              <a:gd name="connsiteY2" fmla="*/ 1213464 h 1213464"/>
              <a:gd name="connsiteX3" fmla="*/ 0 w 97039"/>
              <a:gd name="connsiteY3" fmla="*/ 1213464 h 1213464"/>
              <a:gd name="connsiteX4" fmla="*/ 0 w 97039"/>
              <a:gd name="connsiteY4" fmla="*/ 0 h 1213464"/>
              <a:gd name="connsiteX0" fmla="*/ 0 w 97039"/>
              <a:gd name="connsiteY0" fmla="*/ 0 h 1247057"/>
              <a:gd name="connsiteX1" fmla="*/ 97039 w 97039"/>
              <a:gd name="connsiteY1" fmla="*/ 0 h 1247057"/>
              <a:gd name="connsiteX2" fmla="*/ 97039 w 97039"/>
              <a:gd name="connsiteY2" fmla="*/ 1213464 h 1247057"/>
              <a:gd name="connsiteX3" fmla="*/ 22397 w 97039"/>
              <a:gd name="connsiteY3" fmla="*/ 1247057 h 1247057"/>
              <a:gd name="connsiteX4" fmla="*/ 0 w 97039"/>
              <a:gd name="connsiteY4" fmla="*/ 0 h 1247057"/>
              <a:gd name="connsiteX0" fmla="*/ 0 w 93307"/>
              <a:gd name="connsiteY0" fmla="*/ 0 h 1314237"/>
              <a:gd name="connsiteX1" fmla="*/ 93307 w 93307"/>
              <a:gd name="connsiteY1" fmla="*/ 67180 h 1314237"/>
              <a:gd name="connsiteX2" fmla="*/ 93307 w 93307"/>
              <a:gd name="connsiteY2" fmla="*/ 1280644 h 1314237"/>
              <a:gd name="connsiteX3" fmla="*/ 18665 w 93307"/>
              <a:gd name="connsiteY3" fmla="*/ 1314237 h 1314237"/>
              <a:gd name="connsiteX4" fmla="*/ 0 w 93307"/>
              <a:gd name="connsiteY4" fmla="*/ 0 h 1314237"/>
              <a:gd name="connsiteX0" fmla="*/ 0 w 93307"/>
              <a:gd name="connsiteY0" fmla="*/ 0 h 1314237"/>
              <a:gd name="connsiteX1" fmla="*/ 82111 w 93307"/>
              <a:gd name="connsiteY1" fmla="*/ 33590 h 1314237"/>
              <a:gd name="connsiteX2" fmla="*/ 93307 w 93307"/>
              <a:gd name="connsiteY2" fmla="*/ 1280644 h 1314237"/>
              <a:gd name="connsiteX3" fmla="*/ 18665 w 93307"/>
              <a:gd name="connsiteY3" fmla="*/ 1314237 h 1314237"/>
              <a:gd name="connsiteX4" fmla="*/ 0 w 93307"/>
              <a:gd name="connsiteY4" fmla="*/ 0 h 1314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307" h="1314237">
                <a:moveTo>
                  <a:pt x="0" y="0"/>
                </a:moveTo>
                <a:lnTo>
                  <a:pt x="82111" y="33590"/>
                </a:lnTo>
                <a:lnTo>
                  <a:pt x="93307" y="1280644"/>
                </a:lnTo>
                <a:lnTo>
                  <a:pt x="18665" y="131423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Moon 7">
            <a:extLst>
              <a:ext uri="{FF2B5EF4-FFF2-40B4-BE49-F238E27FC236}">
                <a16:creationId xmlns:a16="http://schemas.microsoft.com/office/drawing/2014/main" id="{2B499141-AF28-4B6C-89EF-72AD7F10559A}"/>
              </a:ext>
            </a:extLst>
          </p:cNvPr>
          <p:cNvSpPr/>
          <p:nvPr/>
        </p:nvSpPr>
        <p:spPr bwMode="auto">
          <a:xfrm rot="21222186" flipH="1">
            <a:off x="6625485" y="2255947"/>
            <a:ext cx="253442" cy="1467024"/>
          </a:xfrm>
          <a:custGeom>
            <a:avLst/>
            <a:gdLst>
              <a:gd name="connsiteX0" fmla="*/ 609601 w 609601"/>
              <a:gd name="connsiteY0" fmla="*/ 1924050 h 1924050"/>
              <a:gd name="connsiteX1" fmla="*/ 0 w 609601"/>
              <a:gd name="connsiteY1" fmla="*/ 962025 h 1924050"/>
              <a:gd name="connsiteX2" fmla="*/ 609601 w 609601"/>
              <a:gd name="connsiteY2" fmla="*/ 0 h 1924050"/>
              <a:gd name="connsiteX3" fmla="*/ 304801 w 609601"/>
              <a:gd name="connsiteY3" fmla="*/ 962025 h 1924050"/>
              <a:gd name="connsiteX4" fmla="*/ 609601 w 609601"/>
              <a:gd name="connsiteY4" fmla="*/ 1924050 h 1924050"/>
              <a:gd name="connsiteX0" fmla="*/ 616244 w 616244"/>
              <a:gd name="connsiteY0" fmla="*/ 1082278 h 1082278"/>
              <a:gd name="connsiteX1" fmla="*/ 6643 w 616244"/>
              <a:gd name="connsiteY1" fmla="*/ 120253 h 1082278"/>
              <a:gd name="connsiteX2" fmla="*/ 311444 w 616244"/>
              <a:gd name="connsiteY2" fmla="*/ 120253 h 1082278"/>
              <a:gd name="connsiteX3" fmla="*/ 616244 w 616244"/>
              <a:gd name="connsiteY3" fmla="*/ 1082278 h 1082278"/>
              <a:gd name="connsiteX0" fmla="*/ 618131 w 618131"/>
              <a:gd name="connsiteY0" fmla="*/ 1283587 h 1283587"/>
              <a:gd name="connsiteX1" fmla="*/ 8530 w 618131"/>
              <a:gd name="connsiteY1" fmla="*/ 321562 h 1283587"/>
              <a:gd name="connsiteX2" fmla="*/ 284756 w 618131"/>
              <a:gd name="connsiteY2" fmla="*/ 54862 h 1283587"/>
              <a:gd name="connsiteX3" fmla="*/ 618131 w 618131"/>
              <a:gd name="connsiteY3" fmla="*/ 1283587 h 1283587"/>
              <a:gd name="connsiteX0" fmla="*/ 616324 w 616324"/>
              <a:gd name="connsiteY0" fmla="*/ 1228727 h 1228727"/>
              <a:gd name="connsiteX1" fmla="*/ 6723 w 616324"/>
              <a:gd name="connsiteY1" fmla="*/ 266702 h 1228727"/>
              <a:gd name="connsiteX2" fmla="*/ 282949 w 616324"/>
              <a:gd name="connsiteY2" fmla="*/ 2 h 1228727"/>
              <a:gd name="connsiteX3" fmla="*/ 616324 w 616324"/>
              <a:gd name="connsiteY3" fmla="*/ 1228727 h 1228727"/>
              <a:gd name="connsiteX0" fmla="*/ 562772 w 562772"/>
              <a:gd name="connsiteY0" fmla="*/ 1331932 h 1331932"/>
              <a:gd name="connsiteX1" fmla="*/ 10321 w 562772"/>
              <a:gd name="connsiteY1" fmla="*/ 207982 h 1331932"/>
              <a:gd name="connsiteX2" fmla="*/ 229397 w 562772"/>
              <a:gd name="connsiteY2" fmla="*/ 103207 h 1331932"/>
              <a:gd name="connsiteX3" fmla="*/ 562772 w 562772"/>
              <a:gd name="connsiteY3" fmla="*/ 1331932 h 1331932"/>
              <a:gd name="connsiteX0" fmla="*/ 558354 w 558354"/>
              <a:gd name="connsiteY0" fmla="*/ 1292071 h 1292071"/>
              <a:gd name="connsiteX1" fmla="*/ 5903 w 558354"/>
              <a:gd name="connsiteY1" fmla="*/ 168121 h 1292071"/>
              <a:gd name="connsiteX2" fmla="*/ 224979 w 558354"/>
              <a:gd name="connsiteY2" fmla="*/ 63346 h 1292071"/>
              <a:gd name="connsiteX3" fmla="*/ 558354 w 558354"/>
              <a:gd name="connsiteY3" fmla="*/ 1292071 h 1292071"/>
              <a:gd name="connsiteX0" fmla="*/ 558354 w 558354"/>
              <a:gd name="connsiteY0" fmla="*/ 1228844 h 1228844"/>
              <a:gd name="connsiteX1" fmla="*/ 5903 w 558354"/>
              <a:gd name="connsiteY1" fmla="*/ 104894 h 1228844"/>
              <a:gd name="connsiteX2" fmla="*/ 224979 w 558354"/>
              <a:gd name="connsiteY2" fmla="*/ 119 h 1228844"/>
              <a:gd name="connsiteX3" fmla="*/ 558354 w 558354"/>
              <a:gd name="connsiteY3" fmla="*/ 1228844 h 1228844"/>
              <a:gd name="connsiteX0" fmla="*/ 558354 w 558354"/>
              <a:gd name="connsiteY0" fmla="*/ 1308907 h 1308907"/>
              <a:gd name="connsiteX1" fmla="*/ 5903 w 558354"/>
              <a:gd name="connsiteY1" fmla="*/ 118282 h 1308907"/>
              <a:gd name="connsiteX2" fmla="*/ 224979 w 558354"/>
              <a:gd name="connsiteY2" fmla="*/ 80182 h 1308907"/>
              <a:gd name="connsiteX3" fmla="*/ 558354 w 558354"/>
              <a:gd name="connsiteY3" fmla="*/ 1308907 h 1308907"/>
              <a:gd name="connsiteX0" fmla="*/ 558354 w 558354"/>
              <a:gd name="connsiteY0" fmla="*/ 1228816 h 1228816"/>
              <a:gd name="connsiteX1" fmla="*/ 5903 w 558354"/>
              <a:gd name="connsiteY1" fmla="*/ 38191 h 1228816"/>
              <a:gd name="connsiteX2" fmla="*/ 224979 w 558354"/>
              <a:gd name="connsiteY2" fmla="*/ 91 h 1228816"/>
              <a:gd name="connsiteX3" fmla="*/ 558354 w 558354"/>
              <a:gd name="connsiteY3" fmla="*/ 1228816 h 1228816"/>
              <a:gd name="connsiteX0" fmla="*/ 561086 w 561086"/>
              <a:gd name="connsiteY0" fmla="*/ 1305519 h 1305519"/>
              <a:gd name="connsiteX1" fmla="*/ 8635 w 561086"/>
              <a:gd name="connsiteY1" fmla="*/ 114894 h 1305519"/>
              <a:gd name="connsiteX2" fmla="*/ 227220 w 561086"/>
              <a:gd name="connsiteY2" fmla="*/ 39215 h 1305519"/>
              <a:gd name="connsiteX3" fmla="*/ 561086 w 561086"/>
              <a:gd name="connsiteY3" fmla="*/ 1305519 h 1305519"/>
              <a:gd name="connsiteX0" fmla="*/ 576351 w 576351"/>
              <a:gd name="connsiteY0" fmla="*/ 1419596 h 1419596"/>
              <a:gd name="connsiteX1" fmla="*/ 9858 w 576351"/>
              <a:gd name="connsiteY1" fmla="*/ 162281 h 1419596"/>
              <a:gd name="connsiteX2" fmla="*/ 242485 w 576351"/>
              <a:gd name="connsiteY2" fmla="*/ 153292 h 1419596"/>
              <a:gd name="connsiteX3" fmla="*/ 576351 w 576351"/>
              <a:gd name="connsiteY3" fmla="*/ 1419596 h 1419596"/>
              <a:gd name="connsiteX0" fmla="*/ 571312 w 571312"/>
              <a:gd name="connsiteY0" fmla="*/ 1358354 h 1358354"/>
              <a:gd name="connsiteX1" fmla="*/ 4819 w 571312"/>
              <a:gd name="connsiteY1" fmla="*/ 101039 h 1358354"/>
              <a:gd name="connsiteX2" fmla="*/ 237446 w 571312"/>
              <a:gd name="connsiteY2" fmla="*/ 92050 h 1358354"/>
              <a:gd name="connsiteX3" fmla="*/ 571312 w 571312"/>
              <a:gd name="connsiteY3" fmla="*/ 1358354 h 1358354"/>
              <a:gd name="connsiteX0" fmla="*/ 571312 w 571312"/>
              <a:gd name="connsiteY0" fmla="*/ 1266979 h 1266979"/>
              <a:gd name="connsiteX1" fmla="*/ 4819 w 571312"/>
              <a:gd name="connsiteY1" fmla="*/ 9664 h 1266979"/>
              <a:gd name="connsiteX2" fmla="*/ 237446 w 571312"/>
              <a:gd name="connsiteY2" fmla="*/ 675 h 1266979"/>
              <a:gd name="connsiteX3" fmla="*/ 571312 w 571312"/>
              <a:gd name="connsiteY3" fmla="*/ 1266979 h 126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312" h="1266979">
                <a:moveTo>
                  <a:pt x="571312" y="1266979"/>
                </a:moveTo>
                <a:cubicBezTo>
                  <a:pt x="234639" y="1266979"/>
                  <a:pt x="-40053" y="15195"/>
                  <a:pt x="4819" y="9664"/>
                </a:cubicBezTo>
                <a:cubicBezTo>
                  <a:pt x="49691" y="4133"/>
                  <a:pt x="166435" y="-2078"/>
                  <a:pt x="237446" y="675"/>
                </a:cubicBezTo>
                <a:cubicBezTo>
                  <a:pt x="308457" y="3428"/>
                  <a:pt x="379436" y="1039876"/>
                  <a:pt x="571312" y="1266979"/>
                </a:cubicBezTo>
                <a:close/>
              </a:path>
            </a:pathLst>
          </a:custGeom>
          <a:solidFill>
            <a:schemeClr val="bg1">
              <a:lumMod val="95000"/>
              <a:alpha val="34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90A979BB-19DD-4053-9F1B-71E8C69219F5}"/>
              </a:ext>
            </a:extLst>
          </p:cNvPr>
          <p:cNvSpPr/>
          <p:nvPr/>
        </p:nvSpPr>
        <p:spPr bwMode="auto">
          <a:xfrm>
            <a:off x="6906137" y="3280864"/>
            <a:ext cx="1332146" cy="962437"/>
          </a:xfrm>
          <a:custGeom>
            <a:avLst/>
            <a:gdLst>
              <a:gd name="connsiteX0" fmla="*/ 0 w 1392767"/>
              <a:gd name="connsiteY0" fmla="*/ 960967 h 960967"/>
              <a:gd name="connsiteX1" fmla="*/ 38100 w 1392767"/>
              <a:gd name="connsiteY1" fmla="*/ 0 h 960967"/>
              <a:gd name="connsiteX2" fmla="*/ 1392767 w 1392767"/>
              <a:gd name="connsiteY2" fmla="*/ 0 h 960967"/>
              <a:gd name="connsiteX3" fmla="*/ 1392767 w 1392767"/>
              <a:gd name="connsiteY3" fmla="*/ 524934 h 960967"/>
              <a:gd name="connsiteX0" fmla="*/ 72691 w 1465458"/>
              <a:gd name="connsiteY0" fmla="*/ 1055756 h 1055756"/>
              <a:gd name="connsiteX1" fmla="*/ 110791 w 1465458"/>
              <a:gd name="connsiteY1" fmla="*/ 94789 h 1055756"/>
              <a:gd name="connsiteX2" fmla="*/ 1465458 w 1465458"/>
              <a:gd name="connsiteY2" fmla="*/ 94789 h 1055756"/>
              <a:gd name="connsiteX3" fmla="*/ 1465458 w 1465458"/>
              <a:gd name="connsiteY3" fmla="*/ 619723 h 1055756"/>
              <a:gd name="connsiteX0" fmla="*/ 72691 w 1465458"/>
              <a:gd name="connsiteY0" fmla="*/ 1086705 h 1086705"/>
              <a:gd name="connsiteX1" fmla="*/ 110791 w 1465458"/>
              <a:gd name="connsiteY1" fmla="*/ 125738 h 1086705"/>
              <a:gd name="connsiteX2" fmla="*/ 1465458 w 1465458"/>
              <a:gd name="connsiteY2" fmla="*/ 125738 h 1086705"/>
              <a:gd name="connsiteX3" fmla="*/ 1465458 w 1465458"/>
              <a:gd name="connsiteY3" fmla="*/ 650672 h 1086705"/>
              <a:gd name="connsiteX0" fmla="*/ 72691 w 1465469"/>
              <a:gd name="connsiteY0" fmla="*/ 1050115 h 1050115"/>
              <a:gd name="connsiteX1" fmla="*/ 110791 w 1465469"/>
              <a:gd name="connsiteY1" fmla="*/ 89148 h 1050115"/>
              <a:gd name="connsiteX2" fmla="*/ 1465458 w 1465469"/>
              <a:gd name="connsiteY2" fmla="*/ 89148 h 1050115"/>
              <a:gd name="connsiteX3" fmla="*/ 1465458 w 1465469"/>
              <a:gd name="connsiteY3" fmla="*/ 614082 h 1050115"/>
              <a:gd name="connsiteX0" fmla="*/ 0 w 1392777"/>
              <a:gd name="connsiteY0" fmla="*/ 1003129 h 1003129"/>
              <a:gd name="connsiteX1" fmla="*/ 38100 w 1392777"/>
              <a:gd name="connsiteY1" fmla="*/ 42162 h 1003129"/>
              <a:gd name="connsiteX2" fmla="*/ 1392767 w 1392777"/>
              <a:gd name="connsiteY2" fmla="*/ 42162 h 1003129"/>
              <a:gd name="connsiteX3" fmla="*/ 1392767 w 1392777"/>
              <a:gd name="connsiteY3" fmla="*/ 567096 h 1003129"/>
              <a:gd name="connsiteX0" fmla="*/ 72691 w 1465469"/>
              <a:gd name="connsiteY0" fmla="*/ 1068256 h 1068256"/>
              <a:gd name="connsiteX1" fmla="*/ 110791 w 1465469"/>
              <a:gd name="connsiteY1" fmla="*/ 90356 h 1068256"/>
              <a:gd name="connsiteX2" fmla="*/ 1465458 w 1465469"/>
              <a:gd name="connsiteY2" fmla="*/ 90356 h 1068256"/>
              <a:gd name="connsiteX3" fmla="*/ 1465458 w 1465469"/>
              <a:gd name="connsiteY3" fmla="*/ 615290 h 1068256"/>
              <a:gd name="connsiteX0" fmla="*/ 0 w 1392777"/>
              <a:gd name="connsiteY0" fmla="*/ 1019605 h 1019605"/>
              <a:gd name="connsiteX1" fmla="*/ 38100 w 1392777"/>
              <a:gd name="connsiteY1" fmla="*/ 41705 h 1019605"/>
              <a:gd name="connsiteX2" fmla="*/ 1392767 w 1392777"/>
              <a:gd name="connsiteY2" fmla="*/ 41705 h 1019605"/>
              <a:gd name="connsiteX3" fmla="*/ 1392767 w 1392777"/>
              <a:gd name="connsiteY3" fmla="*/ 566639 h 1019605"/>
              <a:gd name="connsiteX0" fmla="*/ 0 w 1392777"/>
              <a:gd name="connsiteY0" fmla="*/ 1006241 h 1006241"/>
              <a:gd name="connsiteX1" fmla="*/ 38100 w 1392777"/>
              <a:gd name="connsiteY1" fmla="*/ 28341 h 1006241"/>
              <a:gd name="connsiteX2" fmla="*/ 1392767 w 1392777"/>
              <a:gd name="connsiteY2" fmla="*/ 28341 h 1006241"/>
              <a:gd name="connsiteX3" fmla="*/ 1392767 w 1392777"/>
              <a:gd name="connsiteY3" fmla="*/ 553275 h 1006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2777" h="1006241">
                <a:moveTo>
                  <a:pt x="0" y="1006241"/>
                </a:moveTo>
                <a:cubicBezTo>
                  <a:pt x="12700" y="685919"/>
                  <a:pt x="-3528" y="68557"/>
                  <a:pt x="38100" y="28341"/>
                </a:cubicBezTo>
                <a:cubicBezTo>
                  <a:pt x="79728" y="-11875"/>
                  <a:pt x="1397000" y="-6936"/>
                  <a:pt x="1392767" y="28341"/>
                </a:cubicBezTo>
                <a:cubicBezTo>
                  <a:pt x="1388534" y="63618"/>
                  <a:pt x="1392767" y="378297"/>
                  <a:pt x="1392767" y="553275"/>
                </a:cubicBezTo>
              </a:path>
            </a:pathLst>
          </a:custGeom>
          <a:noFill/>
          <a:ln w="57150">
            <a:solidFill>
              <a:schemeClr val="tx1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7B70D5D-5AFD-4744-BDC6-D3F9776278AE}"/>
              </a:ext>
            </a:extLst>
          </p:cNvPr>
          <p:cNvSpPr/>
          <p:nvPr/>
        </p:nvSpPr>
        <p:spPr bwMode="auto">
          <a:xfrm>
            <a:off x="7347482" y="3631895"/>
            <a:ext cx="1813720" cy="1468034"/>
          </a:xfrm>
          <a:custGeom>
            <a:avLst/>
            <a:gdLst>
              <a:gd name="connsiteX0" fmla="*/ 21167 w 1879600"/>
              <a:gd name="connsiteY0" fmla="*/ 389467 h 1354667"/>
              <a:gd name="connsiteX1" fmla="*/ 101600 w 1879600"/>
              <a:gd name="connsiteY1" fmla="*/ 245533 h 1354667"/>
              <a:gd name="connsiteX2" fmla="*/ 296334 w 1879600"/>
              <a:gd name="connsiteY2" fmla="*/ 571500 h 1354667"/>
              <a:gd name="connsiteX3" fmla="*/ 495300 w 1879600"/>
              <a:gd name="connsiteY3" fmla="*/ 245533 h 1354667"/>
              <a:gd name="connsiteX4" fmla="*/ 965200 w 1879600"/>
              <a:gd name="connsiteY4" fmla="*/ 956733 h 1354667"/>
              <a:gd name="connsiteX5" fmla="*/ 1507067 w 1879600"/>
              <a:gd name="connsiteY5" fmla="*/ 0 h 1354667"/>
              <a:gd name="connsiteX6" fmla="*/ 1841500 w 1879600"/>
              <a:gd name="connsiteY6" fmla="*/ 596900 h 1354667"/>
              <a:gd name="connsiteX7" fmla="*/ 1879600 w 1879600"/>
              <a:gd name="connsiteY7" fmla="*/ 1341967 h 1354667"/>
              <a:gd name="connsiteX8" fmla="*/ 1833034 w 1879600"/>
              <a:gd name="connsiteY8" fmla="*/ 1354667 h 1354667"/>
              <a:gd name="connsiteX9" fmla="*/ 1816100 w 1879600"/>
              <a:gd name="connsiteY9" fmla="*/ 618067 h 1354667"/>
              <a:gd name="connsiteX10" fmla="*/ 1519767 w 1879600"/>
              <a:gd name="connsiteY10" fmla="*/ 131233 h 1354667"/>
              <a:gd name="connsiteX11" fmla="*/ 931334 w 1879600"/>
              <a:gd name="connsiteY11" fmla="*/ 1032933 h 1354667"/>
              <a:gd name="connsiteX12" fmla="*/ 499534 w 1879600"/>
              <a:gd name="connsiteY12" fmla="*/ 355600 h 1354667"/>
              <a:gd name="connsiteX13" fmla="*/ 283634 w 1879600"/>
              <a:gd name="connsiteY13" fmla="*/ 664633 h 1354667"/>
              <a:gd name="connsiteX14" fmla="*/ 105834 w 1879600"/>
              <a:gd name="connsiteY14" fmla="*/ 342900 h 1354667"/>
              <a:gd name="connsiteX15" fmla="*/ 0 w 1879600"/>
              <a:gd name="connsiteY15" fmla="*/ 478367 h 1354667"/>
              <a:gd name="connsiteX16" fmla="*/ 21167 w 1879600"/>
              <a:gd name="connsiteY16" fmla="*/ 389467 h 1354667"/>
              <a:gd name="connsiteX0" fmla="*/ 21167 w 1896269"/>
              <a:gd name="connsiteY0" fmla="*/ 389467 h 1534849"/>
              <a:gd name="connsiteX1" fmla="*/ 101600 w 1896269"/>
              <a:gd name="connsiteY1" fmla="*/ 245533 h 1534849"/>
              <a:gd name="connsiteX2" fmla="*/ 296334 w 1896269"/>
              <a:gd name="connsiteY2" fmla="*/ 571500 h 1534849"/>
              <a:gd name="connsiteX3" fmla="*/ 495300 w 1896269"/>
              <a:gd name="connsiteY3" fmla="*/ 245533 h 1534849"/>
              <a:gd name="connsiteX4" fmla="*/ 965200 w 1896269"/>
              <a:gd name="connsiteY4" fmla="*/ 956733 h 1534849"/>
              <a:gd name="connsiteX5" fmla="*/ 1507067 w 1896269"/>
              <a:gd name="connsiteY5" fmla="*/ 0 h 1534849"/>
              <a:gd name="connsiteX6" fmla="*/ 1841500 w 1896269"/>
              <a:gd name="connsiteY6" fmla="*/ 596900 h 1534849"/>
              <a:gd name="connsiteX7" fmla="*/ 1896269 w 1896269"/>
              <a:gd name="connsiteY7" fmla="*/ 1534849 h 1534849"/>
              <a:gd name="connsiteX8" fmla="*/ 1833034 w 1896269"/>
              <a:gd name="connsiteY8" fmla="*/ 1354667 h 1534849"/>
              <a:gd name="connsiteX9" fmla="*/ 1816100 w 1896269"/>
              <a:gd name="connsiteY9" fmla="*/ 618067 h 1534849"/>
              <a:gd name="connsiteX10" fmla="*/ 1519767 w 1896269"/>
              <a:gd name="connsiteY10" fmla="*/ 131233 h 1534849"/>
              <a:gd name="connsiteX11" fmla="*/ 931334 w 1896269"/>
              <a:gd name="connsiteY11" fmla="*/ 1032933 h 1534849"/>
              <a:gd name="connsiteX12" fmla="*/ 499534 w 1896269"/>
              <a:gd name="connsiteY12" fmla="*/ 355600 h 1534849"/>
              <a:gd name="connsiteX13" fmla="*/ 283634 w 1896269"/>
              <a:gd name="connsiteY13" fmla="*/ 664633 h 1534849"/>
              <a:gd name="connsiteX14" fmla="*/ 105834 w 1896269"/>
              <a:gd name="connsiteY14" fmla="*/ 342900 h 1534849"/>
              <a:gd name="connsiteX15" fmla="*/ 0 w 1896269"/>
              <a:gd name="connsiteY15" fmla="*/ 478367 h 1534849"/>
              <a:gd name="connsiteX16" fmla="*/ 21167 w 1896269"/>
              <a:gd name="connsiteY16" fmla="*/ 389467 h 1534849"/>
              <a:gd name="connsiteX0" fmla="*/ 21167 w 1896269"/>
              <a:gd name="connsiteY0" fmla="*/ 389467 h 1534849"/>
              <a:gd name="connsiteX1" fmla="*/ 101600 w 1896269"/>
              <a:gd name="connsiteY1" fmla="*/ 245533 h 1534849"/>
              <a:gd name="connsiteX2" fmla="*/ 296334 w 1896269"/>
              <a:gd name="connsiteY2" fmla="*/ 571500 h 1534849"/>
              <a:gd name="connsiteX3" fmla="*/ 495300 w 1896269"/>
              <a:gd name="connsiteY3" fmla="*/ 245533 h 1534849"/>
              <a:gd name="connsiteX4" fmla="*/ 965200 w 1896269"/>
              <a:gd name="connsiteY4" fmla="*/ 956733 h 1534849"/>
              <a:gd name="connsiteX5" fmla="*/ 1507067 w 1896269"/>
              <a:gd name="connsiteY5" fmla="*/ 0 h 1534849"/>
              <a:gd name="connsiteX6" fmla="*/ 1841500 w 1896269"/>
              <a:gd name="connsiteY6" fmla="*/ 596900 h 1534849"/>
              <a:gd name="connsiteX7" fmla="*/ 1896269 w 1896269"/>
              <a:gd name="connsiteY7" fmla="*/ 1534849 h 1534849"/>
              <a:gd name="connsiteX8" fmla="*/ 1856846 w 1896269"/>
              <a:gd name="connsiteY8" fmla="*/ 1528498 h 1534849"/>
              <a:gd name="connsiteX9" fmla="*/ 1816100 w 1896269"/>
              <a:gd name="connsiteY9" fmla="*/ 618067 h 1534849"/>
              <a:gd name="connsiteX10" fmla="*/ 1519767 w 1896269"/>
              <a:gd name="connsiteY10" fmla="*/ 131233 h 1534849"/>
              <a:gd name="connsiteX11" fmla="*/ 931334 w 1896269"/>
              <a:gd name="connsiteY11" fmla="*/ 1032933 h 1534849"/>
              <a:gd name="connsiteX12" fmla="*/ 499534 w 1896269"/>
              <a:gd name="connsiteY12" fmla="*/ 355600 h 1534849"/>
              <a:gd name="connsiteX13" fmla="*/ 283634 w 1896269"/>
              <a:gd name="connsiteY13" fmla="*/ 664633 h 1534849"/>
              <a:gd name="connsiteX14" fmla="*/ 105834 w 1896269"/>
              <a:gd name="connsiteY14" fmla="*/ 342900 h 1534849"/>
              <a:gd name="connsiteX15" fmla="*/ 0 w 1896269"/>
              <a:gd name="connsiteY15" fmla="*/ 478367 h 1534849"/>
              <a:gd name="connsiteX16" fmla="*/ 21167 w 1896269"/>
              <a:gd name="connsiteY16" fmla="*/ 389467 h 1534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896269" h="1534849">
                <a:moveTo>
                  <a:pt x="21167" y="389467"/>
                </a:moveTo>
                <a:lnTo>
                  <a:pt x="101600" y="245533"/>
                </a:lnTo>
                <a:lnTo>
                  <a:pt x="296334" y="571500"/>
                </a:lnTo>
                <a:lnTo>
                  <a:pt x="495300" y="245533"/>
                </a:lnTo>
                <a:lnTo>
                  <a:pt x="965200" y="956733"/>
                </a:lnTo>
                <a:lnTo>
                  <a:pt x="1507067" y="0"/>
                </a:lnTo>
                <a:lnTo>
                  <a:pt x="1841500" y="596900"/>
                </a:lnTo>
                <a:lnTo>
                  <a:pt x="1896269" y="1534849"/>
                </a:lnTo>
                <a:lnTo>
                  <a:pt x="1856846" y="1528498"/>
                </a:lnTo>
                <a:lnTo>
                  <a:pt x="1816100" y="618067"/>
                </a:lnTo>
                <a:lnTo>
                  <a:pt x="1519767" y="131233"/>
                </a:lnTo>
                <a:lnTo>
                  <a:pt x="931334" y="1032933"/>
                </a:lnTo>
                <a:lnTo>
                  <a:pt x="499534" y="355600"/>
                </a:lnTo>
                <a:lnTo>
                  <a:pt x="283634" y="664633"/>
                </a:lnTo>
                <a:lnTo>
                  <a:pt x="105834" y="342900"/>
                </a:lnTo>
                <a:lnTo>
                  <a:pt x="0" y="478367"/>
                </a:lnTo>
                <a:lnTo>
                  <a:pt x="21167" y="389467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7049ED1E-574E-48CA-82E9-34AF1ECA8526}"/>
              </a:ext>
            </a:extLst>
          </p:cNvPr>
          <p:cNvSpPr/>
          <p:nvPr/>
        </p:nvSpPr>
        <p:spPr bwMode="auto">
          <a:xfrm>
            <a:off x="7067972" y="4287242"/>
            <a:ext cx="640272" cy="814913"/>
          </a:xfrm>
          <a:custGeom>
            <a:avLst/>
            <a:gdLst>
              <a:gd name="connsiteX0" fmla="*/ 7144 w 669131"/>
              <a:gd name="connsiteY0" fmla="*/ 0 h 428625"/>
              <a:gd name="connsiteX1" fmla="*/ 669131 w 669131"/>
              <a:gd name="connsiteY1" fmla="*/ 7144 h 428625"/>
              <a:gd name="connsiteX2" fmla="*/ 669131 w 669131"/>
              <a:gd name="connsiteY2" fmla="*/ 428625 h 428625"/>
              <a:gd name="connsiteX3" fmla="*/ 0 w 669131"/>
              <a:gd name="connsiteY3" fmla="*/ 414338 h 428625"/>
              <a:gd name="connsiteX4" fmla="*/ 7144 w 669131"/>
              <a:gd name="connsiteY4" fmla="*/ 0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9131" h="428625">
                <a:moveTo>
                  <a:pt x="7144" y="0"/>
                </a:moveTo>
                <a:lnTo>
                  <a:pt x="669131" y="7144"/>
                </a:lnTo>
                <a:lnTo>
                  <a:pt x="669131" y="428625"/>
                </a:lnTo>
                <a:lnTo>
                  <a:pt x="0" y="414338"/>
                </a:lnTo>
                <a:lnTo>
                  <a:pt x="7144" y="0"/>
                </a:lnTo>
                <a:close/>
              </a:path>
            </a:pathLst>
          </a:custGeom>
          <a:solidFill>
            <a:srgbClr val="2B256F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3F097D9-2B23-4C9A-8490-BB0358173C4F}"/>
              </a:ext>
            </a:extLst>
          </p:cNvPr>
          <p:cNvSpPr/>
          <p:nvPr/>
        </p:nvSpPr>
        <p:spPr bwMode="auto">
          <a:xfrm rot="10800000">
            <a:off x="7746189" y="4339888"/>
            <a:ext cx="179220" cy="16727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56E14AF-007B-4E62-AC16-0F7465981001}"/>
              </a:ext>
            </a:extLst>
          </p:cNvPr>
          <p:cNvSpPr/>
          <p:nvPr/>
        </p:nvSpPr>
        <p:spPr bwMode="auto">
          <a:xfrm rot="10800000">
            <a:off x="7746190" y="4603666"/>
            <a:ext cx="179219" cy="167269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7EC63CE-38B7-4C12-AE71-4B6F68F74C14}"/>
              </a:ext>
            </a:extLst>
          </p:cNvPr>
          <p:cNvSpPr/>
          <p:nvPr/>
        </p:nvSpPr>
        <p:spPr bwMode="auto">
          <a:xfrm rot="10800000">
            <a:off x="7746190" y="4856290"/>
            <a:ext cx="179219" cy="167269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3C9EFB84-B658-407A-89F4-94A88A2FEF01}"/>
              </a:ext>
            </a:extLst>
          </p:cNvPr>
          <p:cNvSpPr/>
          <p:nvPr/>
        </p:nvSpPr>
        <p:spPr bwMode="auto">
          <a:xfrm>
            <a:off x="7995413" y="3868881"/>
            <a:ext cx="525734" cy="1021513"/>
          </a:xfrm>
          <a:prstGeom prst="roundRect">
            <a:avLst/>
          </a:prstGeom>
          <a:solidFill>
            <a:schemeClr val="accent5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8872BCA-014F-4189-8F06-6CD5FEDC5DE6}"/>
              </a:ext>
            </a:extLst>
          </p:cNvPr>
          <p:cNvSpPr/>
          <p:nvPr/>
        </p:nvSpPr>
        <p:spPr bwMode="auto">
          <a:xfrm>
            <a:off x="8081057" y="2455221"/>
            <a:ext cx="92308" cy="1444133"/>
          </a:xfrm>
          <a:custGeom>
            <a:avLst/>
            <a:gdLst>
              <a:gd name="connsiteX0" fmla="*/ 0 w 48884"/>
              <a:gd name="connsiteY0" fmla="*/ 0 h 1509860"/>
              <a:gd name="connsiteX1" fmla="*/ 48884 w 48884"/>
              <a:gd name="connsiteY1" fmla="*/ 0 h 1509860"/>
              <a:gd name="connsiteX2" fmla="*/ 48884 w 48884"/>
              <a:gd name="connsiteY2" fmla="*/ 1509860 h 1509860"/>
              <a:gd name="connsiteX3" fmla="*/ 0 w 48884"/>
              <a:gd name="connsiteY3" fmla="*/ 1509860 h 1509860"/>
              <a:gd name="connsiteX4" fmla="*/ 0 w 48884"/>
              <a:gd name="connsiteY4" fmla="*/ 0 h 1509860"/>
              <a:gd name="connsiteX0" fmla="*/ 0 w 77459"/>
              <a:gd name="connsiteY0" fmla="*/ 0 h 1509860"/>
              <a:gd name="connsiteX1" fmla="*/ 48884 w 77459"/>
              <a:gd name="connsiteY1" fmla="*/ 0 h 1509860"/>
              <a:gd name="connsiteX2" fmla="*/ 77459 w 77459"/>
              <a:gd name="connsiteY2" fmla="*/ 1507479 h 1509860"/>
              <a:gd name="connsiteX3" fmla="*/ 0 w 77459"/>
              <a:gd name="connsiteY3" fmla="*/ 1509860 h 1509860"/>
              <a:gd name="connsiteX4" fmla="*/ 0 w 77459"/>
              <a:gd name="connsiteY4" fmla="*/ 0 h 1509860"/>
              <a:gd name="connsiteX0" fmla="*/ 19050 w 96509"/>
              <a:gd name="connsiteY0" fmla="*/ 0 h 1509860"/>
              <a:gd name="connsiteX1" fmla="*/ 67934 w 96509"/>
              <a:gd name="connsiteY1" fmla="*/ 0 h 1509860"/>
              <a:gd name="connsiteX2" fmla="*/ 96509 w 96509"/>
              <a:gd name="connsiteY2" fmla="*/ 1507479 h 1509860"/>
              <a:gd name="connsiteX3" fmla="*/ 0 w 96509"/>
              <a:gd name="connsiteY3" fmla="*/ 1509860 h 1509860"/>
              <a:gd name="connsiteX4" fmla="*/ 19050 w 96509"/>
              <a:gd name="connsiteY4" fmla="*/ 0 h 150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509" h="1509860">
                <a:moveTo>
                  <a:pt x="19050" y="0"/>
                </a:moveTo>
                <a:lnTo>
                  <a:pt x="67934" y="0"/>
                </a:lnTo>
                <a:lnTo>
                  <a:pt x="96509" y="1507479"/>
                </a:lnTo>
                <a:lnTo>
                  <a:pt x="0" y="150986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5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A48281D-8795-497B-9754-5032D37160B1}"/>
              </a:ext>
            </a:extLst>
          </p:cNvPr>
          <p:cNvSpPr/>
          <p:nvPr/>
        </p:nvSpPr>
        <p:spPr bwMode="auto">
          <a:xfrm>
            <a:off x="8173824" y="3814363"/>
            <a:ext cx="146755" cy="52316"/>
          </a:xfrm>
          <a:prstGeom prst="roundRect">
            <a:avLst/>
          </a:prstGeom>
          <a:solidFill>
            <a:srgbClr val="2B256F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21F2B4E-2780-4E58-BBB0-A51C702817A3}"/>
              </a:ext>
            </a:extLst>
          </p:cNvPr>
          <p:cNvSpPr/>
          <p:nvPr/>
        </p:nvSpPr>
        <p:spPr bwMode="auto">
          <a:xfrm>
            <a:off x="6534211" y="4230739"/>
            <a:ext cx="644369" cy="56502"/>
          </a:xfrm>
          <a:prstGeom prst="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0EF2CEA5-AF4F-42C5-A2B7-910AB2B0CE02}"/>
              </a:ext>
            </a:extLst>
          </p:cNvPr>
          <p:cNvSpPr/>
          <p:nvPr/>
        </p:nvSpPr>
        <p:spPr bwMode="auto">
          <a:xfrm>
            <a:off x="7149442" y="4587588"/>
            <a:ext cx="505829" cy="460990"/>
          </a:xfrm>
          <a:custGeom>
            <a:avLst/>
            <a:gdLst>
              <a:gd name="connsiteX0" fmla="*/ 0 w 528851"/>
              <a:gd name="connsiteY0" fmla="*/ 0 h 317310"/>
              <a:gd name="connsiteX1" fmla="*/ 528851 w 528851"/>
              <a:gd name="connsiteY1" fmla="*/ 20471 h 317310"/>
              <a:gd name="connsiteX2" fmla="*/ 515203 w 528851"/>
              <a:gd name="connsiteY2" fmla="*/ 201304 h 317310"/>
              <a:gd name="connsiteX3" fmla="*/ 515203 w 528851"/>
              <a:gd name="connsiteY3" fmla="*/ 317310 h 317310"/>
              <a:gd name="connsiteX4" fmla="*/ 20472 w 528851"/>
              <a:gd name="connsiteY4" fmla="*/ 293427 h 317310"/>
              <a:gd name="connsiteX5" fmla="*/ 0 w 528851"/>
              <a:gd name="connsiteY5" fmla="*/ 0 h 317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851" h="317310">
                <a:moveTo>
                  <a:pt x="0" y="0"/>
                </a:moveTo>
                <a:lnTo>
                  <a:pt x="528851" y="20471"/>
                </a:lnTo>
                <a:lnTo>
                  <a:pt x="515203" y="201304"/>
                </a:lnTo>
                <a:lnTo>
                  <a:pt x="515203" y="317310"/>
                </a:lnTo>
                <a:lnTo>
                  <a:pt x="20472" y="293427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0" name="Parallelogram 49">
            <a:extLst>
              <a:ext uri="{FF2B5EF4-FFF2-40B4-BE49-F238E27FC236}">
                <a16:creationId xmlns:a16="http://schemas.microsoft.com/office/drawing/2014/main" id="{5701DFB5-3CEB-41CF-B6F3-2164FA53D005}"/>
              </a:ext>
            </a:extLst>
          </p:cNvPr>
          <p:cNvSpPr/>
          <p:nvPr/>
        </p:nvSpPr>
        <p:spPr bwMode="auto">
          <a:xfrm rot="179276">
            <a:off x="7181583" y="4631947"/>
            <a:ext cx="440224" cy="43729"/>
          </a:xfrm>
          <a:prstGeom prst="parallelogram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1" name="Parallelogram 50">
            <a:extLst>
              <a:ext uri="{FF2B5EF4-FFF2-40B4-BE49-F238E27FC236}">
                <a16:creationId xmlns:a16="http://schemas.microsoft.com/office/drawing/2014/main" id="{6903F5B7-E98E-42C2-BC40-8130E4658EF4}"/>
              </a:ext>
            </a:extLst>
          </p:cNvPr>
          <p:cNvSpPr/>
          <p:nvPr/>
        </p:nvSpPr>
        <p:spPr bwMode="auto">
          <a:xfrm rot="179276">
            <a:off x="7181583" y="4714127"/>
            <a:ext cx="440224" cy="43729"/>
          </a:xfrm>
          <a:prstGeom prst="parallelogram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2" name="Parallelogram 51">
            <a:extLst>
              <a:ext uri="{FF2B5EF4-FFF2-40B4-BE49-F238E27FC236}">
                <a16:creationId xmlns:a16="http://schemas.microsoft.com/office/drawing/2014/main" id="{E946A8A5-40C5-4A4D-864F-1B6489902426}"/>
              </a:ext>
            </a:extLst>
          </p:cNvPr>
          <p:cNvSpPr/>
          <p:nvPr/>
        </p:nvSpPr>
        <p:spPr bwMode="auto">
          <a:xfrm rot="179276">
            <a:off x="7181583" y="4796307"/>
            <a:ext cx="440224" cy="43729"/>
          </a:xfrm>
          <a:prstGeom prst="parallelogram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922F9188-7FA1-4E86-8294-5FA1D3F676E7}"/>
              </a:ext>
            </a:extLst>
          </p:cNvPr>
          <p:cNvSpPr/>
          <p:nvPr/>
        </p:nvSpPr>
        <p:spPr bwMode="auto">
          <a:xfrm>
            <a:off x="8629014" y="4043200"/>
            <a:ext cx="380324" cy="380324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732F27E1-D815-427E-B684-38726E338300}"/>
              </a:ext>
            </a:extLst>
          </p:cNvPr>
          <p:cNvSpPr/>
          <p:nvPr/>
        </p:nvSpPr>
        <p:spPr bwMode="auto">
          <a:xfrm>
            <a:off x="8753458" y="4412883"/>
            <a:ext cx="146755" cy="52316"/>
          </a:xfrm>
          <a:prstGeom prst="round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9" name="Teardrop 58">
            <a:extLst>
              <a:ext uri="{FF2B5EF4-FFF2-40B4-BE49-F238E27FC236}">
                <a16:creationId xmlns:a16="http://schemas.microsoft.com/office/drawing/2014/main" id="{71A2ECB5-634C-4078-B116-0DF630295467}"/>
              </a:ext>
            </a:extLst>
          </p:cNvPr>
          <p:cNvSpPr/>
          <p:nvPr/>
        </p:nvSpPr>
        <p:spPr bwMode="auto">
          <a:xfrm rot="8228625">
            <a:off x="8736248" y="4169663"/>
            <a:ext cx="172231" cy="181289"/>
          </a:xfrm>
          <a:prstGeom prst="teardrop">
            <a:avLst>
              <a:gd name="adj" fmla="val 115611"/>
            </a:avLst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0" name="Moon 7">
            <a:extLst>
              <a:ext uri="{FF2B5EF4-FFF2-40B4-BE49-F238E27FC236}">
                <a16:creationId xmlns:a16="http://schemas.microsoft.com/office/drawing/2014/main" id="{F907BC4C-D1B4-4423-97C0-4B22F033C08F}"/>
              </a:ext>
            </a:extLst>
          </p:cNvPr>
          <p:cNvSpPr/>
          <p:nvPr/>
        </p:nvSpPr>
        <p:spPr bwMode="auto">
          <a:xfrm rot="20171180" flipH="1">
            <a:off x="8028320" y="3929484"/>
            <a:ext cx="608760" cy="737933"/>
          </a:xfrm>
          <a:custGeom>
            <a:avLst/>
            <a:gdLst>
              <a:gd name="connsiteX0" fmla="*/ 609601 w 609601"/>
              <a:gd name="connsiteY0" fmla="*/ 1924050 h 1924050"/>
              <a:gd name="connsiteX1" fmla="*/ 0 w 609601"/>
              <a:gd name="connsiteY1" fmla="*/ 962025 h 1924050"/>
              <a:gd name="connsiteX2" fmla="*/ 609601 w 609601"/>
              <a:gd name="connsiteY2" fmla="*/ 0 h 1924050"/>
              <a:gd name="connsiteX3" fmla="*/ 304801 w 609601"/>
              <a:gd name="connsiteY3" fmla="*/ 962025 h 1924050"/>
              <a:gd name="connsiteX4" fmla="*/ 609601 w 609601"/>
              <a:gd name="connsiteY4" fmla="*/ 1924050 h 1924050"/>
              <a:gd name="connsiteX0" fmla="*/ 616244 w 616244"/>
              <a:gd name="connsiteY0" fmla="*/ 1082278 h 1082278"/>
              <a:gd name="connsiteX1" fmla="*/ 6643 w 616244"/>
              <a:gd name="connsiteY1" fmla="*/ 120253 h 1082278"/>
              <a:gd name="connsiteX2" fmla="*/ 311444 w 616244"/>
              <a:gd name="connsiteY2" fmla="*/ 120253 h 1082278"/>
              <a:gd name="connsiteX3" fmla="*/ 616244 w 616244"/>
              <a:gd name="connsiteY3" fmla="*/ 1082278 h 1082278"/>
              <a:gd name="connsiteX0" fmla="*/ 618131 w 618131"/>
              <a:gd name="connsiteY0" fmla="*/ 1283587 h 1283587"/>
              <a:gd name="connsiteX1" fmla="*/ 8530 w 618131"/>
              <a:gd name="connsiteY1" fmla="*/ 321562 h 1283587"/>
              <a:gd name="connsiteX2" fmla="*/ 284756 w 618131"/>
              <a:gd name="connsiteY2" fmla="*/ 54862 h 1283587"/>
              <a:gd name="connsiteX3" fmla="*/ 618131 w 618131"/>
              <a:gd name="connsiteY3" fmla="*/ 1283587 h 1283587"/>
              <a:gd name="connsiteX0" fmla="*/ 616324 w 616324"/>
              <a:gd name="connsiteY0" fmla="*/ 1228727 h 1228727"/>
              <a:gd name="connsiteX1" fmla="*/ 6723 w 616324"/>
              <a:gd name="connsiteY1" fmla="*/ 266702 h 1228727"/>
              <a:gd name="connsiteX2" fmla="*/ 282949 w 616324"/>
              <a:gd name="connsiteY2" fmla="*/ 2 h 1228727"/>
              <a:gd name="connsiteX3" fmla="*/ 616324 w 616324"/>
              <a:gd name="connsiteY3" fmla="*/ 1228727 h 1228727"/>
              <a:gd name="connsiteX0" fmla="*/ 562772 w 562772"/>
              <a:gd name="connsiteY0" fmla="*/ 1331932 h 1331932"/>
              <a:gd name="connsiteX1" fmla="*/ 10321 w 562772"/>
              <a:gd name="connsiteY1" fmla="*/ 207982 h 1331932"/>
              <a:gd name="connsiteX2" fmla="*/ 229397 w 562772"/>
              <a:gd name="connsiteY2" fmla="*/ 103207 h 1331932"/>
              <a:gd name="connsiteX3" fmla="*/ 562772 w 562772"/>
              <a:gd name="connsiteY3" fmla="*/ 1331932 h 1331932"/>
              <a:gd name="connsiteX0" fmla="*/ 558354 w 558354"/>
              <a:gd name="connsiteY0" fmla="*/ 1292071 h 1292071"/>
              <a:gd name="connsiteX1" fmla="*/ 5903 w 558354"/>
              <a:gd name="connsiteY1" fmla="*/ 168121 h 1292071"/>
              <a:gd name="connsiteX2" fmla="*/ 224979 w 558354"/>
              <a:gd name="connsiteY2" fmla="*/ 63346 h 1292071"/>
              <a:gd name="connsiteX3" fmla="*/ 558354 w 558354"/>
              <a:gd name="connsiteY3" fmla="*/ 1292071 h 1292071"/>
              <a:gd name="connsiteX0" fmla="*/ 558354 w 558354"/>
              <a:gd name="connsiteY0" fmla="*/ 1228844 h 1228844"/>
              <a:gd name="connsiteX1" fmla="*/ 5903 w 558354"/>
              <a:gd name="connsiteY1" fmla="*/ 104894 h 1228844"/>
              <a:gd name="connsiteX2" fmla="*/ 224979 w 558354"/>
              <a:gd name="connsiteY2" fmla="*/ 119 h 1228844"/>
              <a:gd name="connsiteX3" fmla="*/ 558354 w 558354"/>
              <a:gd name="connsiteY3" fmla="*/ 1228844 h 1228844"/>
              <a:gd name="connsiteX0" fmla="*/ 558354 w 558354"/>
              <a:gd name="connsiteY0" fmla="*/ 1308907 h 1308907"/>
              <a:gd name="connsiteX1" fmla="*/ 5903 w 558354"/>
              <a:gd name="connsiteY1" fmla="*/ 118282 h 1308907"/>
              <a:gd name="connsiteX2" fmla="*/ 224979 w 558354"/>
              <a:gd name="connsiteY2" fmla="*/ 80182 h 1308907"/>
              <a:gd name="connsiteX3" fmla="*/ 558354 w 558354"/>
              <a:gd name="connsiteY3" fmla="*/ 1308907 h 1308907"/>
              <a:gd name="connsiteX0" fmla="*/ 558354 w 558354"/>
              <a:gd name="connsiteY0" fmla="*/ 1228816 h 1228816"/>
              <a:gd name="connsiteX1" fmla="*/ 5903 w 558354"/>
              <a:gd name="connsiteY1" fmla="*/ 38191 h 1228816"/>
              <a:gd name="connsiteX2" fmla="*/ 224979 w 558354"/>
              <a:gd name="connsiteY2" fmla="*/ 91 h 1228816"/>
              <a:gd name="connsiteX3" fmla="*/ 558354 w 558354"/>
              <a:gd name="connsiteY3" fmla="*/ 1228816 h 1228816"/>
              <a:gd name="connsiteX0" fmla="*/ 556717 w 556717"/>
              <a:gd name="connsiteY0" fmla="*/ 1423196 h 1423196"/>
              <a:gd name="connsiteX1" fmla="*/ 4266 w 556717"/>
              <a:gd name="connsiteY1" fmla="*/ 232571 h 1423196"/>
              <a:gd name="connsiteX2" fmla="*/ 299408 w 556717"/>
              <a:gd name="connsiteY2" fmla="*/ 75 h 1423196"/>
              <a:gd name="connsiteX3" fmla="*/ 556717 w 556717"/>
              <a:gd name="connsiteY3" fmla="*/ 1423196 h 1423196"/>
              <a:gd name="connsiteX0" fmla="*/ 553844 w 553844"/>
              <a:gd name="connsiteY0" fmla="*/ 1423198 h 1423198"/>
              <a:gd name="connsiteX1" fmla="*/ 1393 w 553844"/>
              <a:gd name="connsiteY1" fmla="*/ 232573 h 1423198"/>
              <a:gd name="connsiteX2" fmla="*/ 296535 w 553844"/>
              <a:gd name="connsiteY2" fmla="*/ 77 h 1423198"/>
              <a:gd name="connsiteX3" fmla="*/ 553844 w 553844"/>
              <a:gd name="connsiteY3" fmla="*/ 1423198 h 1423198"/>
              <a:gd name="connsiteX0" fmla="*/ 562439 w 562439"/>
              <a:gd name="connsiteY0" fmla="*/ 1335268 h 1335268"/>
              <a:gd name="connsiteX1" fmla="*/ 9988 w 562439"/>
              <a:gd name="connsiteY1" fmla="*/ 144643 h 1335268"/>
              <a:gd name="connsiteX2" fmla="*/ 211508 w 562439"/>
              <a:gd name="connsiteY2" fmla="*/ 13216 h 1335268"/>
              <a:gd name="connsiteX3" fmla="*/ 562439 w 562439"/>
              <a:gd name="connsiteY3" fmla="*/ 1335268 h 1335268"/>
              <a:gd name="connsiteX0" fmla="*/ 553218 w 553218"/>
              <a:gd name="connsiteY0" fmla="*/ 1322135 h 1322135"/>
              <a:gd name="connsiteX1" fmla="*/ 767 w 553218"/>
              <a:gd name="connsiteY1" fmla="*/ 131510 h 1322135"/>
              <a:gd name="connsiteX2" fmla="*/ 202287 w 553218"/>
              <a:gd name="connsiteY2" fmla="*/ 83 h 1322135"/>
              <a:gd name="connsiteX3" fmla="*/ 553218 w 553218"/>
              <a:gd name="connsiteY3" fmla="*/ 1322135 h 1322135"/>
              <a:gd name="connsiteX0" fmla="*/ 551158 w 551158"/>
              <a:gd name="connsiteY0" fmla="*/ 1382846 h 1382846"/>
              <a:gd name="connsiteX1" fmla="*/ 774 w 551158"/>
              <a:gd name="connsiteY1" fmla="*/ 215986 h 1382846"/>
              <a:gd name="connsiteX2" fmla="*/ 200227 w 551158"/>
              <a:gd name="connsiteY2" fmla="*/ 60794 h 1382846"/>
              <a:gd name="connsiteX3" fmla="*/ 551158 w 551158"/>
              <a:gd name="connsiteY3" fmla="*/ 1382846 h 1382846"/>
              <a:gd name="connsiteX0" fmla="*/ 550514 w 550514"/>
              <a:gd name="connsiteY0" fmla="*/ 1381151 h 1381151"/>
              <a:gd name="connsiteX1" fmla="*/ 130 w 550514"/>
              <a:gd name="connsiteY1" fmla="*/ 214291 h 1381151"/>
              <a:gd name="connsiteX2" fmla="*/ 199583 w 550514"/>
              <a:gd name="connsiteY2" fmla="*/ 59099 h 1381151"/>
              <a:gd name="connsiteX3" fmla="*/ 550514 w 550514"/>
              <a:gd name="connsiteY3" fmla="*/ 1381151 h 1381151"/>
              <a:gd name="connsiteX0" fmla="*/ 550514 w 550514"/>
              <a:gd name="connsiteY0" fmla="*/ 1322564 h 1322564"/>
              <a:gd name="connsiteX1" fmla="*/ 130 w 550514"/>
              <a:gd name="connsiteY1" fmla="*/ 155704 h 1322564"/>
              <a:gd name="connsiteX2" fmla="*/ 199583 w 550514"/>
              <a:gd name="connsiteY2" fmla="*/ 512 h 1322564"/>
              <a:gd name="connsiteX3" fmla="*/ 550514 w 550514"/>
              <a:gd name="connsiteY3" fmla="*/ 1322564 h 132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514" h="1322564">
                <a:moveTo>
                  <a:pt x="550514" y="1322564"/>
                </a:moveTo>
                <a:cubicBezTo>
                  <a:pt x="213841" y="1322564"/>
                  <a:pt x="-6118" y="157764"/>
                  <a:pt x="130" y="155704"/>
                </a:cubicBezTo>
                <a:cubicBezTo>
                  <a:pt x="6378" y="153644"/>
                  <a:pt x="160599" y="28411"/>
                  <a:pt x="199583" y="512"/>
                </a:cubicBezTo>
                <a:cubicBezTo>
                  <a:pt x="238567" y="-27387"/>
                  <a:pt x="358638" y="1095461"/>
                  <a:pt x="550514" y="1322564"/>
                </a:cubicBezTo>
                <a:close/>
              </a:path>
            </a:pathLst>
          </a:custGeom>
          <a:solidFill>
            <a:schemeClr val="bg1">
              <a:lumMod val="95000"/>
              <a:alpha val="34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A690063-CC96-4363-B777-B6269279ABDD}"/>
              </a:ext>
            </a:extLst>
          </p:cNvPr>
          <p:cNvSpPr/>
          <p:nvPr/>
        </p:nvSpPr>
        <p:spPr bwMode="auto">
          <a:xfrm>
            <a:off x="8052260" y="2455221"/>
            <a:ext cx="144737" cy="43729"/>
          </a:xfrm>
          <a:prstGeom prst="rect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BBF75B7-54BC-4262-AFEB-20239FDA0685}"/>
              </a:ext>
            </a:extLst>
          </p:cNvPr>
          <p:cNvSpPr/>
          <p:nvPr/>
        </p:nvSpPr>
        <p:spPr bwMode="auto">
          <a:xfrm>
            <a:off x="8052260" y="2849550"/>
            <a:ext cx="144737" cy="43729"/>
          </a:xfrm>
          <a:prstGeom prst="rect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8391719-08A4-4B62-8D88-02EB71A14DF8}"/>
              </a:ext>
            </a:extLst>
          </p:cNvPr>
          <p:cNvSpPr/>
          <p:nvPr/>
        </p:nvSpPr>
        <p:spPr bwMode="auto">
          <a:xfrm>
            <a:off x="8052260" y="3243879"/>
            <a:ext cx="144737" cy="43729"/>
          </a:xfrm>
          <a:prstGeom prst="rect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E1EE953-21E0-43A0-A9FE-AC92010D8757}"/>
              </a:ext>
            </a:extLst>
          </p:cNvPr>
          <p:cNvSpPr/>
          <p:nvPr/>
        </p:nvSpPr>
        <p:spPr bwMode="auto">
          <a:xfrm>
            <a:off x="8052260" y="3638207"/>
            <a:ext cx="144737" cy="43729"/>
          </a:xfrm>
          <a:prstGeom prst="rect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8681D90-4F5C-4D98-A153-F8844AC6D1C4}"/>
              </a:ext>
            </a:extLst>
          </p:cNvPr>
          <p:cNvSpPr/>
          <p:nvPr/>
        </p:nvSpPr>
        <p:spPr bwMode="auto">
          <a:xfrm>
            <a:off x="8563735" y="4481485"/>
            <a:ext cx="142671" cy="13315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5ECCD1C-CDEF-43D3-B271-9BC6C556C32B}"/>
              </a:ext>
            </a:extLst>
          </p:cNvPr>
          <p:cNvSpPr/>
          <p:nvPr/>
        </p:nvSpPr>
        <p:spPr bwMode="auto">
          <a:xfrm>
            <a:off x="8918968" y="4699363"/>
            <a:ext cx="142667" cy="13315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53E3A6-41D6-494B-B2CB-8F0B7CA6C9BA}"/>
              </a:ext>
            </a:extLst>
          </p:cNvPr>
          <p:cNvSpPr/>
          <p:nvPr/>
        </p:nvSpPr>
        <p:spPr bwMode="auto">
          <a:xfrm>
            <a:off x="8911742" y="4476997"/>
            <a:ext cx="142671" cy="13315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69464E8-47B3-4010-9FFF-EC9D8E254179}"/>
              </a:ext>
            </a:extLst>
          </p:cNvPr>
          <p:cNvSpPr/>
          <p:nvPr/>
        </p:nvSpPr>
        <p:spPr bwMode="auto">
          <a:xfrm>
            <a:off x="8915456" y="4902480"/>
            <a:ext cx="142667" cy="13315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AF104FB-A84E-41A5-85C1-C74740919339}"/>
              </a:ext>
            </a:extLst>
          </p:cNvPr>
          <p:cNvSpPr/>
          <p:nvPr/>
        </p:nvSpPr>
        <p:spPr bwMode="auto">
          <a:xfrm>
            <a:off x="8563735" y="4696459"/>
            <a:ext cx="142671" cy="133158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3" name="Parallelogram 72">
            <a:extLst>
              <a:ext uri="{FF2B5EF4-FFF2-40B4-BE49-F238E27FC236}">
                <a16:creationId xmlns:a16="http://schemas.microsoft.com/office/drawing/2014/main" id="{28AEC736-9389-4D76-8308-6E4C0EA23F1E}"/>
              </a:ext>
            </a:extLst>
          </p:cNvPr>
          <p:cNvSpPr/>
          <p:nvPr/>
        </p:nvSpPr>
        <p:spPr bwMode="auto">
          <a:xfrm rot="179276">
            <a:off x="7181582" y="4878486"/>
            <a:ext cx="440224" cy="43729"/>
          </a:xfrm>
          <a:prstGeom prst="parallelogram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4" name="Parallelogram 73">
            <a:extLst>
              <a:ext uri="{FF2B5EF4-FFF2-40B4-BE49-F238E27FC236}">
                <a16:creationId xmlns:a16="http://schemas.microsoft.com/office/drawing/2014/main" id="{52ED4597-F37A-4C5B-BA27-1A0154A323B8}"/>
              </a:ext>
            </a:extLst>
          </p:cNvPr>
          <p:cNvSpPr/>
          <p:nvPr/>
        </p:nvSpPr>
        <p:spPr bwMode="auto">
          <a:xfrm rot="179276">
            <a:off x="7181582" y="4960665"/>
            <a:ext cx="440224" cy="43729"/>
          </a:xfrm>
          <a:prstGeom prst="parallelogram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8" name="Trapezoid 77">
            <a:extLst>
              <a:ext uri="{FF2B5EF4-FFF2-40B4-BE49-F238E27FC236}">
                <a16:creationId xmlns:a16="http://schemas.microsoft.com/office/drawing/2014/main" id="{E62921EF-6EF9-4050-8EF8-311AC3943C03}"/>
              </a:ext>
            </a:extLst>
          </p:cNvPr>
          <p:cNvSpPr/>
          <p:nvPr/>
        </p:nvSpPr>
        <p:spPr bwMode="auto">
          <a:xfrm>
            <a:off x="8476851" y="1970161"/>
            <a:ext cx="227277" cy="43729"/>
          </a:xfrm>
          <a:prstGeom prst="trapezoid">
            <a:avLst>
              <a:gd name="adj" fmla="val 13498"/>
            </a:avLst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9" name="Trapezoid 78">
            <a:extLst>
              <a:ext uri="{FF2B5EF4-FFF2-40B4-BE49-F238E27FC236}">
                <a16:creationId xmlns:a16="http://schemas.microsoft.com/office/drawing/2014/main" id="{E2EAA35D-55BD-49D0-A3E8-6DA02B75533C}"/>
              </a:ext>
            </a:extLst>
          </p:cNvPr>
          <p:cNvSpPr/>
          <p:nvPr/>
        </p:nvSpPr>
        <p:spPr bwMode="auto">
          <a:xfrm>
            <a:off x="8457934" y="2486385"/>
            <a:ext cx="256914" cy="54875"/>
          </a:xfrm>
          <a:prstGeom prst="trapezoid">
            <a:avLst>
              <a:gd name="adj" fmla="val 13498"/>
            </a:avLst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0" name="Trapezoid 79">
            <a:extLst>
              <a:ext uri="{FF2B5EF4-FFF2-40B4-BE49-F238E27FC236}">
                <a16:creationId xmlns:a16="http://schemas.microsoft.com/office/drawing/2014/main" id="{99E1B72B-12F6-42A5-9FE9-814C0FA9061C}"/>
              </a:ext>
            </a:extLst>
          </p:cNvPr>
          <p:cNvSpPr/>
          <p:nvPr/>
        </p:nvSpPr>
        <p:spPr bwMode="auto">
          <a:xfrm>
            <a:off x="8441382" y="3060995"/>
            <a:ext cx="284853" cy="54875"/>
          </a:xfrm>
          <a:prstGeom prst="trapezoid">
            <a:avLst>
              <a:gd name="adj" fmla="val 0"/>
            </a:avLst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1" name="Trapezoid 80">
            <a:extLst>
              <a:ext uri="{FF2B5EF4-FFF2-40B4-BE49-F238E27FC236}">
                <a16:creationId xmlns:a16="http://schemas.microsoft.com/office/drawing/2014/main" id="{1EC042A3-FF39-4901-B493-A6303240AC43}"/>
              </a:ext>
            </a:extLst>
          </p:cNvPr>
          <p:cNvSpPr/>
          <p:nvPr/>
        </p:nvSpPr>
        <p:spPr bwMode="auto">
          <a:xfrm>
            <a:off x="8424345" y="3627060"/>
            <a:ext cx="310696" cy="54875"/>
          </a:xfrm>
          <a:prstGeom prst="trapezoid">
            <a:avLst>
              <a:gd name="adj" fmla="val 0"/>
            </a:avLst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7" name="Moon 7">
            <a:extLst>
              <a:ext uri="{FF2B5EF4-FFF2-40B4-BE49-F238E27FC236}">
                <a16:creationId xmlns:a16="http://schemas.microsoft.com/office/drawing/2014/main" id="{E9155652-9B8A-4DB6-8CDC-5278FAF0F52C}"/>
              </a:ext>
            </a:extLst>
          </p:cNvPr>
          <p:cNvSpPr/>
          <p:nvPr/>
        </p:nvSpPr>
        <p:spPr bwMode="auto">
          <a:xfrm rot="21222186" flipH="1">
            <a:off x="8506476" y="1519461"/>
            <a:ext cx="292891" cy="2168054"/>
          </a:xfrm>
          <a:custGeom>
            <a:avLst/>
            <a:gdLst>
              <a:gd name="connsiteX0" fmla="*/ 609601 w 609601"/>
              <a:gd name="connsiteY0" fmla="*/ 1924050 h 1924050"/>
              <a:gd name="connsiteX1" fmla="*/ 0 w 609601"/>
              <a:gd name="connsiteY1" fmla="*/ 962025 h 1924050"/>
              <a:gd name="connsiteX2" fmla="*/ 609601 w 609601"/>
              <a:gd name="connsiteY2" fmla="*/ 0 h 1924050"/>
              <a:gd name="connsiteX3" fmla="*/ 304801 w 609601"/>
              <a:gd name="connsiteY3" fmla="*/ 962025 h 1924050"/>
              <a:gd name="connsiteX4" fmla="*/ 609601 w 609601"/>
              <a:gd name="connsiteY4" fmla="*/ 1924050 h 1924050"/>
              <a:gd name="connsiteX0" fmla="*/ 616244 w 616244"/>
              <a:gd name="connsiteY0" fmla="*/ 1082278 h 1082278"/>
              <a:gd name="connsiteX1" fmla="*/ 6643 w 616244"/>
              <a:gd name="connsiteY1" fmla="*/ 120253 h 1082278"/>
              <a:gd name="connsiteX2" fmla="*/ 311444 w 616244"/>
              <a:gd name="connsiteY2" fmla="*/ 120253 h 1082278"/>
              <a:gd name="connsiteX3" fmla="*/ 616244 w 616244"/>
              <a:gd name="connsiteY3" fmla="*/ 1082278 h 1082278"/>
              <a:gd name="connsiteX0" fmla="*/ 618131 w 618131"/>
              <a:gd name="connsiteY0" fmla="*/ 1283587 h 1283587"/>
              <a:gd name="connsiteX1" fmla="*/ 8530 w 618131"/>
              <a:gd name="connsiteY1" fmla="*/ 321562 h 1283587"/>
              <a:gd name="connsiteX2" fmla="*/ 284756 w 618131"/>
              <a:gd name="connsiteY2" fmla="*/ 54862 h 1283587"/>
              <a:gd name="connsiteX3" fmla="*/ 618131 w 618131"/>
              <a:gd name="connsiteY3" fmla="*/ 1283587 h 1283587"/>
              <a:gd name="connsiteX0" fmla="*/ 616324 w 616324"/>
              <a:gd name="connsiteY0" fmla="*/ 1228727 h 1228727"/>
              <a:gd name="connsiteX1" fmla="*/ 6723 w 616324"/>
              <a:gd name="connsiteY1" fmla="*/ 266702 h 1228727"/>
              <a:gd name="connsiteX2" fmla="*/ 282949 w 616324"/>
              <a:gd name="connsiteY2" fmla="*/ 2 h 1228727"/>
              <a:gd name="connsiteX3" fmla="*/ 616324 w 616324"/>
              <a:gd name="connsiteY3" fmla="*/ 1228727 h 1228727"/>
              <a:gd name="connsiteX0" fmla="*/ 562772 w 562772"/>
              <a:gd name="connsiteY0" fmla="*/ 1331932 h 1331932"/>
              <a:gd name="connsiteX1" fmla="*/ 10321 w 562772"/>
              <a:gd name="connsiteY1" fmla="*/ 207982 h 1331932"/>
              <a:gd name="connsiteX2" fmla="*/ 229397 w 562772"/>
              <a:gd name="connsiteY2" fmla="*/ 103207 h 1331932"/>
              <a:gd name="connsiteX3" fmla="*/ 562772 w 562772"/>
              <a:gd name="connsiteY3" fmla="*/ 1331932 h 1331932"/>
              <a:gd name="connsiteX0" fmla="*/ 558354 w 558354"/>
              <a:gd name="connsiteY0" fmla="*/ 1292071 h 1292071"/>
              <a:gd name="connsiteX1" fmla="*/ 5903 w 558354"/>
              <a:gd name="connsiteY1" fmla="*/ 168121 h 1292071"/>
              <a:gd name="connsiteX2" fmla="*/ 224979 w 558354"/>
              <a:gd name="connsiteY2" fmla="*/ 63346 h 1292071"/>
              <a:gd name="connsiteX3" fmla="*/ 558354 w 558354"/>
              <a:gd name="connsiteY3" fmla="*/ 1292071 h 1292071"/>
              <a:gd name="connsiteX0" fmla="*/ 558354 w 558354"/>
              <a:gd name="connsiteY0" fmla="*/ 1228844 h 1228844"/>
              <a:gd name="connsiteX1" fmla="*/ 5903 w 558354"/>
              <a:gd name="connsiteY1" fmla="*/ 104894 h 1228844"/>
              <a:gd name="connsiteX2" fmla="*/ 224979 w 558354"/>
              <a:gd name="connsiteY2" fmla="*/ 119 h 1228844"/>
              <a:gd name="connsiteX3" fmla="*/ 558354 w 558354"/>
              <a:gd name="connsiteY3" fmla="*/ 1228844 h 1228844"/>
              <a:gd name="connsiteX0" fmla="*/ 558354 w 558354"/>
              <a:gd name="connsiteY0" fmla="*/ 1308907 h 1308907"/>
              <a:gd name="connsiteX1" fmla="*/ 5903 w 558354"/>
              <a:gd name="connsiteY1" fmla="*/ 118282 h 1308907"/>
              <a:gd name="connsiteX2" fmla="*/ 224979 w 558354"/>
              <a:gd name="connsiteY2" fmla="*/ 80182 h 1308907"/>
              <a:gd name="connsiteX3" fmla="*/ 558354 w 558354"/>
              <a:gd name="connsiteY3" fmla="*/ 1308907 h 1308907"/>
              <a:gd name="connsiteX0" fmla="*/ 558354 w 558354"/>
              <a:gd name="connsiteY0" fmla="*/ 1228816 h 1228816"/>
              <a:gd name="connsiteX1" fmla="*/ 5903 w 558354"/>
              <a:gd name="connsiteY1" fmla="*/ 38191 h 1228816"/>
              <a:gd name="connsiteX2" fmla="*/ 224979 w 558354"/>
              <a:gd name="connsiteY2" fmla="*/ 91 h 1228816"/>
              <a:gd name="connsiteX3" fmla="*/ 558354 w 558354"/>
              <a:gd name="connsiteY3" fmla="*/ 1228816 h 1228816"/>
              <a:gd name="connsiteX0" fmla="*/ 663293 w 663293"/>
              <a:gd name="connsiteY0" fmla="*/ 1326887 h 1326887"/>
              <a:gd name="connsiteX1" fmla="*/ 4414 w 663293"/>
              <a:gd name="connsiteY1" fmla="*/ 80879 h 1326887"/>
              <a:gd name="connsiteX2" fmla="*/ 329918 w 663293"/>
              <a:gd name="connsiteY2" fmla="*/ 98162 h 1326887"/>
              <a:gd name="connsiteX3" fmla="*/ 663293 w 663293"/>
              <a:gd name="connsiteY3" fmla="*/ 1326887 h 1326887"/>
              <a:gd name="connsiteX0" fmla="*/ 665186 w 665186"/>
              <a:gd name="connsiteY0" fmla="*/ 1407350 h 1407350"/>
              <a:gd name="connsiteX1" fmla="*/ 6307 w 665186"/>
              <a:gd name="connsiteY1" fmla="*/ 161342 h 1407350"/>
              <a:gd name="connsiteX2" fmla="*/ 351167 w 665186"/>
              <a:gd name="connsiteY2" fmla="*/ 151530 h 1407350"/>
              <a:gd name="connsiteX3" fmla="*/ 665186 w 665186"/>
              <a:gd name="connsiteY3" fmla="*/ 1407350 h 1407350"/>
              <a:gd name="connsiteX0" fmla="*/ 664847 w 664847"/>
              <a:gd name="connsiteY0" fmla="*/ 1340381 h 1340381"/>
              <a:gd name="connsiteX1" fmla="*/ 5968 w 664847"/>
              <a:gd name="connsiteY1" fmla="*/ 94373 h 1340381"/>
              <a:gd name="connsiteX2" fmla="*/ 350828 w 664847"/>
              <a:gd name="connsiteY2" fmla="*/ 84561 h 1340381"/>
              <a:gd name="connsiteX3" fmla="*/ 664847 w 664847"/>
              <a:gd name="connsiteY3" fmla="*/ 1340381 h 1340381"/>
              <a:gd name="connsiteX0" fmla="*/ 660237 w 660237"/>
              <a:gd name="connsiteY0" fmla="*/ 1255842 h 1255842"/>
              <a:gd name="connsiteX1" fmla="*/ 1358 w 660237"/>
              <a:gd name="connsiteY1" fmla="*/ 9834 h 1255842"/>
              <a:gd name="connsiteX2" fmla="*/ 346218 w 660237"/>
              <a:gd name="connsiteY2" fmla="*/ 22 h 1255842"/>
              <a:gd name="connsiteX3" fmla="*/ 660237 w 660237"/>
              <a:gd name="connsiteY3" fmla="*/ 1255842 h 1255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0237" h="1255842">
                <a:moveTo>
                  <a:pt x="660237" y="1255842"/>
                </a:moveTo>
                <a:cubicBezTo>
                  <a:pt x="323564" y="1255842"/>
                  <a:pt x="-24511" y="12969"/>
                  <a:pt x="1358" y="9834"/>
                </a:cubicBezTo>
                <a:cubicBezTo>
                  <a:pt x="27227" y="6699"/>
                  <a:pt x="255620" y="5504"/>
                  <a:pt x="346218" y="22"/>
                </a:cubicBezTo>
                <a:cubicBezTo>
                  <a:pt x="436816" y="-5460"/>
                  <a:pt x="468361" y="1028739"/>
                  <a:pt x="660237" y="1255842"/>
                </a:cubicBezTo>
                <a:close/>
              </a:path>
            </a:pathLst>
          </a:custGeom>
          <a:solidFill>
            <a:schemeClr val="bg1">
              <a:lumMod val="95000"/>
              <a:alpha val="61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86B98965-3678-4D44-83D9-0F1ED6592A74}"/>
              </a:ext>
            </a:extLst>
          </p:cNvPr>
          <p:cNvSpPr/>
          <p:nvPr/>
        </p:nvSpPr>
        <p:spPr bwMode="auto">
          <a:xfrm>
            <a:off x="8441381" y="1485431"/>
            <a:ext cx="298215" cy="66051"/>
          </a:xfrm>
          <a:prstGeom prst="roundRect">
            <a:avLst/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416692F-E354-483C-AB6F-792782D0535C}"/>
              </a:ext>
            </a:extLst>
          </p:cNvPr>
          <p:cNvSpPr/>
          <p:nvPr/>
        </p:nvSpPr>
        <p:spPr bwMode="auto">
          <a:xfrm>
            <a:off x="7078299" y="2610743"/>
            <a:ext cx="298215" cy="66051"/>
          </a:xfrm>
          <a:prstGeom prst="roundRect">
            <a:avLst/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A1F3BF08-E303-4FDE-AAFC-E3CBEC52D6F7}"/>
              </a:ext>
            </a:extLst>
          </p:cNvPr>
          <p:cNvSpPr/>
          <p:nvPr/>
        </p:nvSpPr>
        <p:spPr bwMode="auto">
          <a:xfrm>
            <a:off x="6583443" y="2215267"/>
            <a:ext cx="298215" cy="66051"/>
          </a:xfrm>
          <a:prstGeom prst="roundRect">
            <a:avLst/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4386D5D-A645-48BF-8507-A531091358D6}"/>
              </a:ext>
            </a:extLst>
          </p:cNvPr>
          <p:cNvSpPr/>
          <p:nvPr/>
        </p:nvSpPr>
        <p:spPr bwMode="auto">
          <a:xfrm>
            <a:off x="7113545" y="4464428"/>
            <a:ext cx="1713290" cy="456878"/>
          </a:xfrm>
          <a:custGeom>
            <a:avLst/>
            <a:gdLst>
              <a:gd name="connsiteX0" fmla="*/ 0 w 1791268"/>
              <a:gd name="connsiteY0" fmla="*/ 44355 h 477672"/>
              <a:gd name="connsiteX1" fmla="*/ 774510 w 1791268"/>
              <a:gd name="connsiteY1" fmla="*/ 44355 h 477672"/>
              <a:gd name="connsiteX2" fmla="*/ 774510 w 1791268"/>
              <a:gd name="connsiteY2" fmla="*/ 477672 h 477672"/>
              <a:gd name="connsiteX3" fmla="*/ 1791268 w 1791268"/>
              <a:gd name="connsiteY3" fmla="*/ 477672 h 477672"/>
              <a:gd name="connsiteX4" fmla="*/ 1791268 w 1791268"/>
              <a:gd name="connsiteY4" fmla="*/ 0 h 477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1268" h="477672">
                <a:moveTo>
                  <a:pt x="0" y="44355"/>
                </a:moveTo>
                <a:lnTo>
                  <a:pt x="774510" y="44355"/>
                </a:lnTo>
                <a:lnTo>
                  <a:pt x="774510" y="477672"/>
                </a:lnTo>
                <a:lnTo>
                  <a:pt x="1791268" y="477672"/>
                </a:lnTo>
                <a:lnTo>
                  <a:pt x="1791268" y="0"/>
                </a:lnTo>
              </a:path>
            </a:pathLst>
          </a:custGeom>
          <a:noFill/>
          <a:ln w="92075">
            <a:solidFill>
              <a:schemeClr val="accent5"/>
            </a:solidFill>
            <a:round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Moon 7">
            <a:extLst>
              <a:ext uri="{FF2B5EF4-FFF2-40B4-BE49-F238E27FC236}">
                <a16:creationId xmlns:a16="http://schemas.microsoft.com/office/drawing/2014/main" id="{3151C5DE-C3B0-4EA7-ABF9-B571ACECAF98}"/>
              </a:ext>
            </a:extLst>
          </p:cNvPr>
          <p:cNvSpPr/>
          <p:nvPr/>
        </p:nvSpPr>
        <p:spPr bwMode="auto">
          <a:xfrm rot="16489640">
            <a:off x="7475741" y="4156328"/>
            <a:ext cx="52704" cy="708515"/>
          </a:xfrm>
          <a:custGeom>
            <a:avLst/>
            <a:gdLst>
              <a:gd name="connsiteX0" fmla="*/ 609601 w 609601"/>
              <a:gd name="connsiteY0" fmla="*/ 1924050 h 1924050"/>
              <a:gd name="connsiteX1" fmla="*/ 0 w 609601"/>
              <a:gd name="connsiteY1" fmla="*/ 962025 h 1924050"/>
              <a:gd name="connsiteX2" fmla="*/ 609601 w 609601"/>
              <a:gd name="connsiteY2" fmla="*/ 0 h 1924050"/>
              <a:gd name="connsiteX3" fmla="*/ 304801 w 609601"/>
              <a:gd name="connsiteY3" fmla="*/ 962025 h 1924050"/>
              <a:gd name="connsiteX4" fmla="*/ 609601 w 609601"/>
              <a:gd name="connsiteY4" fmla="*/ 1924050 h 1924050"/>
              <a:gd name="connsiteX0" fmla="*/ 616244 w 616244"/>
              <a:gd name="connsiteY0" fmla="*/ 1082278 h 1082278"/>
              <a:gd name="connsiteX1" fmla="*/ 6643 w 616244"/>
              <a:gd name="connsiteY1" fmla="*/ 120253 h 1082278"/>
              <a:gd name="connsiteX2" fmla="*/ 311444 w 616244"/>
              <a:gd name="connsiteY2" fmla="*/ 120253 h 1082278"/>
              <a:gd name="connsiteX3" fmla="*/ 616244 w 616244"/>
              <a:gd name="connsiteY3" fmla="*/ 1082278 h 1082278"/>
              <a:gd name="connsiteX0" fmla="*/ 618131 w 618131"/>
              <a:gd name="connsiteY0" fmla="*/ 1283587 h 1283587"/>
              <a:gd name="connsiteX1" fmla="*/ 8530 w 618131"/>
              <a:gd name="connsiteY1" fmla="*/ 321562 h 1283587"/>
              <a:gd name="connsiteX2" fmla="*/ 284756 w 618131"/>
              <a:gd name="connsiteY2" fmla="*/ 54862 h 1283587"/>
              <a:gd name="connsiteX3" fmla="*/ 618131 w 618131"/>
              <a:gd name="connsiteY3" fmla="*/ 1283587 h 1283587"/>
              <a:gd name="connsiteX0" fmla="*/ 616324 w 616324"/>
              <a:gd name="connsiteY0" fmla="*/ 1228727 h 1228727"/>
              <a:gd name="connsiteX1" fmla="*/ 6723 w 616324"/>
              <a:gd name="connsiteY1" fmla="*/ 266702 h 1228727"/>
              <a:gd name="connsiteX2" fmla="*/ 282949 w 616324"/>
              <a:gd name="connsiteY2" fmla="*/ 2 h 1228727"/>
              <a:gd name="connsiteX3" fmla="*/ 616324 w 616324"/>
              <a:gd name="connsiteY3" fmla="*/ 1228727 h 1228727"/>
              <a:gd name="connsiteX0" fmla="*/ 562772 w 562772"/>
              <a:gd name="connsiteY0" fmla="*/ 1331932 h 1331932"/>
              <a:gd name="connsiteX1" fmla="*/ 10321 w 562772"/>
              <a:gd name="connsiteY1" fmla="*/ 207982 h 1331932"/>
              <a:gd name="connsiteX2" fmla="*/ 229397 w 562772"/>
              <a:gd name="connsiteY2" fmla="*/ 103207 h 1331932"/>
              <a:gd name="connsiteX3" fmla="*/ 562772 w 562772"/>
              <a:gd name="connsiteY3" fmla="*/ 1331932 h 1331932"/>
              <a:gd name="connsiteX0" fmla="*/ 558354 w 558354"/>
              <a:gd name="connsiteY0" fmla="*/ 1292071 h 1292071"/>
              <a:gd name="connsiteX1" fmla="*/ 5903 w 558354"/>
              <a:gd name="connsiteY1" fmla="*/ 168121 h 1292071"/>
              <a:gd name="connsiteX2" fmla="*/ 224979 w 558354"/>
              <a:gd name="connsiteY2" fmla="*/ 63346 h 1292071"/>
              <a:gd name="connsiteX3" fmla="*/ 558354 w 558354"/>
              <a:gd name="connsiteY3" fmla="*/ 1292071 h 1292071"/>
              <a:gd name="connsiteX0" fmla="*/ 558354 w 558354"/>
              <a:gd name="connsiteY0" fmla="*/ 1228844 h 1228844"/>
              <a:gd name="connsiteX1" fmla="*/ 5903 w 558354"/>
              <a:gd name="connsiteY1" fmla="*/ 104894 h 1228844"/>
              <a:gd name="connsiteX2" fmla="*/ 224979 w 558354"/>
              <a:gd name="connsiteY2" fmla="*/ 119 h 1228844"/>
              <a:gd name="connsiteX3" fmla="*/ 558354 w 558354"/>
              <a:gd name="connsiteY3" fmla="*/ 1228844 h 1228844"/>
              <a:gd name="connsiteX0" fmla="*/ 558354 w 558354"/>
              <a:gd name="connsiteY0" fmla="*/ 1308907 h 1308907"/>
              <a:gd name="connsiteX1" fmla="*/ 5903 w 558354"/>
              <a:gd name="connsiteY1" fmla="*/ 118282 h 1308907"/>
              <a:gd name="connsiteX2" fmla="*/ 224979 w 558354"/>
              <a:gd name="connsiteY2" fmla="*/ 80182 h 1308907"/>
              <a:gd name="connsiteX3" fmla="*/ 558354 w 558354"/>
              <a:gd name="connsiteY3" fmla="*/ 1308907 h 1308907"/>
              <a:gd name="connsiteX0" fmla="*/ 558354 w 558354"/>
              <a:gd name="connsiteY0" fmla="*/ 1228816 h 1228816"/>
              <a:gd name="connsiteX1" fmla="*/ 5903 w 558354"/>
              <a:gd name="connsiteY1" fmla="*/ 38191 h 1228816"/>
              <a:gd name="connsiteX2" fmla="*/ 224979 w 558354"/>
              <a:gd name="connsiteY2" fmla="*/ 91 h 1228816"/>
              <a:gd name="connsiteX3" fmla="*/ 558354 w 558354"/>
              <a:gd name="connsiteY3" fmla="*/ 1228816 h 1228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354" h="1228816">
                <a:moveTo>
                  <a:pt x="558354" y="1228816"/>
                </a:moveTo>
                <a:cubicBezTo>
                  <a:pt x="221681" y="1228816"/>
                  <a:pt x="-43309" y="42954"/>
                  <a:pt x="5903" y="38191"/>
                </a:cubicBezTo>
                <a:cubicBezTo>
                  <a:pt x="55115" y="33428"/>
                  <a:pt x="180529" y="11204"/>
                  <a:pt x="224979" y="91"/>
                </a:cubicBezTo>
                <a:cubicBezTo>
                  <a:pt x="269429" y="-11022"/>
                  <a:pt x="366478" y="1001713"/>
                  <a:pt x="558354" y="1228816"/>
                </a:cubicBezTo>
                <a:close/>
              </a:path>
            </a:pathLst>
          </a:custGeom>
          <a:solidFill>
            <a:schemeClr val="accent4">
              <a:lumMod val="75000"/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D79890B-C01F-444F-BD80-AB66E3AE967D}"/>
              </a:ext>
            </a:extLst>
          </p:cNvPr>
          <p:cNvSpPr/>
          <p:nvPr/>
        </p:nvSpPr>
        <p:spPr bwMode="auto">
          <a:xfrm>
            <a:off x="7975096" y="4902748"/>
            <a:ext cx="744091" cy="43729"/>
          </a:xfrm>
          <a:prstGeom prst="ellipse">
            <a:avLst/>
          </a:prstGeom>
          <a:solidFill>
            <a:schemeClr val="bg2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3AA3EA2-64D8-4D90-B412-1D62756F0882}"/>
              </a:ext>
            </a:extLst>
          </p:cNvPr>
          <p:cNvSpPr/>
          <p:nvPr/>
        </p:nvSpPr>
        <p:spPr bwMode="auto">
          <a:xfrm>
            <a:off x="6599316" y="4270766"/>
            <a:ext cx="523834" cy="806041"/>
          </a:xfrm>
          <a:prstGeom prst="rect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  <a:effectLst>
            <a:outerShdw blurRad="25400" dist="88900" sx="96000" sy="96000" algn="l" rotWithShape="0">
              <a:prstClr val="black">
                <a:alpha val="28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998176E-4CDA-453C-AAD9-E670267CE2D5}"/>
              </a:ext>
            </a:extLst>
          </p:cNvPr>
          <p:cNvSpPr/>
          <p:nvPr/>
        </p:nvSpPr>
        <p:spPr bwMode="auto">
          <a:xfrm>
            <a:off x="6789728" y="4436129"/>
            <a:ext cx="179220" cy="16727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86C58F1-BAC1-4DEE-B22A-A09CB503471F}"/>
              </a:ext>
            </a:extLst>
          </p:cNvPr>
          <p:cNvSpPr/>
          <p:nvPr/>
        </p:nvSpPr>
        <p:spPr bwMode="auto">
          <a:xfrm>
            <a:off x="6789729" y="4718104"/>
            <a:ext cx="179219" cy="167269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12700">
            <a:solidFill>
              <a:schemeClr val="tx1"/>
            </a:solidFill>
            <a:round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30FCDBE-B31D-4A7E-8D8A-050EBD02F619}"/>
              </a:ext>
            </a:extLst>
          </p:cNvPr>
          <p:cNvSpPr/>
          <p:nvPr/>
        </p:nvSpPr>
        <p:spPr bwMode="auto">
          <a:xfrm>
            <a:off x="6617791" y="4316914"/>
            <a:ext cx="475531" cy="769683"/>
          </a:xfrm>
          <a:custGeom>
            <a:avLst/>
            <a:gdLst>
              <a:gd name="connsiteX0" fmla="*/ 2499 w 497174"/>
              <a:gd name="connsiteY0" fmla="*/ 622092 h 794478"/>
              <a:gd name="connsiteX1" fmla="*/ 0 w 497174"/>
              <a:gd name="connsiteY1" fmla="*/ 19987 h 794478"/>
              <a:gd name="connsiteX2" fmla="*/ 482184 w 497174"/>
              <a:gd name="connsiteY2" fmla="*/ 0 h 794478"/>
              <a:gd name="connsiteX3" fmla="*/ 497174 w 497174"/>
              <a:gd name="connsiteY3" fmla="*/ 794478 h 794478"/>
              <a:gd name="connsiteX4" fmla="*/ 7495 w 497174"/>
              <a:gd name="connsiteY4" fmla="*/ 794478 h 794478"/>
              <a:gd name="connsiteX5" fmla="*/ 54964 w 497174"/>
              <a:gd name="connsiteY5" fmla="*/ 727023 h 794478"/>
              <a:gd name="connsiteX6" fmla="*/ 479685 w 497174"/>
              <a:gd name="connsiteY6" fmla="*/ 682052 h 794478"/>
              <a:gd name="connsiteX7" fmla="*/ 444708 w 497174"/>
              <a:gd name="connsiteY7" fmla="*/ 17488 h 794478"/>
              <a:gd name="connsiteX8" fmla="*/ 42472 w 497174"/>
              <a:gd name="connsiteY8" fmla="*/ 44970 h 794478"/>
              <a:gd name="connsiteX9" fmla="*/ 2499 w 497174"/>
              <a:gd name="connsiteY9" fmla="*/ 622092 h 794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97174" h="794478">
                <a:moveTo>
                  <a:pt x="2499" y="622092"/>
                </a:moveTo>
                <a:lnTo>
                  <a:pt x="0" y="19987"/>
                </a:lnTo>
                <a:lnTo>
                  <a:pt x="482184" y="0"/>
                </a:lnTo>
                <a:lnTo>
                  <a:pt x="497174" y="794478"/>
                </a:lnTo>
                <a:lnTo>
                  <a:pt x="7495" y="794478"/>
                </a:lnTo>
                <a:lnTo>
                  <a:pt x="54964" y="727023"/>
                </a:lnTo>
                <a:lnTo>
                  <a:pt x="479685" y="682052"/>
                </a:lnTo>
                <a:lnTo>
                  <a:pt x="444708" y="17488"/>
                </a:lnTo>
                <a:lnTo>
                  <a:pt x="42472" y="44970"/>
                </a:lnTo>
                <a:lnTo>
                  <a:pt x="2499" y="622092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GB" dirty="0">
                <a:solidFill>
                  <a:schemeClr val="bg1"/>
                </a:solidFill>
              </a:rPr>
              <a:t>`</a:t>
            </a:r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1231BB6-20BA-450E-A038-B39E076C2283}"/>
              </a:ext>
            </a:extLst>
          </p:cNvPr>
          <p:cNvSpPr/>
          <p:nvPr/>
        </p:nvSpPr>
        <p:spPr bwMode="auto">
          <a:xfrm>
            <a:off x="6043690" y="5086902"/>
            <a:ext cx="3577830" cy="363348"/>
          </a:xfrm>
          <a:prstGeom prst="parallelogram">
            <a:avLst>
              <a:gd name="adj" fmla="val 9917"/>
            </a:avLst>
          </a:prstGeom>
          <a:solidFill>
            <a:schemeClr val="tx2"/>
          </a:solidFill>
          <a:ln w="76200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BDC1F8C0-2E18-4464-946E-A26A6E38A28D}"/>
              </a:ext>
            </a:extLst>
          </p:cNvPr>
          <p:cNvSpPr/>
          <p:nvPr/>
        </p:nvSpPr>
        <p:spPr bwMode="auto">
          <a:xfrm>
            <a:off x="6230188" y="5165166"/>
            <a:ext cx="3172805" cy="177172"/>
          </a:xfrm>
          <a:prstGeom prst="parallelogram">
            <a:avLst>
              <a:gd name="adj" fmla="val 50214"/>
            </a:avLst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87" name="Graphic 86">
            <a:extLst>
              <a:ext uri="{FF2B5EF4-FFF2-40B4-BE49-F238E27FC236}">
                <a16:creationId xmlns:a16="http://schemas.microsoft.com/office/drawing/2014/main" id="{B9E4DB1E-3D00-4511-9D30-7A2571BAC5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7543" y="2027783"/>
            <a:ext cx="288000" cy="288000"/>
          </a:xfrm>
          <a:prstGeom prst="rect">
            <a:avLst/>
          </a:prstGeom>
          <a:effectLst/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54F64B57-CA16-4A49-9C3C-76FEA21EB4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7543" y="2992879"/>
            <a:ext cx="288000" cy="288000"/>
          </a:xfrm>
          <a:prstGeom prst="rect">
            <a:avLst/>
          </a:prstGeom>
          <a:effectLst/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9E4072DA-4767-425B-B8AA-2D39D0D29AEC}"/>
              </a:ext>
            </a:extLst>
          </p:cNvPr>
          <p:cNvSpPr/>
          <p:nvPr/>
        </p:nvSpPr>
        <p:spPr>
          <a:xfrm>
            <a:off x="1206237" y="2605965"/>
            <a:ext cx="36513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endParaRPr lang="en-GB" sz="1000" dirty="0">
              <a:solidFill>
                <a:schemeClr val="accent2">
                  <a:lumMod val="10000"/>
                </a:schemeClr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it-IT" b="1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ategory 2</a:t>
            </a:r>
          </a:p>
          <a:p>
            <a:pPr algn="l"/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enean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e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g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ante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ante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Nostra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iam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honcu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ull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</a:t>
            </a: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152B9265-283E-42A3-8AFB-46DDC72132E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07543" y="3957975"/>
            <a:ext cx="288000" cy="288000"/>
          </a:xfrm>
          <a:prstGeom prst="rect">
            <a:avLst/>
          </a:prstGeom>
          <a:effectLst/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A13A91C5-74B2-4273-BB49-68960365B180}"/>
              </a:ext>
            </a:extLst>
          </p:cNvPr>
          <p:cNvSpPr/>
          <p:nvPr/>
        </p:nvSpPr>
        <p:spPr>
          <a:xfrm>
            <a:off x="1206237" y="3571061"/>
            <a:ext cx="36513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endParaRPr lang="en-GB" sz="1000" dirty="0">
              <a:solidFill>
                <a:schemeClr val="accent2">
                  <a:lumMod val="10000"/>
                </a:schemeClr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it-IT" b="1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ategory 3</a:t>
            </a:r>
          </a:p>
          <a:p>
            <a:pPr algn="l"/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enean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e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g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ante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ante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Nostra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iam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honcu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ull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AE7A5FD8-12C9-446C-9FA3-753CC8712D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07543" y="4923070"/>
            <a:ext cx="288000" cy="288000"/>
          </a:xfrm>
          <a:prstGeom prst="rect">
            <a:avLst/>
          </a:prstGeom>
          <a:effectLst/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F8D70286-C773-4983-BAA3-BFF63DE73ACD}"/>
              </a:ext>
            </a:extLst>
          </p:cNvPr>
          <p:cNvSpPr/>
          <p:nvPr/>
        </p:nvSpPr>
        <p:spPr>
          <a:xfrm>
            <a:off x="1206237" y="4536156"/>
            <a:ext cx="36513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endParaRPr lang="en-GB" sz="1000" dirty="0">
              <a:solidFill>
                <a:schemeClr val="accent2">
                  <a:lumMod val="10000"/>
                </a:schemeClr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it-IT" b="1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ategory 4</a:t>
            </a:r>
          </a:p>
          <a:p>
            <a:pPr algn="l"/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enean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e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g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ante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ante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Nostra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iam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honcu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ull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AEDA523C-9059-42A9-B76E-A12048041AAA}"/>
              </a:ext>
            </a:extLst>
          </p:cNvPr>
          <p:cNvSpPr/>
          <p:nvPr/>
        </p:nvSpPr>
        <p:spPr>
          <a:xfrm>
            <a:off x="1206237" y="1577622"/>
            <a:ext cx="36513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endParaRPr lang="en-GB" sz="1000" dirty="0">
              <a:solidFill>
                <a:schemeClr val="accent2">
                  <a:lumMod val="10000"/>
                </a:schemeClr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it-IT" b="1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ategory 1</a:t>
            </a:r>
          </a:p>
          <a:p>
            <a:pPr algn="l"/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enean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e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g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ante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veli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ante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Nostra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iam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honcu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rn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ulla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bortis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CE83216-649F-4EEF-A18E-BD2D0BFA4EAF}"/>
              </a:ext>
            </a:extLst>
          </p:cNvPr>
          <p:cNvGrpSpPr/>
          <p:nvPr/>
        </p:nvGrpSpPr>
        <p:grpSpPr>
          <a:xfrm>
            <a:off x="-455156" y="6116792"/>
            <a:ext cx="10779655" cy="1457864"/>
            <a:chOff x="-455156" y="6116792"/>
            <a:chExt cx="10779655" cy="1457864"/>
          </a:xfrm>
          <a:solidFill>
            <a:schemeClr val="tx2"/>
          </a:solidFill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C23B50E-068B-4A90-8A09-EC8FCCF20762}"/>
                </a:ext>
              </a:extLst>
            </p:cNvPr>
            <p:cNvSpPr/>
            <p:nvPr/>
          </p:nvSpPr>
          <p:spPr bwMode="auto">
            <a:xfrm>
              <a:off x="-45515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8C8FF87-990C-4323-9A7B-E16CF765332B}"/>
                </a:ext>
              </a:extLst>
            </p:cNvPr>
            <p:cNvSpPr/>
            <p:nvPr/>
          </p:nvSpPr>
          <p:spPr bwMode="auto">
            <a:xfrm>
              <a:off x="392280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ECF1786-4396-4B73-839E-D938672ABB67}"/>
                </a:ext>
              </a:extLst>
            </p:cNvPr>
            <p:cNvSpPr/>
            <p:nvPr/>
          </p:nvSpPr>
          <p:spPr bwMode="auto">
            <a:xfrm>
              <a:off x="123971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2B48ABEE-C1B8-481D-B826-D5EB42C9A4B0}"/>
                </a:ext>
              </a:extLst>
            </p:cNvPr>
            <p:cNvSpPr/>
            <p:nvPr/>
          </p:nvSpPr>
          <p:spPr bwMode="auto">
            <a:xfrm>
              <a:off x="2087152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15DB1A36-F6B6-4625-BED7-81322A3CF62C}"/>
                </a:ext>
              </a:extLst>
            </p:cNvPr>
            <p:cNvSpPr/>
            <p:nvPr/>
          </p:nvSpPr>
          <p:spPr bwMode="auto">
            <a:xfrm>
              <a:off x="2934588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DA1E1483-8662-4A33-97E4-13F892EFC571}"/>
                </a:ext>
              </a:extLst>
            </p:cNvPr>
            <p:cNvSpPr/>
            <p:nvPr/>
          </p:nvSpPr>
          <p:spPr bwMode="auto">
            <a:xfrm>
              <a:off x="3782024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A6E475C5-6A5A-4EFC-8B24-234D7D25047B}"/>
                </a:ext>
              </a:extLst>
            </p:cNvPr>
            <p:cNvSpPr/>
            <p:nvPr/>
          </p:nvSpPr>
          <p:spPr bwMode="auto">
            <a:xfrm>
              <a:off x="4629460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C4C3B8F8-A2F9-418B-AA59-66E00CC081EE}"/>
                </a:ext>
              </a:extLst>
            </p:cNvPr>
            <p:cNvSpPr/>
            <p:nvPr/>
          </p:nvSpPr>
          <p:spPr bwMode="auto">
            <a:xfrm>
              <a:off x="547689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E32F2CC0-B58D-44AA-857A-19AF3BCD4F23}"/>
                </a:ext>
              </a:extLst>
            </p:cNvPr>
            <p:cNvSpPr/>
            <p:nvPr/>
          </p:nvSpPr>
          <p:spPr bwMode="auto">
            <a:xfrm>
              <a:off x="6324332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DD38AA66-F890-42A8-96BC-E94946A579D2}"/>
                </a:ext>
              </a:extLst>
            </p:cNvPr>
            <p:cNvSpPr/>
            <p:nvPr/>
          </p:nvSpPr>
          <p:spPr bwMode="auto">
            <a:xfrm>
              <a:off x="7171768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20D9848C-1261-4231-9AA0-DB7734C566F6}"/>
                </a:ext>
              </a:extLst>
            </p:cNvPr>
            <p:cNvSpPr/>
            <p:nvPr/>
          </p:nvSpPr>
          <p:spPr bwMode="auto">
            <a:xfrm>
              <a:off x="8019204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37FA3C6F-A01C-4D13-B1EB-79469B21ACE6}"/>
                </a:ext>
              </a:extLst>
            </p:cNvPr>
            <p:cNvSpPr/>
            <p:nvPr/>
          </p:nvSpPr>
          <p:spPr bwMode="auto">
            <a:xfrm>
              <a:off x="8866635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F8A954D0-EF25-4F0D-85F7-AFAFBF1D518A}"/>
              </a:ext>
            </a:extLst>
          </p:cNvPr>
          <p:cNvGrpSpPr/>
          <p:nvPr/>
        </p:nvGrpSpPr>
        <p:grpSpPr>
          <a:xfrm>
            <a:off x="-816440" y="6418716"/>
            <a:ext cx="11564659" cy="1457864"/>
            <a:chOff x="-1240160" y="6116792"/>
            <a:chExt cx="11564659" cy="1457864"/>
          </a:xfrm>
          <a:solidFill>
            <a:schemeClr val="tx1"/>
          </a:solidFill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B92A2BBC-675F-42E1-8BF1-CD7049C347ED}"/>
                </a:ext>
              </a:extLst>
            </p:cNvPr>
            <p:cNvSpPr/>
            <p:nvPr/>
          </p:nvSpPr>
          <p:spPr bwMode="auto">
            <a:xfrm>
              <a:off x="-45515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A6B2E969-E3D9-49DC-BB6B-C64B60653EE2}"/>
                </a:ext>
              </a:extLst>
            </p:cNvPr>
            <p:cNvSpPr/>
            <p:nvPr/>
          </p:nvSpPr>
          <p:spPr bwMode="auto">
            <a:xfrm>
              <a:off x="392280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F8F75D95-B9BF-4A39-9FC6-B0F955317EE2}"/>
                </a:ext>
              </a:extLst>
            </p:cNvPr>
            <p:cNvSpPr/>
            <p:nvPr/>
          </p:nvSpPr>
          <p:spPr bwMode="auto">
            <a:xfrm>
              <a:off x="123971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103EAB74-8064-43F0-9FD7-EEA7A607769A}"/>
                </a:ext>
              </a:extLst>
            </p:cNvPr>
            <p:cNvSpPr/>
            <p:nvPr/>
          </p:nvSpPr>
          <p:spPr bwMode="auto">
            <a:xfrm>
              <a:off x="2087152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3D597BA-399D-41CC-8D00-87D1A25CA032}"/>
                </a:ext>
              </a:extLst>
            </p:cNvPr>
            <p:cNvSpPr/>
            <p:nvPr/>
          </p:nvSpPr>
          <p:spPr bwMode="auto">
            <a:xfrm>
              <a:off x="2934588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D0FE9C0E-984B-4E90-971A-7B714B0D3210}"/>
                </a:ext>
              </a:extLst>
            </p:cNvPr>
            <p:cNvSpPr/>
            <p:nvPr/>
          </p:nvSpPr>
          <p:spPr bwMode="auto">
            <a:xfrm>
              <a:off x="3782024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7255D82B-1A15-463C-B3FD-5184FF902986}"/>
                </a:ext>
              </a:extLst>
            </p:cNvPr>
            <p:cNvSpPr/>
            <p:nvPr/>
          </p:nvSpPr>
          <p:spPr bwMode="auto">
            <a:xfrm>
              <a:off x="4629460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5C98FB44-EC35-4DA2-8FD6-4626069FCDF6}"/>
                </a:ext>
              </a:extLst>
            </p:cNvPr>
            <p:cNvSpPr/>
            <p:nvPr/>
          </p:nvSpPr>
          <p:spPr bwMode="auto">
            <a:xfrm>
              <a:off x="5476896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46C8AAC2-03A0-45B5-8DCA-A08497A882D1}"/>
                </a:ext>
              </a:extLst>
            </p:cNvPr>
            <p:cNvSpPr/>
            <p:nvPr/>
          </p:nvSpPr>
          <p:spPr bwMode="auto">
            <a:xfrm>
              <a:off x="6324332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FA0BDC9F-8547-4C89-9ED4-6FC3EFD743EE}"/>
                </a:ext>
              </a:extLst>
            </p:cNvPr>
            <p:cNvSpPr/>
            <p:nvPr/>
          </p:nvSpPr>
          <p:spPr bwMode="auto">
            <a:xfrm>
              <a:off x="7171768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D1AFCBF2-ACBE-4B1D-8759-0EC5B8CF94F1}"/>
                </a:ext>
              </a:extLst>
            </p:cNvPr>
            <p:cNvSpPr/>
            <p:nvPr/>
          </p:nvSpPr>
          <p:spPr bwMode="auto">
            <a:xfrm>
              <a:off x="8019204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FA93D626-C4AD-41E4-A32A-41BBA083FCC3}"/>
                </a:ext>
              </a:extLst>
            </p:cNvPr>
            <p:cNvSpPr/>
            <p:nvPr/>
          </p:nvSpPr>
          <p:spPr bwMode="auto">
            <a:xfrm>
              <a:off x="8866635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5F959CDA-6F31-4A45-8CCF-6933117013CE}"/>
                </a:ext>
              </a:extLst>
            </p:cNvPr>
            <p:cNvSpPr/>
            <p:nvPr/>
          </p:nvSpPr>
          <p:spPr bwMode="auto">
            <a:xfrm>
              <a:off x="-1240160" y="6116792"/>
              <a:ext cx="1457864" cy="1457864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137" name="Text Placeholder 32">
            <a:extLst>
              <a:ext uri="{FF2B5EF4-FFF2-40B4-BE49-F238E27FC236}">
                <a16:creationId xmlns:a16="http://schemas.microsoft.com/office/drawing/2014/main" id="{B4095A8B-6011-4E42-A4DC-44639F43FE7B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  <p:sp>
        <p:nvSpPr>
          <p:cNvPr id="138" name="Title 4">
            <a:extLst>
              <a:ext uri="{FF2B5EF4-FFF2-40B4-BE49-F238E27FC236}">
                <a16:creationId xmlns:a16="http://schemas.microsoft.com/office/drawing/2014/main" id="{53B2CC08-D118-48DC-8337-94F193DD2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Oil refinery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0505369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1B40A65-C9AD-456B-92E2-07E3A045F7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58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1B40A65-C9AD-456B-92E2-07E3A045F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tangle 110">
            <a:extLst>
              <a:ext uri="{FF2B5EF4-FFF2-40B4-BE49-F238E27FC236}">
                <a16:creationId xmlns:a16="http://schemas.microsoft.com/office/drawing/2014/main" id="{F955662C-6698-4C5D-B5F1-6222DA9D6FF1}"/>
              </a:ext>
            </a:extLst>
          </p:cNvPr>
          <p:cNvSpPr/>
          <p:nvPr/>
        </p:nvSpPr>
        <p:spPr bwMode="auto">
          <a:xfrm rot="18193427" flipV="1">
            <a:off x="3309811" y="6441161"/>
            <a:ext cx="964096" cy="468373"/>
          </a:xfrm>
          <a:prstGeom prst="rect">
            <a:avLst/>
          </a:prstGeom>
          <a:solidFill>
            <a:srgbClr val="F0C674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2B1148-FC2F-4A5A-8BFA-58D424D506EF}"/>
              </a:ext>
            </a:extLst>
          </p:cNvPr>
          <p:cNvSpPr/>
          <p:nvPr/>
        </p:nvSpPr>
        <p:spPr bwMode="auto">
          <a:xfrm rot="3406573">
            <a:off x="5625627" y="6441161"/>
            <a:ext cx="964096" cy="468373"/>
          </a:xfrm>
          <a:prstGeom prst="rect">
            <a:avLst/>
          </a:prstGeom>
          <a:solidFill>
            <a:srgbClr val="F0C674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A7159BD-7992-4BCF-8CCF-B22D9095F50B}"/>
              </a:ext>
            </a:extLst>
          </p:cNvPr>
          <p:cNvSpPr/>
          <p:nvPr/>
        </p:nvSpPr>
        <p:spPr bwMode="auto">
          <a:xfrm>
            <a:off x="3820525" y="5811666"/>
            <a:ext cx="2264950" cy="851072"/>
          </a:xfrm>
          <a:custGeom>
            <a:avLst/>
            <a:gdLst>
              <a:gd name="connsiteX0" fmla="*/ 0 w 3210128"/>
              <a:gd name="connsiteY0" fmla="*/ 476655 h 1206229"/>
              <a:gd name="connsiteX1" fmla="*/ 301557 w 3210128"/>
              <a:gd name="connsiteY1" fmla="*/ 1206229 h 1206229"/>
              <a:gd name="connsiteX2" fmla="*/ 2879387 w 3210128"/>
              <a:gd name="connsiteY2" fmla="*/ 1206229 h 1206229"/>
              <a:gd name="connsiteX3" fmla="*/ 3210128 w 3210128"/>
              <a:gd name="connsiteY3" fmla="*/ 486383 h 1206229"/>
              <a:gd name="connsiteX4" fmla="*/ 2140085 w 3210128"/>
              <a:gd name="connsiteY4" fmla="*/ 0 h 1206229"/>
              <a:gd name="connsiteX5" fmla="*/ 1070042 w 3210128"/>
              <a:gd name="connsiteY5" fmla="*/ 19455 h 1206229"/>
              <a:gd name="connsiteX6" fmla="*/ 0 w 3210128"/>
              <a:gd name="connsiteY6" fmla="*/ 476655 h 1206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10128" h="1206229">
                <a:moveTo>
                  <a:pt x="0" y="476655"/>
                </a:moveTo>
                <a:lnTo>
                  <a:pt x="301557" y="1206229"/>
                </a:lnTo>
                <a:lnTo>
                  <a:pt x="2879387" y="1206229"/>
                </a:lnTo>
                <a:lnTo>
                  <a:pt x="3210128" y="486383"/>
                </a:lnTo>
                <a:lnTo>
                  <a:pt x="2140085" y="0"/>
                </a:lnTo>
                <a:lnTo>
                  <a:pt x="1070042" y="19455"/>
                </a:lnTo>
                <a:lnTo>
                  <a:pt x="0" y="476655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40BBCA1-260A-40FB-BC67-C35D7CC6E88A}"/>
              </a:ext>
            </a:extLst>
          </p:cNvPr>
          <p:cNvSpPr/>
          <p:nvPr/>
        </p:nvSpPr>
        <p:spPr bwMode="auto">
          <a:xfrm>
            <a:off x="4558886" y="5657930"/>
            <a:ext cx="795352" cy="370125"/>
          </a:xfrm>
          <a:custGeom>
            <a:avLst/>
            <a:gdLst>
              <a:gd name="connsiteX0" fmla="*/ 171450 w 1114425"/>
              <a:gd name="connsiteY0" fmla="*/ 23813 h 523875"/>
              <a:gd name="connsiteX1" fmla="*/ 138113 w 1114425"/>
              <a:gd name="connsiteY1" fmla="*/ 128588 h 523875"/>
              <a:gd name="connsiteX2" fmla="*/ 76200 w 1114425"/>
              <a:gd name="connsiteY2" fmla="*/ 185738 h 523875"/>
              <a:gd name="connsiteX3" fmla="*/ 0 w 1114425"/>
              <a:gd name="connsiteY3" fmla="*/ 214313 h 523875"/>
              <a:gd name="connsiteX4" fmla="*/ 57150 w 1114425"/>
              <a:gd name="connsiteY4" fmla="*/ 314325 h 523875"/>
              <a:gd name="connsiteX5" fmla="*/ 157163 w 1114425"/>
              <a:gd name="connsiteY5" fmla="*/ 423863 h 523875"/>
              <a:gd name="connsiteX6" fmla="*/ 300038 w 1114425"/>
              <a:gd name="connsiteY6" fmla="*/ 495300 h 523875"/>
              <a:gd name="connsiteX7" fmla="*/ 457200 w 1114425"/>
              <a:gd name="connsiteY7" fmla="*/ 509588 h 523875"/>
              <a:gd name="connsiteX8" fmla="*/ 671513 w 1114425"/>
              <a:gd name="connsiteY8" fmla="*/ 523875 h 523875"/>
              <a:gd name="connsiteX9" fmla="*/ 814388 w 1114425"/>
              <a:gd name="connsiteY9" fmla="*/ 514350 h 523875"/>
              <a:gd name="connsiteX10" fmla="*/ 981075 w 1114425"/>
              <a:gd name="connsiteY10" fmla="*/ 447675 h 523875"/>
              <a:gd name="connsiteX11" fmla="*/ 1095375 w 1114425"/>
              <a:gd name="connsiteY11" fmla="*/ 342900 h 523875"/>
              <a:gd name="connsiteX12" fmla="*/ 1114425 w 1114425"/>
              <a:gd name="connsiteY12" fmla="*/ 233363 h 523875"/>
              <a:gd name="connsiteX13" fmla="*/ 1028700 w 1114425"/>
              <a:gd name="connsiteY13" fmla="*/ 176213 h 523875"/>
              <a:gd name="connsiteX14" fmla="*/ 1000125 w 1114425"/>
              <a:gd name="connsiteY14" fmla="*/ 0 h 523875"/>
              <a:gd name="connsiteX15" fmla="*/ 790575 w 1114425"/>
              <a:gd name="connsiteY15" fmla="*/ 190500 h 523875"/>
              <a:gd name="connsiteX16" fmla="*/ 433388 w 1114425"/>
              <a:gd name="connsiteY16" fmla="*/ 152400 h 523875"/>
              <a:gd name="connsiteX17" fmla="*/ 171450 w 1114425"/>
              <a:gd name="connsiteY17" fmla="*/ 23813 h 523875"/>
              <a:gd name="connsiteX0" fmla="*/ 183356 w 1126331"/>
              <a:gd name="connsiteY0" fmla="*/ 23813 h 523875"/>
              <a:gd name="connsiteX1" fmla="*/ 150019 w 1126331"/>
              <a:gd name="connsiteY1" fmla="*/ 128588 h 523875"/>
              <a:gd name="connsiteX2" fmla="*/ 88106 w 1126331"/>
              <a:gd name="connsiteY2" fmla="*/ 185738 h 523875"/>
              <a:gd name="connsiteX3" fmla="*/ 0 w 1126331"/>
              <a:gd name="connsiteY3" fmla="*/ 233363 h 523875"/>
              <a:gd name="connsiteX4" fmla="*/ 69056 w 1126331"/>
              <a:gd name="connsiteY4" fmla="*/ 314325 h 523875"/>
              <a:gd name="connsiteX5" fmla="*/ 169069 w 1126331"/>
              <a:gd name="connsiteY5" fmla="*/ 423863 h 523875"/>
              <a:gd name="connsiteX6" fmla="*/ 311944 w 1126331"/>
              <a:gd name="connsiteY6" fmla="*/ 495300 h 523875"/>
              <a:gd name="connsiteX7" fmla="*/ 469106 w 1126331"/>
              <a:gd name="connsiteY7" fmla="*/ 509588 h 523875"/>
              <a:gd name="connsiteX8" fmla="*/ 683419 w 1126331"/>
              <a:gd name="connsiteY8" fmla="*/ 523875 h 523875"/>
              <a:gd name="connsiteX9" fmla="*/ 826294 w 1126331"/>
              <a:gd name="connsiteY9" fmla="*/ 514350 h 523875"/>
              <a:gd name="connsiteX10" fmla="*/ 992981 w 1126331"/>
              <a:gd name="connsiteY10" fmla="*/ 447675 h 523875"/>
              <a:gd name="connsiteX11" fmla="*/ 1107281 w 1126331"/>
              <a:gd name="connsiteY11" fmla="*/ 342900 h 523875"/>
              <a:gd name="connsiteX12" fmla="*/ 1126331 w 1126331"/>
              <a:gd name="connsiteY12" fmla="*/ 233363 h 523875"/>
              <a:gd name="connsiteX13" fmla="*/ 1040606 w 1126331"/>
              <a:gd name="connsiteY13" fmla="*/ 176213 h 523875"/>
              <a:gd name="connsiteX14" fmla="*/ 1012031 w 1126331"/>
              <a:gd name="connsiteY14" fmla="*/ 0 h 523875"/>
              <a:gd name="connsiteX15" fmla="*/ 802481 w 1126331"/>
              <a:gd name="connsiteY15" fmla="*/ 190500 h 523875"/>
              <a:gd name="connsiteX16" fmla="*/ 445294 w 1126331"/>
              <a:gd name="connsiteY16" fmla="*/ 152400 h 523875"/>
              <a:gd name="connsiteX17" fmla="*/ 183356 w 1126331"/>
              <a:gd name="connsiteY17" fmla="*/ 23813 h 523875"/>
              <a:gd name="connsiteX0" fmla="*/ 178594 w 1121569"/>
              <a:gd name="connsiteY0" fmla="*/ 23813 h 523875"/>
              <a:gd name="connsiteX1" fmla="*/ 145257 w 1121569"/>
              <a:gd name="connsiteY1" fmla="*/ 128588 h 523875"/>
              <a:gd name="connsiteX2" fmla="*/ 83344 w 1121569"/>
              <a:gd name="connsiteY2" fmla="*/ 185738 h 523875"/>
              <a:gd name="connsiteX3" fmla="*/ 0 w 1121569"/>
              <a:gd name="connsiteY3" fmla="*/ 240507 h 523875"/>
              <a:gd name="connsiteX4" fmla="*/ 64294 w 1121569"/>
              <a:gd name="connsiteY4" fmla="*/ 314325 h 523875"/>
              <a:gd name="connsiteX5" fmla="*/ 164307 w 1121569"/>
              <a:gd name="connsiteY5" fmla="*/ 423863 h 523875"/>
              <a:gd name="connsiteX6" fmla="*/ 307182 w 1121569"/>
              <a:gd name="connsiteY6" fmla="*/ 495300 h 523875"/>
              <a:gd name="connsiteX7" fmla="*/ 464344 w 1121569"/>
              <a:gd name="connsiteY7" fmla="*/ 509588 h 523875"/>
              <a:gd name="connsiteX8" fmla="*/ 678657 w 1121569"/>
              <a:gd name="connsiteY8" fmla="*/ 523875 h 523875"/>
              <a:gd name="connsiteX9" fmla="*/ 821532 w 1121569"/>
              <a:gd name="connsiteY9" fmla="*/ 514350 h 523875"/>
              <a:gd name="connsiteX10" fmla="*/ 988219 w 1121569"/>
              <a:gd name="connsiteY10" fmla="*/ 447675 h 523875"/>
              <a:gd name="connsiteX11" fmla="*/ 1102519 w 1121569"/>
              <a:gd name="connsiteY11" fmla="*/ 342900 h 523875"/>
              <a:gd name="connsiteX12" fmla="*/ 1121569 w 1121569"/>
              <a:gd name="connsiteY12" fmla="*/ 233363 h 523875"/>
              <a:gd name="connsiteX13" fmla="*/ 1035844 w 1121569"/>
              <a:gd name="connsiteY13" fmla="*/ 176213 h 523875"/>
              <a:gd name="connsiteX14" fmla="*/ 1007269 w 1121569"/>
              <a:gd name="connsiteY14" fmla="*/ 0 h 523875"/>
              <a:gd name="connsiteX15" fmla="*/ 797719 w 1121569"/>
              <a:gd name="connsiteY15" fmla="*/ 190500 h 523875"/>
              <a:gd name="connsiteX16" fmla="*/ 440532 w 1121569"/>
              <a:gd name="connsiteY16" fmla="*/ 152400 h 523875"/>
              <a:gd name="connsiteX17" fmla="*/ 178594 w 1121569"/>
              <a:gd name="connsiteY17" fmla="*/ 23813 h 523875"/>
              <a:gd name="connsiteX0" fmla="*/ 178594 w 1121569"/>
              <a:gd name="connsiteY0" fmla="*/ 23813 h 523875"/>
              <a:gd name="connsiteX1" fmla="*/ 145257 w 1121569"/>
              <a:gd name="connsiteY1" fmla="*/ 128588 h 523875"/>
              <a:gd name="connsiteX2" fmla="*/ 83344 w 1121569"/>
              <a:gd name="connsiteY2" fmla="*/ 185738 h 523875"/>
              <a:gd name="connsiteX3" fmla="*/ 0 w 1121569"/>
              <a:gd name="connsiteY3" fmla="*/ 240507 h 523875"/>
              <a:gd name="connsiteX4" fmla="*/ 64294 w 1121569"/>
              <a:gd name="connsiteY4" fmla="*/ 314325 h 523875"/>
              <a:gd name="connsiteX5" fmla="*/ 164307 w 1121569"/>
              <a:gd name="connsiteY5" fmla="*/ 423863 h 523875"/>
              <a:gd name="connsiteX6" fmla="*/ 307182 w 1121569"/>
              <a:gd name="connsiteY6" fmla="*/ 495300 h 523875"/>
              <a:gd name="connsiteX7" fmla="*/ 464344 w 1121569"/>
              <a:gd name="connsiteY7" fmla="*/ 509588 h 523875"/>
              <a:gd name="connsiteX8" fmla="*/ 678657 w 1121569"/>
              <a:gd name="connsiteY8" fmla="*/ 523875 h 523875"/>
              <a:gd name="connsiteX9" fmla="*/ 821532 w 1121569"/>
              <a:gd name="connsiteY9" fmla="*/ 514350 h 523875"/>
              <a:gd name="connsiteX10" fmla="*/ 988219 w 1121569"/>
              <a:gd name="connsiteY10" fmla="*/ 447675 h 523875"/>
              <a:gd name="connsiteX11" fmla="*/ 1102519 w 1121569"/>
              <a:gd name="connsiteY11" fmla="*/ 342900 h 523875"/>
              <a:gd name="connsiteX12" fmla="*/ 1121569 w 1121569"/>
              <a:gd name="connsiteY12" fmla="*/ 233363 h 523875"/>
              <a:gd name="connsiteX13" fmla="*/ 1028700 w 1121569"/>
              <a:gd name="connsiteY13" fmla="*/ 188119 h 523875"/>
              <a:gd name="connsiteX14" fmla="*/ 1007269 w 1121569"/>
              <a:gd name="connsiteY14" fmla="*/ 0 h 523875"/>
              <a:gd name="connsiteX15" fmla="*/ 797719 w 1121569"/>
              <a:gd name="connsiteY15" fmla="*/ 190500 h 523875"/>
              <a:gd name="connsiteX16" fmla="*/ 440532 w 1121569"/>
              <a:gd name="connsiteY16" fmla="*/ 152400 h 523875"/>
              <a:gd name="connsiteX17" fmla="*/ 178594 w 1121569"/>
              <a:gd name="connsiteY17" fmla="*/ 23813 h 523875"/>
              <a:gd name="connsiteX0" fmla="*/ 178594 w 1127081"/>
              <a:gd name="connsiteY0" fmla="*/ 23813 h 523875"/>
              <a:gd name="connsiteX1" fmla="*/ 145257 w 1127081"/>
              <a:gd name="connsiteY1" fmla="*/ 128588 h 523875"/>
              <a:gd name="connsiteX2" fmla="*/ 83344 w 1127081"/>
              <a:gd name="connsiteY2" fmla="*/ 185738 h 523875"/>
              <a:gd name="connsiteX3" fmla="*/ 0 w 1127081"/>
              <a:gd name="connsiteY3" fmla="*/ 240507 h 523875"/>
              <a:gd name="connsiteX4" fmla="*/ 64294 w 1127081"/>
              <a:gd name="connsiteY4" fmla="*/ 314325 h 523875"/>
              <a:gd name="connsiteX5" fmla="*/ 164307 w 1127081"/>
              <a:gd name="connsiteY5" fmla="*/ 423863 h 523875"/>
              <a:gd name="connsiteX6" fmla="*/ 307182 w 1127081"/>
              <a:gd name="connsiteY6" fmla="*/ 495300 h 523875"/>
              <a:gd name="connsiteX7" fmla="*/ 464344 w 1127081"/>
              <a:gd name="connsiteY7" fmla="*/ 509588 h 523875"/>
              <a:gd name="connsiteX8" fmla="*/ 678657 w 1127081"/>
              <a:gd name="connsiteY8" fmla="*/ 523875 h 523875"/>
              <a:gd name="connsiteX9" fmla="*/ 821532 w 1127081"/>
              <a:gd name="connsiteY9" fmla="*/ 514350 h 523875"/>
              <a:gd name="connsiteX10" fmla="*/ 988219 w 1127081"/>
              <a:gd name="connsiteY10" fmla="*/ 447675 h 523875"/>
              <a:gd name="connsiteX11" fmla="*/ 1102519 w 1127081"/>
              <a:gd name="connsiteY11" fmla="*/ 342900 h 523875"/>
              <a:gd name="connsiteX12" fmla="*/ 1121569 w 1127081"/>
              <a:gd name="connsiteY12" fmla="*/ 233363 h 523875"/>
              <a:gd name="connsiteX13" fmla="*/ 1028700 w 1127081"/>
              <a:gd name="connsiteY13" fmla="*/ 188119 h 523875"/>
              <a:gd name="connsiteX14" fmla="*/ 1007269 w 1127081"/>
              <a:gd name="connsiteY14" fmla="*/ 0 h 523875"/>
              <a:gd name="connsiteX15" fmla="*/ 797719 w 1127081"/>
              <a:gd name="connsiteY15" fmla="*/ 190500 h 523875"/>
              <a:gd name="connsiteX16" fmla="*/ 440532 w 1127081"/>
              <a:gd name="connsiteY16" fmla="*/ 152400 h 523875"/>
              <a:gd name="connsiteX17" fmla="*/ 178594 w 1127081"/>
              <a:gd name="connsiteY17" fmla="*/ 23813 h 523875"/>
              <a:gd name="connsiteX0" fmla="*/ 178594 w 1127081"/>
              <a:gd name="connsiteY0" fmla="*/ 23813 h 523875"/>
              <a:gd name="connsiteX1" fmla="*/ 145257 w 1127081"/>
              <a:gd name="connsiteY1" fmla="*/ 128588 h 523875"/>
              <a:gd name="connsiteX2" fmla="*/ 83344 w 1127081"/>
              <a:gd name="connsiteY2" fmla="*/ 185738 h 523875"/>
              <a:gd name="connsiteX3" fmla="*/ 0 w 1127081"/>
              <a:gd name="connsiteY3" fmla="*/ 240507 h 523875"/>
              <a:gd name="connsiteX4" fmla="*/ 64294 w 1127081"/>
              <a:gd name="connsiteY4" fmla="*/ 314325 h 523875"/>
              <a:gd name="connsiteX5" fmla="*/ 164307 w 1127081"/>
              <a:gd name="connsiteY5" fmla="*/ 423863 h 523875"/>
              <a:gd name="connsiteX6" fmla="*/ 307182 w 1127081"/>
              <a:gd name="connsiteY6" fmla="*/ 495300 h 523875"/>
              <a:gd name="connsiteX7" fmla="*/ 464344 w 1127081"/>
              <a:gd name="connsiteY7" fmla="*/ 509588 h 523875"/>
              <a:gd name="connsiteX8" fmla="*/ 678657 w 1127081"/>
              <a:gd name="connsiteY8" fmla="*/ 523875 h 523875"/>
              <a:gd name="connsiteX9" fmla="*/ 821532 w 1127081"/>
              <a:gd name="connsiteY9" fmla="*/ 514350 h 523875"/>
              <a:gd name="connsiteX10" fmla="*/ 988219 w 1127081"/>
              <a:gd name="connsiteY10" fmla="*/ 447675 h 523875"/>
              <a:gd name="connsiteX11" fmla="*/ 1102519 w 1127081"/>
              <a:gd name="connsiteY11" fmla="*/ 342900 h 523875"/>
              <a:gd name="connsiteX12" fmla="*/ 1121569 w 1127081"/>
              <a:gd name="connsiteY12" fmla="*/ 233363 h 523875"/>
              <a:gd name="connsiteX13" fmla="*/ 1028700 w 1127081"/>
              <a:gd name="connsiteY13" fmla="*/ 188119 h 523875"/>
              <a:gd name="connsiteX14" fmla="*/ 1007269 w 1127081"/>
              <a:gd name="connsiteY14" fmla="*/ 0 h 523875"/>
              <a:gd name="connsiteX15" fmla="*/ 797719 w 1127081"/>
              <a:gd name="connsiteY15" fmla="*/ 190500 h 523875"/>
              <a:gd name="connsiteX16" fmla="*/ 440532 w 1127081"/>
              <a:gd name="connsiteY16" fmla="*/ 152400 h 523875"/>
              <a:gd name="connsiteX17" fmla="*/ 178594 w 1127081"/>
              <a:gd name="connsiteY17" fmla="*/ 23813 h 523875"/>
              <a:gd name="connsiteX0" fmla="*/ 178594 w 1127081"/>
              <a:gd name="connsiteY0" fmla="*/ 23813 h 524580"/>
              <a:gd name="connsiteX1" fmla="*/ 145257 w 1127081"/>
              <a:gd name="connsiteY1" fmla="*/ 128588 h 524580"/>
              <a:gd name="connsiteX2" fmla="*/ 83344 w 1127081"/>
              <a:gd name="connsiteY2" fmla="*/ 185738 h 524580"/>
              <a:gd name="connsiteX3" fmla="*/ 0 w 1127081"/>
              <a:gd name="connsiteY3" fmla="*/ 240507 h 524580"/>
              <a:gd name="connsiteX4" fmla="*/ 64294 w 1127081"/>
              <a:gd name="connsiteY4" fmla="*/ 314325 h 524580"/>
              <a:gd name="connsiteX5" fmla="*/ 164307 w 1127081"/>
              <a:gd name="connsiteY5" fmla="*/ 423863 h 524580"/>
              <a:gd name="connsiteX6" fmla="*/ 307182 w 1127081"/>
              <a:gd name="connsiteY6" fmla="*/ 495300 h 524580"/>
              <a:gd name="connsiteX7" fmla="*/ 464344 w 1127081"/>
              <a:gd name="connsiteY7" fmla="*/ 509588 h 524580"/>
              <a:gd name="connsiteX8" fmla="*/ 678657 w 1127081"/>
              <a:gd name="connsiteY8" fmla="*/ 523875 h 524580"/>
              <a:gd name="connsiteX9" fmla="*/ 821532 w 1127081"/>
              <a:gd name="connsiteY9" fmla="*/ 514350 h 524580"/>
              <a:gd name="connsiteX10" fmla="*/ 988219 w 1127081"/>
              <a:gd name="connsiteY10" fmla="*/ 447675 h 524580"/>
              <a:gd name="connsiteX11" fmla="*/ 1102519 w 1127081"/>
              <a:gd name="connsiteY11" fmla="*/ 342900 h 524580"/>
              <a:gd name="connsiteX12" fmla="*/ 1121569 w 1127081"/>
              <a:gd name="connsiteY12" fmla="*/ 233363 h 524580"/>
              <a:gd name="connsiteX13" fmla="*/ 1028700 w 1127081"/>
              <a:gd name="connsiteY13" fmla="*/ 188119 h 524580"/>
              <a:gd name="connsiteX14" fmla="*/ 1007269 w 1127081"/>
              <a:gd name="connsiteY14" fmla="*/ 0 h 524580"/>
              <a:gd name="connsiteX15" fmla="*/ 797719 w 1127081"/>
              <a:gd name="connsiteY15" fmla="*/ 190500 h 524580"/>
              <a:gd name="connsiteX16" fmla="*/ 440532 w 1127081"/>
              <a:gd name="connsiteY16" fmla="*/ 152400 h 524580"/>
              <a:gd name="connsiteX17" fmla="*/ 178594 w 1127081"/>
              <a:gd name="connsiteY17" fmla="*/ 23813 h 524580"/>
              <a:gd name="connsiteX0" fmla="*/ 178594 w 1127081"/>
              <a:gd name="connsiteY0" fmla="*/ 23813 h 524580"/>
              <a:gd name="connsiteX1" fmla="*/ 145257 w 1127081"/>
              <a:gd name="connsiteY1" fmla="*/ 128588 h 524580"/>
              <a:gd name="connsiteX2" fmla="*/ 83344 w 1127081"/>
              <a:gd name="connsiteY2" fmla="*/ 185738 h 524580"/>
              <a:gd name="connsiteX3" fmla="*/ 0 w 1127081"/>
              <a:gd name="connsiteY3" fmla="*/ 240507 h 524580"/>
              <a:gd name="connsiteX4" fmla="*/ 64294 w 1127081"/>
              <a:gd name="connsiteY4" fmla="*/ 314325 h 524580"/>
              <a:gd name="connsiteX5" fmla="*/ 164307 w 1127081"/>
              <a:gd name="connsiteY5" fmla="*/ 423863 h 524580"/>
              <a:gd name="connsiteX6" fmla="*/ 307182 w 1127081"/>
              <a:gd name="connsiteY6" fmla="*/ 495300 h 524580"/>
              <a:gd name="connsiteX7" fmla="*/ 464344 w 1127081"/>
              <a:gd name="connsiteY7" fmla="*/ 509588 h 524580"/>
              <a:gd name="connsiteX8" fmla="*/ 659607 w 1127081"/>
              <a:gd name="connsiteY8" fmla="*/ 523875 h 524580"/>
              <a:gd name="connsiteX9" fmla="*/ 821532 w 1127081"/>
              <a:gd name="connsiteY9" fmla="*/ 514350 h 524580"/>
              <a:gd name="connsiteX10" fmla="*/ 988219 w 1127081"/>
              <a:gd name="connsiteY10" fmla="*/ 447675 h 524580"/>
              <a:gd name="connsiteX11" fmla="*/ 1102519 w 1127081"/>
              <a:gd name="connsiteY11" fmla="*/ 342900 h 524580"/>
              <a:gd name="connsiteX12" fmla="*/ 1121569 w 1127081"/>
              <a:gd name="connsiteY12" fmla="*/ 233363 h 524580"/>
              <a:gd name="connsiteX13" fmla="*/ 1028700 w 1127081"/>
              <a:gd name="connsiteY13" fmla="*/ 188119 h 524580"/>
              <a:gd name="connsiteX14" fmla="*/ 1007269 w 1127081"/>
              <a:gd name="connsiteY14" fmla="*/ 0 h 524580"/>
              <a:gd name="connsiteX15" fmla="*/ 797719 w 1127081"/>
              <a:gd name="connsiteY15" fmla="*/ 190500 h 524580"/>
              <a:gd name="connsiteX16" fmla="*/ 440532 w 1127081"/>
              <a:gd name="connsiteY16" fmla="*/ 152400 h 524580"/>
              <a:gd name="connsiteX17" fmla="*/ 178594 w 1127081"/>
              <a:gd name="connsiteY17" fmla="*/ 23813 h 524580"/>
              <a:gd name="connsiteX0" fmla="*/ 178594 w 1127081"/>
              <a:gd name="connsiteY0" fmla="*/ 23813 h 524580"/>
              <a:gd name="connsiteX1" fmla="*/ 145257 w 1127081"/>
              <a:gd name="connsiteY1" fmla="*/ 128588 h 524580"/>
              <a:gd name="connsiteX2" fmla="*/ 83344 w 1127081"/>
              <a:gd name="connsiteY2" fmla="*/ 185738 h 524580"/>
              <a:gd name="connsiteX3" fmla="*/ 0 w 1127081"/>
              <a:gd name="connsiteY3" fmla="*/ 240507 h 524580"/>
              <a:gd name="connsiteX4" fmla="*/ 64294 w 1127081"/>
              <a:gd name="connsiteY4" fmla="*/ 314325 h 524580"/>
              <a:gd name="connsiteX5" fmla="*/ 164307 w 1127081"/>
              <a:gd name="connsiteY5" fmla="*/ 423863 h 524580"/>
              <a:gd name="connsiteX6" fmla="*/ 307182 w 1127081"/>
              <a:gd name="connsiteY6" fmla="*/ 495300 h 524580"/>
              <a:gd name="connsiteX7" fmla="*/ 464344 w 1127081"/>
              <a:gd name="connsiteY7" fmla="*/ 509588 h 524580"/>
              <a:gd name="connsiteX8" fmla="*/ 659607 w 1127081"/>
              <a:gd name="connsiteY8" fmla="*/ 523875 h 524580"/>
              <a:gd name="connsiteX9" fmla="*/ 821532 w 1127081"/>
              <a:gd name="connsiteY9" fmla="*/ 514350 h 524580"/>
              <a:gd name="connsiteX10" fmla="*/ 988219 w 1127081"/>
              <a:gd name="connsiteY10" fmla="*/ 447675 h 524580"/>
              <a:gd name="connsiteX11" fmla="*/ 1102519 w 1127081"/>
              <a:gd name="connsiteY11" fmla="*/ 342900 h 524580"/>
              <a:gd name="connsiteX12" fmla="*/ 1121569 w 1127081"/>
              <a:gd name="connsiteY12" fmla="*/ 233363 h 524580"/>
              <a:gd name="connsiteX13" fmla="*/ 1028700 w 1127081"/>
              <a:gd name="connsiteY13" fmla="*/ 188119 h 524580"/>
              <a:gd name="connsiteX14" fmla="*/ 1007269 w 1127081"/>
              <a:gd name="connsiteY14" fmla="*/ 0 h 524580"/>
              <a:gd name="connsiteX15" fmla="*/ 797719 w 1127081"/>
              <a:gd name="connsiteY15" fmla="*/ 190500 h 524580"/>
              <a:gd name="connsiteX16" fmla="*/ 440532 w 1127081"/>
              <a:gd name="connsiteY16" fmla="*/ 152400 h 524580"/>
              <a:gd name="connsiteX17" fmla="*/ 178594 w 1127081"/>
              <a:gd name="connsiteY17" fmla="*/ 23813 h 524580"/>
              <a:gd name="connsiteX0" fmla="*/ 178594 w 1127081"/>
              <a:gd name="connsiteY0" fmla="*/ 23813 h 524580"/>
              <a:gd name="connsiteX1" fmla="*/ 145257 w 1127081"/>
              <a:gd name="connsiteY1" fmla="*/ 128588 h 524580"/>
              <a:gd name="connsiteX2" fmla="*/ 83344 w 1127081"/>
              <a:gd name="connsiteY2" fmla="*/ 185738 h 524580"/>
              <a:gd name="connsiteX3" fmla="*/ 0 w 1127081"/>
              <a:gd name="connsiteY3" fmla="*/ 240507 h 524580"/>
              <a:gd name="connsiteX4" fmla="*/ 64294 w 1127081"/>
              <a:gd name="connsiteY4" fmla="*/ 314325 h 524580"/>
              <a:gd name="connsiteX5" fmla="*/ 164307 w 1127081"/>
              <a:gd name="connsiteY5" fmla="*/ 423863 h 524580"/>
              <a:gd name="connsiteX6" fmla="*/ 307182 w 1127081"/>
              <a:gd name="connsiteY6" fmla="*/ 495300 h 524580"/>
              <a:gd name="connsiteX7" fmla="*/ 464344 w 1127081"/>
              <a:gd name="connsiteY7" fmla="*/ 509588 h 524580"/>
              <a:gd name="connsiteX8" fmla="*/ 659607 w 1127081"/>
              <a:gd name="connsiteY8" fmla="*/ 523875 h 524580"/>
              <a:gd name="connsiteX9" fmla="*/ 821532 w 1127081"/>
              <a:gd name="connsiteY9" fmla="*/ 514350 h 524580"/>
              <a:gd name="connsiteX10" fmla="*/ 988219 w 1127081"/>
              <a:gd name="connsiteY10" fmla="*/ 447675 h 524580"/>
              <a:gd name="connsiteX11" fmla="*/ 1102519 w 1127081"/>
              <a:gd name="connsiteY11" fmla="*/ 342900 h 524580"/>
              <a:gd name="connsiteX12" fmla="*/ 1121569 w 1127081"/>
              <a:gd name="connsiteY12" fmla="*/ 233363 h 524580"/>
              <a:gd name="connsiteX13" fmla="*/ 1028700 w 1127081"/>
              <a:gd name="connsiteY13" fmla="*/ 188119 h 524580"/>
              <a:gd name="connsiteX14" fmla="*/ 1007269 w 1127081"/>
              <a:gd name="connsiteY14" fmla="*/ 0 h 524580"/>
              <a:gd name="connsiteX15" fmla="*/ 797719 w 1127081"/>
              <a:gd name="connsiteY15" fmla="*/ 190500 h 524580"/>
              <a:gd name="connsiteX16" fmla="*/ 440532 w 1127081"/>
              <a:gd name="connsiteY16" fmla="*/ 152400 h 524580"/>
              <a:gd name="connsiteX17" fmla="*/ 178594 w 1127081"/>
              <a:gd name="connsiteY17" fmla="*/ 23813 h 524580"/>
              <a:gd name="connsiteX0" fmla="*/ 178594 w 1127081"/>
              <a:gd name="connsiteY0" fmla="*/ 23813 h 524580"/>
              <a:gd name="connsiteX1" fmla="*/ 145257 w 1127081"/>
              <a:gd name="connsiteY1" fmla="*/ 128588 h 524580"/>
              <a:gd name="connsiteX2" fmla="*/ 83344 w 1127081"/>
              <a:gd name="connsiteY2" fmla="*/ 185738 h 524580"/>
              <a:gd name="connsiteX3" fmla="*/ 0 w 1127081"/>
              <a:gd name="connsiteY3" fmla="*/ 240507 h 524580"/>
              <a:gd name="connsiteX4" fmla="*/ 64294 w 1127081"/>
              <a:gd name="connsiteY4" fmla="*/ 314325 h 524580"/>
              <a:gd name="connsiteX5" fmla="*/ 164307 w 1127081"/>
              <a:gd name="connsiteY5" fmla="*/ 423863 h 524580"/>
              <a:gd name="connsiteX6" fmla="*/ 307182 w 1127081"/>
              <a:gd name="connsiteY6" fmla="*/ 495300 h 524580"/>
              <a:gd name="connsiteX7" fmla="*/ 464344 w 1127081"/>
              <a:gd name="connsiteY7" fmla="*/ 509588 h 524580"/>
              <a:gd name="connsiteX8" fmla="*/ 659607 w 1127081"/>
              <a:gd name="connsiteY8" fmla="*/ 523875 h 524580"/>
              <a:gd name="connsiteX9" fmla="*/ 821532 w 1127081"/>
              <a:gd name="connsiteY9" fmla="*/ 514350 h 524580"/>
              <a:gd name="connsiteX10" fmla="*/ 988219 w 1127081"/>
              <a:gd name="connsiteY10" fmla="*/ 447675 h 524580"/>
              <a:gd name="connsiteX11" fmla="*/ 1102519 w 1127081"/>
              <a:gd name="connsiteY11" fmla="*/ 342900 h 524580"/>
              <a:gd name="connsiteX12" fmla="*/ 1121569 w 1127081"/>
              <a:gd name="connsiteY12" fmla="*/ 233363 h 524580"/>
              <a:gd name="connsiteX13" fmla="*/ 1028700 w 1127081"/>
              <a:gd name="connsiteY13" fmla="*/ 188119 h 524580"/>
              <a:gd name="connsiteX14" fmla="*/ 1007269 w 1127081"/>
              <a:gd name="connsiteY14" fmla="*/ 0 h 524580"/>
              <a:gd name="connsiteX15" fmla="*/ 797719 w 1127081"/>
              <a:gd name="connsiteY15" fmla="*/ 190500 h 524580"/>
              <a:gd name="connsiteX16" fmla="*/ 440532 w 1127081"/>
              <a:gd name="connsiteY16" fmla="*/ 152400 h 524580"/>
              <a:gd name="connsiteX17" fmla="*/ 178594 w 1127081"/>
              <a:gd name="connsiteY17" fmla="*/ 23813 h 524580"/>
              <a:gd name="connsiteX0" fmla="*/ 178594 w 1127081"/>
              <a:gd name="connsiteY0" fmla="*/ 23813 h 524580"/>
              <a:gd name="connsiteX1" fmla="*/ 145257 w 1127081"/>
              <a:gd name="connsiteY1" fmla="*/ 128588 h 524580"/>
              <a:gd name="connsiteX2" fmla="*/ 83344 w 1127081"/>
              <a:gd name="connsiteY2" fmla="*/ 185738 h 524580"/>
              <a:gd name="connsiteX3" fmla="*/ 0 w 1127081"/>
              <a:gd name="connsiteY3" fmla="*/ 240507 h 524580"/>
              <a:gd name="connsiteX4" fmla="*/ 64294 w 1127081"/>
              <a:gd name="connsiteY4" fmla="*/ 314325 h 524580"/>
              <a:gd name="connsiteX5" fmla="*/ 164307 w 1127081"/>
              <a:gd name="connsiteY5" fmla="*/ 423863 h 524580"/>
              <a:gd name="connsiteX6" fmla="*/ 307182 w 1127081"/>
              <a:gd name="connsiteY6" fmla="*/ 495300 h 524580"/>
              <a:gd name="connsiteX7" fmla="*/ 464344 w 1127081"/>
              <a:gd name="connsiteY7" fmla="*/ 509588 h 524580"/>
              <a:gd name="connsiteX8" fmla="*/ 659607 w 1127081"/>
              <a:gd name="connsiteY8" fmla="*/ 523875 h 524580"/>
              <a:gd name="connsiteX9" fmla="*/ 821532 w 1127081"/>
              <a:gd name="connsiteY9" fmla="*/ 514350 h 524580"/>
              <a:gd name="connsiteX10" fmla="*/ 988219 w 1127081"/>
              <a:gd name="connsiteY10" fmla="*/ 447675 h 524580"/>
              <a:gd name="connsiteX11" fmla="*/ 1102519 w 1127081"/>
              <a:gd name="connsiteY11" fmla="*/ 342900 h 524580"/>
              <a:gd name="connsiteX12" fmla="*/ 1121569 w 1127081"/>
              <a:gd name="connsiteY12" fmla="*/ 233363 h 524580"/>
              <a:gd name="connsiteX13" fmla="*/ 1028700 w 1127081"/>
              <a:gd name="connsiteY13" fmla="*/ 188119 h 524580"/>
              <a:gd name="connsiteX14" fmla="*/ 1007269 w 1127081"/>
              <a:gd name="connsiteY14" fmla="*/ 0 h 524580"/>
              <a:gd name="connsiteX15" fmla="*/ 797719 w 1127081"/>
              <a:gd name="connsiteY15" fmla="*/ 190500 h 524580"/>
              <a:gd name="connsiteX16" fmla="*/ 440532 w 1127081"/>
              <a:gd name="connsiteY16" fmla="*/ 152400 h 524580"/>
              <a:gd name="connsiteX17" fmla="*/ 178594 w 1127081"/>
              <a:gd name="connsiteY17" fmla="*/ 23813 h 524580"/>
              <a:gd name="connsiteX0" fmla="*/ 178771 w 1127258"/>
              <a:gd name="connsiteY0" fmla="*/ 23813 h 524580"/>
              <a:gd name="connsiteX1" fmla="*/ 145434 w 1127258"/>
              <a:gd name="connsiteY1" fmla="*/ 128588 h 524580"/>
              <a:gd name="connsiteX2" fmla="*/ 83521 w 1127258"/>
              <a:gd name="connsiteY2" fmla="*/ 185738 h 524580"/>
              <a:gd name="connsiteX3" fmla="*/ 177 w 1127258"/>
              <a:gd name="connsiteY3" fmla="*/ 240507 h 524580"/>
              <a:gd name="connsiteX4" fmla="*/ 64471 w 1127258"/>
              <a:gd name="connsiteY4" fmla="*/ 314325 h 524580"/>
              <a:gd name="connsiteX5" fmla="*/ 164484 w 1127258"/>
              <a:gd name="connsiteY5" fmla="*/ 423863 h 524580"/>
              <a:gd name="connsiteX6" fmla="*/ 307359 w 1127258"/>
              <a:gd name="connsiteY6" fmla="*/ 495300 h 524580"/>
              <a:gd name="connsiteX7" fmla="*/ 464521 w 1127258"/>
              <a:gd name="connsiteY7" fmla="*/ 509588 h 524580"/>
              <a:gd name="connsiteX8" fmla="*/ 659784 w 1127258"/>
              <a:gd name="connsiteY8" fmla="*/ 523875 h 524580"/>
              <a:gd name="connsiteX9" fmla="*/ 821709 w 1127258"/>
              <a:gd name="connsiteY9" fmla="*/ 514350 h 524580"/>
              <a:gd name="connsiteX10" fmla="*/ 988396 w 1127258"/>
              <a:gd name="connsiteY10" fmla="*/ 447675 h 524580"/>
              <a:gd name="connsiteX11" fmla="*/ 1102696 w 1127258"/>
              <a:gd name="connsiteY11" fmla="*/ 342900 h 524580"/>
              <a:gd name="connsiteX12" fmla="*/ 1121746 w 1127258"/>
              <a:gd name="connsiteY12" fmla="*/ 233363 h 524580"/>
              <a:gd name="connsiteX13" fmla="*/ 1028877 w 1127258"/>
              <a:gd name="connsiteY13" fmla="*/ 188119 h 524580"/>
              <a:gd name="connsiteX14" fmla="*/ 1007446 w 1127258"/>
              <a:gd name="connsiteY14" fmla="*/ 0 h 524580"/>
              <a:gd name="connsiteX15" fmla="*/ 797896 w 1127258"/>
              <a:gd name="connsiteY15" fmla="*/ 190500 h 524580"/>
              <a:gd name="connsiteX16" fmla="*/ 440709 w 1127258"/>
              <a:gd name="connsiteY16" fmla="*/ 152400 h 524580"/>
              <a:gd name="connsiteX17" fmla="*/ 178771 w 1127258"/>
              <a:gd name="connsiteY17" fmla="*/ 23813 h 524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127258" h="524580">
                <a:moveTo>
                  <a:pt x="178771" y="23813"/>
                </a:moveTo>
                <a:lnTo>
                  <a:pt x="145434" y="128588"/>
                </a:lnTo>
                <a:lnTo>
                  <a:pt x="83521" y="185738"/>
                </a:lnTo>
                <a:lnTo>
                  <a:pt x="177" y="240507"/>
                </a:lnTo>
                <a:cubicBezTo>
                  <a:pt x="-2998" y="261938"/>
                  <a:pt x="37087" y="283766"/>
                  <a:pt x="64471" y="314325"/>
                </a:cubicBezTo>
                <a:cubicBezTo>
                  <a:pt x="91856" y="344884"/>
                  <a:pt x="124003" y="393701"/>
                  <a:pt x="164484" y="423863"/>
                </a:cubicBezTo>
                <a:cubicBezTo>
                  <a:pt x="204965" y="454025"/>
                  <a:pt x="257353" y="481013"/>
                  <a:pt x="307359" y="495300"/>
                </a:cubicBezTo>
                <a:cubicBezTo>
                  <a:pt x="357365" y="509588"/>
                  <a:pt x="405784" y="504826"/>
                  <a:pt x="464521" y="509588"/>
                </a:cubicBezTo>
                <a:cubicBezTo>
                  <a:pt x="523259" y="514351"/>
                  <a:pt x="600253" y="523081"/>
                  <a:pt x="659784" y="523875"/>
                </a:cubicBezTo>
                <a:cubicBezTo>
                  <a:pt x="719315" y="524669"/>
                  <a:pt x="766940" y="527050"/>
                  <a:pt x="821709" y="514350"/>
                </a:cubicBezTo>
                <a:cubicBezTo>
                  <a:pt x="876478" y="501650"/>
                  <a:pt x="941565" y="476250"/>
                  <a:pt x="988396" y="447675"/>
                </a:cubicBezTo>
                <a:cubicBezTo>
                  <a:pt x="1035227" y="419100"/>
                  <a:pt x="1080471" y="378619"/>
                  <a:pt x="1102696" y="342900"/>
                </a:cubicBezTo>
                <a:cubicBezTo>
                  <a:pt x="1124921" y="307181"/>
                  <a:pt x="1134049" y="259160"/>
                  <a:pt x="1121746" y="233363"/>
                </a:cubicBezTo>
                <a:lnTo>
                  <a:pt x="1028877" y="188119"/>
                </a:lnTo>
                <a:lnTo>
                  <a:pt x="1007446" y="0"/>
                </a:lnTo>
                <a:lnTo>
                  <a:pt x="797896" y="190500"/>
                </a:lnTo>
                <a:lnTo>
                  <a:pt x="440709" y="152400"/>
                </a:lnTo>
                <a:lnTo>
                  <a:pt x="178771" y="23813"/>
                </a:lnTo>
                <a:close/>
              </a:path>
            </a:pathLst>
          </a:custGeom>
          <a:solidFill>
            <a:srgbClr val="F6C674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61C66E7-0A39-40E1-8E33-6BB1F60C0351}"/>
              </a:ext>
            </a:extLst>
          </p:cNvPr>
          <p:cNvSpPr/>
          <p:nvPr/>
        </p:nvSpPr>
        <p:spPr bwMode="auto">
          <a:xfrm>
            <a:off x="4676060" y="5675759"/>
            <a:ext cx="674290" cy="216581"/>
          </a:xfrm>
          <a:custGeom>
            <a:avLst/>
            <a:gdLst>
              <a:gd name="connsiteX0" fmla="*/ 0 w 955675"/>
              <a:gd name="connsiteY0" fmla="*/ 60325 h 269875"/>
              <a:gd name="connsiteX1" fmla="*/ 269875 w 955675"/>
              <a:gd name="connsiteY1" fmla="*/ 234950 h 269875"/>
              <a:gd name="connsiteX2" fmla="*/ 955675 w 955675"/>
              <a:gd name="connsiteY2" fmla="*/ 269875 h 269875"/>
              <a:gd name="connsiteX3" fmla="*/ 857250 w 955675"/>
              <a:gd name="connsiteY3" fmla="*/ 171450 h 269875"/>
              <a:gd name="connsiteX4" fmla="*/ 850900 w 955675"/>
              <a:gd name="connsiteY4" fmla="*/ 0 h 269875"/>
              <a:gd name="connsiteX5" fmla="*/ 625475 w 955675"/>
              <a:gd name="connsiteY5" fmla="*/ 149225 h 269875"/>
              <a:gd name="connsiteX6" fmla="*/ 466725 w 955675"/>
              <a:gd name="connsiteY6" fmla="*/ 127000 h 269875"/>
              <a:gd name="connsiteX7" fmla="*/ 311150 w 955675"/>
              <a:gd name="connsiteY7" fmla="*/ 149225 h 269875"/>
              <a:gd name="connsiteX8" fmla="*/ 0 w 955675"/>
              <a:gd name="connsiteY8" fmla="*/ 60325 h 269875"/>
              <a:gd name="connsiteX0" fmla="*/ 0 w 955675"/>
              <a:gd name="connsiteY0" fmla="*/ 60325 h 269875"/>
              <a:gd name="connsiteX1" fmla="*/ 227013 w 955675"/>
              <a:gd name="connsiteY1" fmla="*/ 246857 h 269875"/>
              <a:gd name="connsiteX2" fmla="*/ 955675 w 955675"/>
              <a:gd name="connsiteY2" fmla="*/ 269875 h 269875"/>
              <a:gd name="connsiteX3" fmla="*/ 857250 w 955675"/>
              <a:gd name="connsiteY3" fmla="*/ 171450 h 269875"/>
              <a:gd name="connsiteX4" fmla="*/ 850900 w 955675"/>
              <a:gd name="connsiteY4" fmla="*/ 0 h 269875"/>
              <a:gd name="connsiteX5" fmla="*/ 625475 w 955675"/>
              <a:gd name="connsiteY5" fmla="*/ 149225 h 269875"/>
              <a:gd name="connsiteX6" fmla="*/ 466725 w 955675"/>
              <a:gd name="connsiteY6" fmla="*/ 127000 h 269875"/>
              <a:gd name="connsiteX7" fmla="*/ 311150 w 955675"/>
              <a:gd name="connsiteY7" fmla="*/ 149225 h 269875"/>
              <a:gd name="connsiteX8" fmla="*/ 0 w 955675"/>
              <a:gd name="connsiteY8" fmla="*/ 60325 h 269875"/>
              <a:gd name="connsiteX0" fmla="*/ 0 w 955675"/>
              <a:gd name="connsiteY0" fmla="*/ 60325 h 269875"/>
              <a:gd name="connsiteX1" fmla="*/ 177006 w 955675"/>
              <a:gd name="connsiteY1" fmla="*/ 258764 h 269875"/>
              <a:gd name="connsiteX2" fmla="*/ 955675 w 955675"/>
              <a:gd name="connsiteY2" fmla="*/ 269875 h 269875"/>
              <a:gd name="connsiteX3" fmla="*/ 857250 w 955675"/>
              <a:gd name="connsiteY3" fmla="*/ 171450 h 269875"/>
              <a:gd name="connsiteX4" fmla="*/ 850900 w 955675"/>
              <a:gd name="connsiteY4" fmla="*/ 0 h 269875"/>
              <a:gd name="connsiteX5" fmla="*/ 625475 w 955675"/>
              <a:gd name="connsiteY5" fmla="*/ 149225 h 269875"/>
              <a:gd name="connsiteX6" fmla="*/ 466725 w 955675"/>
              <a:gd name="connsiteY6" fmla="*/ 127000 h 269875"/>
              <a:gd name="connsiteX7" fmla="*/ 311150 w 955675"/>
              <a:gd name="connsiteY7" fmla="*/ 149225 h 269875"/>
              <a:gd name="connsiteX8" fmla="*/ 0 w 955675"/>
              <a:gd name="connsiteY8" fmla="*/ 60325 h 269875"/>
              <a:gd name="connsiteX0" fmla="*/ 0 w 955675"/>
              <a:gd name="connsiteY0" fmla="*/ 60325 h 290155"/>
              <a:gd name="connsiteX1" fmla="*/ 177006 w 955675"/>
              <a:gd name="connsiteY1" fmla="*/ 258764 h 290155"/>
              <a:gd name="connsiteX2" fmla="*/ 955675 w 955675"/>
              <a:gd name="connsiteY2" fmla="*/ 269875 h 290155"/>
              <a:gd name="connsiteX3" fmla="*/ 857250 w 955675"/>
              <a:gd name="connsiteY3" fmla="*/ 171450 h 290155"/>
              <a:gd name="connsiteX4" fmla="*/ 850900 w 955675"/>
              <a:gd name="connsiteY4" fmla="*/ 0 h 290155"/>
              <a:gd name="connsiteX5" fmla="*/ 625475 w 955675"/>
              <a:gd name="connsiteY5" fmla="*/ 149225 h 290155"/>
              <a:gd name="connsiteX6" fmla="*/ 466725 w 955675"/>
              <a:gd name="connsiteY6" fmla="*/ 127000 h 290155"/>
              <a:gd name="connsiteX7" fmla="*/ 311150 w 955675"/>
              <a:gd name="connsiteY7" fmla="*/ 149225 h 290155"/>
              <a:gd name="connsiteX8" fmla="*/ 0 w 955675"/>
              <a:gd name="connsiteY8" fmla="*/ 60325 h 290155"/>
              <a:gd name="connsiteX0" fmla="*/ 0 w 955675"/>
              <a:gd name="connsiteY0" fmla="*/ 60325 h 319698"/>
              <a:gd name="connsiteX1" fmla="*/ 177006 w 955675"/>
              <a:gd name="connsiteY1" fmla="*/ 258764 h 319698"/>
              <a:gd name="connsiteX2" fmla="*/ 955675 w 955675"/>
              <a:gd name="connsiteY2" fmla="*/ 269875 h 319698"/>
              <a:gd name="connsiteX3" fmla="*/ 857250 w 955675"/>
              <a:gd name="connsiteY3" fmla="*/ 171450 h 319698"/>
              <a:gd name="connsiteX4" fmla="*/ 850900 w 955675"/>
              <a:gd name="connsiteY4" fmla="*/ 0 h 319698"/>
              <a:gd name="connsiteX5" fmla="*/ 625475 w 955675"/>
              <a:gd name="connsiteY5" fmla="*/ 149225 h 319698"/>
              <a:gd name="connsiteX6" fmla="*/ 466725 w 955675"/>
              <a:gd name="connsiteY6" fmla="*/ 127000 h 319698"/>
              <a:gd name="connsiteX7" fmla="*/ 311150 w 955675"/>
              <a:gd name="connsiteY7" fmla="*/ 149225 h 319698"/>
              <a:gd name="connsiteX8" fmla="*/ 0 w 955675"/>
              <a:gd name="connsiteY8" fmla="*/ 60325 h 319698"/>
              <a:gd name="connsiteX0" fmla="*/ 0 w 955675"/>
              <a:gd name="connsiteY0" fmla="*/ 0 h 259373"/>
              <a:gd name="connsiteX1" fmla="*/ 177006 w 955675"/>
              <a:gd name="connsiteY1" fmla="*/ 198439 h 259373"/>
              <a:gd name="connsiteX2" fmla="*/ 955675 w 955675"/>
              <a:gd name="connsiteY2" fmla="*/ 209550 h 259373"/>
              <a:gd name="connsiteX3" fmla="*/ 857250 w 955675"/>
              <a:gd name="connsiteY3" fmla="*/ 111125 h 259373"/>
              <a:gd name="connsiteX4" fmla="*/ 798512 w 955675"/>
              <a:gd name="connsiteY4" fmla="*/ 49213 h 259373"/>
              <a:gd name="connsiteX5" fmla="*/ 625475 w 955675"/>
              <a:gd name="connsiteY5" fmla="*/ 88900 h 259373"/>
              <a:gd name="connsiteX6" fmla="*/ 466725 w 955675"/>
              <a:gd name="connsiteY6" fmla="*/ 66675 h 259373"/>
              <a:gd name="connsiteX7" fmla="*/ 311150 w 955675"/>
              <a:gd name="connsiteY7" fmla="*/ 88900 h 259373"/>
              <a:gd name="connsiteX8" fmla="*/ 0 w 955675"/>
              <a:gd name="connsiteY8" fmla="*/ 0 h 259373"/>
              <a:gd name="connsiteX0" fmla="*/ 0 w 955675"/>
              <a:gd name="connsiteY0" fmla="*/ 0 h 259373"/>
              <a:gd name="connsiteX1" fmla="*/ 177006 w 955675"/>
              <a:gd name="connsiteY1" fmla="*/ 198439 h 259373"/>
              <a:gd name="connsiteX2" fmla="*/ 955675 w 955675"/>
              <a:gd name="connsiteY2" fmla="*/ 209550 h 259373"/>
              <a:gd name="connsiteX3" fmla="*/ 857250 w 955675"/>
              <a:gd name="connsiteY3" fmla="*/ 111125 h 259373"/>
              <a:gd name="connsiteX4" fmla="*/ 798512 w 955675"/>
              <a:gd name="connsiteY4" fmla="*/ 49213 h 259373"/>
              <a:gd name="connsiteX5" fmla="*/ 625475 w 955675"/>
              <a:gd name="connsiteY5" fmla="*/ 88900 h 259373"/>
              <a:gd name="connsiteX6" fmla="*/ 466725 w 955675"/>
              <a:gd name="connsiteY6" fmla="*/ 66675 h 259373"/>
              <a:gd name="connsiteX7" fmla="*/ 346869 w 955675"/>
              <a:gd name="connsiteY7" fmla="*/ 177006 h 259373"/>
              <a:gd name="connsiteX8" fmla="*/ 0 w 955675"/>
              <a:gd name="connsiteY8" fmla="*/ 0 h 259373"/>
              <a:gd name="connsiteX0" fmla="*/ 0 w 955675"/>
              <a:gd name="connsiteY0" fmla="*/ 0 h 259373"/>
              <a:gd name="connsiteX1" fmla="*/ 177006 w 955675"/>
              <a:gd name="connsiteY1" fmla="*/ 198439 h 259373"/>
              <a:gd name="connsiteX2" fmla="*/ 955675 w 955675"/>
              <a:gd name="connsiteY2" fmla="*/ 209550 h 259373"/>
              <a:gd name="connsiteX3" fmla="*/ 857250 w 955675"/>
              <a:gd name="connsiteY3" fmla="*/ 111125 h 259373"/>
              <a:gd name="connsiteX4" fmla="*/ 798512 w 955675"/>
              <a:gd name="connsiteY4" fmla="*/ 49213 h 259373"/>
              <a:gd name="connsiteX5" fmla="*/ 625475 w 955675"/>
              <a:gd name="connsiteY5" fmla="*/ 88900 h 259373"/>
              <a:gd name="connsiteX6" fmla="*/ 466725 w 955675"/>
              <a:gd name="connsiteY6" fmla="*/ 66675 h 259373"/>
              <a:gd name="connsiteX7" fmla="*/ 346869 w 955675"/>
              <a:gd name="connsiteY7" fmla="*/ 177006 h 259373"/>
              <a:gd name="connsiteX8" fmla="*/ 0 w 955675"/>
              <a:gd name="connsiteY8" fmla="*/ 0 h 259373"/>
              <a:gd name="connsiteX0" fmla="*/ 0 w 955675"/>
              <a:gd name="connsiteY0" fmla="*/ 0 h 306961"/>
              <a:gd name="connsiteX1" fmla="*/ 177006 w 955675"/>
              <a:gd name="connsiteY1" fmla="*/ 198439 h 306961"/>
              <a:gd name="connsiteX2" fmla="*/ 955675 w 955675"/>
              <a:gd name="connsiteY2" fmla="*/ 209550 h 306961"/>
              <a:gd name="connsiteX3" fmla="*/ 857250 w 955675"/>
              <a:gd name="connsiteY3" fmla="*/ 111125 h 306961"/>
              <a:gd name="connsiteX4" fmla="*/ 798512 w 955675"/>
              <a:gd name="connsiteY4" fmla="*/ 49213 h 306961"/>
              <a:gd name="connsiteX5" fmla="*/ 625475 w 955675"/>
              <a:gd name="connsiteY5" fmla="*/ 88900 h 306961"/>
              <a:gd name="connsiteX6" fmla="*/ 466725 w 955675"/>
              <a:gd name="connsiteY6" fmla="*/ 66675 h 306961"/>
              <a:gd name="connsiteX7" fmla="*/ 346869 w 955675"/>
              <a:gd name="connsiteY7" fmla="*/ 177006 h 306961"/>
              <a:gd name="connsiteX8" fmla="*/ 0 w 955675"/>
              <a:gd name="connsiteY8" fmla="*/ 0 h 306961"/>
              <a:gd name="connsiteX0" fmla="*/ 0 w 955675"/>
              <a:gd name="connsiteY0" fmla="*/ 0 h 306961"/>
              <a:gd name="connsiteX1" fmla="*/ 177006 w 955675"/>
              <a:gd name="connsiteY1" fmla="*/ 198439 h 306961"/>
              <a:gd name="connsiteX2" fmla="*/ 955675 w 955675"/>
              <a:gd name="connsiteY2" fmla="*/ 209550 h 306961"/>
              <a:gd name="connsiteX3" fmla="*/ 857250 w 955675"/>
              <a:gd name="connsiteY3" fmla="*/ 111125 h 306961"/>
              <a:gd name="connsiteX4" fmla="*/ 798512 w 955675"/>
              <a:gd name="connsiteY4" fmla="*/ 49213 h 306961"/>
              <a:gd name="connsiteX5" fmla="*/ 625475 w 955675"/>
              <a:gd name="connsiteY5" fmla="*/ 88900 h 306961"/>
              <a:gd name="connsiteX6" fmla="*/ 466725 w 955675"/>
              <a:gd name="connsiteY6" fmla="*/ 66675 h 306961"/>
              <a:gd name="connsiteX7" fmla="*/ 349250 w 955675"/>
              <a:gd name="connsiteY7" fmla="*/ 105569 h 306961"/>
              <a:gd name="connsiteX8" fmla="*/ 0 w 955675"/>
              <a:gd name="connsiteY8" fmla="*/ 0 h 30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55675" h="306961">
                <a:moveTo>
                  <a:pt x="0" y="0"/>
                </a:moveTo>
                <a:lnTo>
                  <a:pt x="177006" y="198439"/>
                </a:lnTo>
                <a:cubicBezTo>
                  <a:pt x="598486" y="437887"/>
                  <a:pt x="696119" y="205846"/>
                  <a:pt x="955675" y="209550"/>
                </a:cubicBezTo>
                <a:lnTo>
                  <a:pt x="857250" y="111125"/>
                </a:lnTo>
                <a:lnTo>
                  <a:pt x="798512" y="49213"/>
                </a:lnTo>
                <a:lnTo>
                  <a:pt x="625475" y="88900"/>
                </a:lnTo>
                <a:lnTo>
                  <a:pt x="466725" y="66675"/>
                </a:lnTo>
                <a:lnTo>
                  <a:pt x="349250" y="105569"/>
                </a:lnTo>
                <a:cubicBezTo>
                  <a:pt x="288395" y="-10583"/>
                  <a:pt x="115623" y="59002"/>
                  <a:pt x="0" y="0"/>
                </a:cubicBezTo>
                <a:close/>
              </a:path>
            </a:pathLst>
          </a:custGeom>
          <a:solidFill>
            <a:srgbClr val="DAAE6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F3D2A78-55FC-4F25-951C-1DDA0932161A}"/>
              </a:ext>
            </a:extLst>
          </p:cNvPr>
          <p:cNvSpPr/>
          <p:nvPr/>
        </p:nvSpPr>
        <p:spPr bwMode="auto">
          <a:xfrm rot="10800000">
            <a:off x="4175358" y="3666513"/>
            <a:ext cx="1778386" cy="936269"/>
          </a:xfrm>
          <a:custGeom>
            <a:avLst/>
            <a:gdLst>
              <a:gd name="connsiteX0" fmla="*/ 47625 w 2843212"/>
              <a:gd name="connsiteY0" fmla="*/ 0 h 1638300"/>
              <a:gd name="connsiteX1" fmla="*/ 0 w 2843212"/>
              <a:gd name="connsiteY1" fmla="*/ 171450 h 1638300"/>
              <a:gd name="connsiteX2" fmla="*/ 90487 w 2843212"/>
              <a:gd name="connsiteY2" fmla="*/ 338138 h 1638300"/>
              <a:gd name="connsiteX3" fmla="*/ 304800 w 2843212"/>
              <a:gd name="connsiteY3" fmla="*/ 528638 h 1638300"/>
              <a:gd name="connsiteX4" fmla="*/ 295275 w 2843212"/>
              <a:gd name="connsiteY4" fmla="*/ 1009650 h 1638300"/>
              <a:gd name="connsiteX5" fmla="*/ 561975 w 2843212"/>
              <a:gd name="connsiteY5" fmla="*/ 1204913 h 1638300"/>
              <a:gd name="connsiteX6" fmla="*/ 1062037 w 2843212"/>
              <a:gd name="connsiteY6" fmla="*/ 1485900 h 1638300"/>
              <a:gd name="connsiteX7" fmla="*/ 1238250 w 2843212"/>
              <a:gd name="connsiteY7" fmla="*/ 1628775 h 1638300"/>
              <a:gd name="connsiteX8" fmla="*/ 1385887 w 2843212"/>
              <a:gd name="connsiteY8" fmla="*/ 1595438 h 1638300"/>
              <a:gd name="connsiteX9" fmla="*/ 1609725 w 2843212"/>
              <a:gd name="connsiteY9" fmla="*/ 1638300 h 1638300"/>
              <a:gd name="connsiteX10" fmla="*/ 1814512 w 2843212"/>
              <a:gd name="connsiteY10" fmla="*/ 1528763 h 1638300"/>
              <a:gd name="connsiteX11" fmla="*/ 2143125 w 2843212"/>
              <a:gd name="connsiteY11" fmla="*/ 1295400 h 1638300"/>
              <a:gd name="connsiteX12" fmla="*/ 2528887 w 2843212"/>
              <a:gd name="connsiteY12" fmla="*/ 1109663 h 1638300"/>
              <a:gd name="connsiteX13" fmla="*/ 2586037 w 2843212"/>
              <a:gd name="connsiteY13" fmla="*/ 504825 h 1638300"/>
              <a:gd name="connsiteX14" fmla="*/ 2757487 w 2843212"/>
              <a:gd name="connsiteY14" fmla="*/ 390525 h 1638300"/>
              <a:gd name="connsiteX15" fmla="*/ 2843212 w 2843212"/>
              <a:gd name="connsiteY15" fmla="*/ 204788 h 1638300"/>
              <a:gd name="connsiteX16" fmla="*/ 2843212 w 2843212"/>
              <a:gd name="connsiteY16" fmla="*/ 100013 h 1638300"/>
              <a:gd name="connsiteX17" fmla="*/ 2767012 w 2843212"/>
              <a:gd name="connsiteY17" fmla="*/ 100013 h 1638300"/>
              <a:gd name="connsiteX18" fmla="*/ 2719387 w 2843212"/>
              <a:gd name="connsiteY18" fmla="*/ 323850 h 1638300"/>
              <a:gd name="connsiteX19" fmla="*/ 2562225 w 2843212"/>
              <a:gd name="connsiteY19" fmla="*/ 452438 h 1638300"/>
              <a:gd name="connsiteX20" fmla="*/ 2257425 w 2843212"/>
              <a:gd name="connsiteY20" fmla="*/ 476250 h 1638300"/>
              <a:gd name="connsiteX21" fmla="*/ 395287 w 2843212"/>
              <a:gd name="connsiteY21" fmla="*/ 461963 h 1638300"/>
              <a:gd name="connsiteX22" fmla="*/ 214312 w 2843212"/>
              <a:gd name="connsiteY22" fmla="*/ 366713 h 1638300"/>
              <a:gd name="connsiteX23" fmla="*/ 147637 w 2843212"/>
              <a:gd name="connsiteY23" fmla="*/ 233363 h 1638300"/>
              <a:gd name="connsiteX24" fmla="*/ 133350 w 2843212"/>
              <a:gd name="connsiteY24" fmla="*/ 95250 h 1638300"/>
              <a:gd name="connsiteX25" fmla="*/ 47625 w 2843212"/>
              <a:gd name="connsiteY25" fmla="*/ 0 h 1638300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58429 w 2844216"/>
              <a:gd name="connsiteY20" fmla="*/ 477786 h 1639836"/>
              <a:gd name="connsiteX21" fmla="*/ 396291 w 2844216"/>
              <a:gd name="connsiteY21" fmla="*/ 463499 h 1639836"/>
              <a:gd name="connsiteX22" fmla="*/ 215316 w 2844216"/>
              <a:gd name="connsiteY22" fmla="*/ 368249 h 1639836"/>
              <a:gd name="connsiteX23" fmla="*/ 1486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58429 w 2844216"/>
              <a:gd name="connsiteY20" fmla="*/ 477786 h 1639836"/>
              <a:gd name="connsiteX21" fmla="*/ 396291 w 2844216"/>
              <a:gd name="connsiteY21" fmla="*/ 463499 h 1639836"/>
              <a:gd name="connsiteX22" fmla="*/ 215316 w 2844216"/>
              <a:gd name="connsiteY22" fmla="*/ 368249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58429 w 2844216"/>
              <a:gd name="connsiteY20" fmla="*/ 477786 h 1639836"/>
              <a:gd name="connsiteX21" fmla="*/ 396291 w 2844216"/>
              <a:gd name="connsiteY21" fmla="*/ 46349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58429 w 2844216"/>
              <a:gd name="connsiteY20" fmla="*/ 47778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41382"/>
              <a:gd name="connsiteX1" fmla="*/ 1004 w 2844216"/>
              <a:gd name="connsiteY1" fmla="*/ 172986 h 1641382"/>
              <a:gd name="connsiteX2" fmla="*/ 91491 w 2844216"/>
              <a:gd name="connsiteY2" fmla="*/ 339674 h 1641382"/>
              <a:gd name="connsiteX3" fmla="*/ 305804 w 2844216"/>
              <a:gd name="connsiteY3" fmla="*/ 530174 h 1641382"/>
              <a:gd name="connsiteX4" fmla="*/ 296279 w 2844216"/>
              <a:gd name="connsiteY4" fmla="*/ 1011186 h 1641382"/>
              <a:gd name="connsiteX5" fmla="*/ 562979 w 2844216"/>
              <a:gd name="connsiteY5" fmla="*/ 1206449 h 1641382"/>
              <a:gd name="connsiteX6" fmla="*/ 1063041 w 2844216"/>
              <a:gd name="connsiteY6" fmla="*/ 1487436 h 1641382"/>
              <a:gd name="connsiteX7" fmla="*/ 1239254 w 2844216"/>
              <a:gd name="connsiteY7" fmla="*/ 1630311 h 1641382"/>
              <a:gd name="connsiteX8" fmla="*/ 1386891 w 2844216"/>
              <a:gd name="connsiteY8" fmla="*/ 1596974 h 1641382"/>
              <a:gd name="connsiteX9" fmla="*/ 1610729 w 2844216"/>
              <a:gd name="connsiteY9" fmla="*/ 1639836 h 1641382"/>
              <a:gd name="connsiteX10" fmla="*/ 1815516 w 2844216"/>
              <a:gd name="connsiteY10" fmla="*/ 1530299 h 1641382"/>
              <a:gd name="connsiteX11" fmla="*/ 2144129 w 2844216"/>
              <a:gd name="connsiteY11" fmla="*/ 1296936 h 1641382"/>
              <a:gd name="connsiteX12" fmla="*/ 2529891 w 2844216"/>
              <a:gd name="connsiteY12" fmla="*/ 1111199 h 1641382"/>
              <a:gd name="connsiteX13" fmla="*/ 2587041 w 2844216"/>
              <a:gd name="connsiteY13" fmla="*/ 506361 h 1641382"/>
              <a:gd name="connsiteX14" fmla="*/ 2758491 w 2844216"/>
              <a:gd name="connsiteY14" fmla="*/ 392061 h 1641382"/>
              <a:gd name="connsiteX15" fmla="*/ 2844216 w 2844216"/>
              <a:gd name="connsiteY15" fmla="*/ 206324 h 1641382"/>
              <a:gd name="connsiteX16" fmla="*/ 2844216 w 2844216"/>
              <a:gd name="connsiteY16" fmla="*/ 101549 h 1641382"/>
              <a:gd name="connsiteX17" fmla="*/ 2768016 w 2844216"/>
              <a:gd name="connsiteY17" fmla="*/ 101549 h 1641382"/>
              <a:gd name="connsiteX18" fmla="*/ 2677528 w 2844216"/>
              <a:gd name="connsiteY18" fmla="*/ 268236 h 1641382"/>
              <a:gd name="connsiteX19" fmla="*/ 2520367 w 2844216"/>
              <a:gd name="connsiteY19" fmla="*/ 349199 h 1641382"/>
              <a:gd name="connsiteX20" fmla="*/ 2229854 w 2844216"/>
              <a:gd name="connsiteY20" fmla="*/ 382536 h 1641382"/>
              <a:gd name="connsiteX21" fmla="*/ 486779 w 2844216"/>
              <a:gd name="connsiteY21" fmla="*/ 368249 h 1641382"/>
              <a:gd name="connsiteX22" fmla="*/ 286754 w 2844216"/>
              <a:gd name="connsiteY22" fmla="*/ 325386 h 1641382"/>
              <a:gd name="connsiteX23" fmla="*/ 186741 w 2844216"/>
              <a:gd name="connsiteY23" fmla="*/ 234899 h 1641382"/>
              <a:gd name="connsiteX24" fmla="*/ 134354 w 2844216"/>
              <a:gd name="connsiteY24" fmla="*/ 96786 h 1641382"/>
              <a:gd name="connsiteX25" fmla="*/ 48629 w 2844216"/>
              <a:gd name="connsiteY25" fmla="*/ 1536 h 1641382"/>
              <a:gd name="connsiteX0" fmla="*/ 48629 w 2844216"/>
              <a:gd name="connsiteY0" fmla="*/ 1536 h 1641382"/>
              <a:gd name="connsiteX1" fmla="*/ 1004 w 2844216"/>
              <a:gd name="connsiteY1" fmla="*/ 172986 h 1641382"/>
              <a:gd name="connsiteX2" fmla="*/ 91491 w 2844216"/>
              <a:gd name="connsiteY2" fmla="*/ 339674 h 1641382"/>
              <a:gd name="connsiteX3" fmla="*/ 305804 w 2844216"/>
              <a:gd name="connsiteY3" fmla="*/ 530174 h 1641382"/>
              <a:gd name="connsiteX4" fmla="*/ 296279 w 2844216"/>
              <a:gd name="connsiteY4" fmla="*/ 1011186 h 1641382"/>
              <a:gd name="connsiteX5" fmla="*/ 562979 w 2844216"/>
              <a:gd name="connsiteY5" fmla="*/ 1206449 h 1641382"/>
              <a:gd name="connsiteX6" fmla="*/ 1063041 w 2844216"/>
              <a:gd name="connsiteY6" fmla="*/ 1487436 h 1641382"/>
              <a:gd name="connsiteX7" fmla="*/ 1239254 w 2844216"/>
              <a:gd name="connsiteY7" fmla="*/ 1630311 h 1641382"/>
              <a:gd name="connsiteX8" fmla="*/ 1386891 w 2844216"/>
              <a:gd name="connsiteY8" fmla="*/ 1596974 h 1641382"/>
              <a:gd name="connsiteX9" fmla="*/ 1610729 w 2844216"/>
              <a:gd name="connsiteY9" fmla="*/ 1639836 h 1641382"/>
              <a:gd name="connsiteX10" fmla="*/ 1815516 w 2844216"/>
              <a:gd name="connsiteY10" fmla="*/ 1530299 h 1641382"/>
              <a:gd name="connsiteX11" fmla="*/ 2144129 w 2844216"/>
              <a:gd name="connsiteY11" fmla="*/ 1296936 h 1641382"/>
              <a:gd name="connsiteX12" fmla="*/ 2529891 w 2844216"/>
              <a:gd name="connsiteY12" fmla="*/ 1111199 h 1641382"/>
              <a:gd name="connsiteX13" fmla="*/ 2587041 w 2844216"/>
              <a:gd name="connsiteY13" fmla="*/ 506361 h 1641382"/>
              <a:gd name="connsiteX14" fmla="*/ 2758491 w 2844216"/>
              <a:gd name="connsiteY14" fmla="*/ 392061 h 1641382"/>
              <a:gd name="connsiteX15" fmla="*/ 2844216 w 2844216"/>
              <a:gd name="connsiteY15" fmla="*/ 206324 h 1641382"/>
              <a:gd name="connsiteX16" fmla="*/ 2844216 w 2844216"/>
              <a:gd name="connsiteY16" fmla="*/ 101549 h 1641382"/>
              <a:gd name="connsiteX17" fmla="*/ 2768016 w 2844216"/>
              <a:gd name="connsiteY17" fmla="*/ 101549 h 1641382"/>
              <a:gd name="connsiteX18" fmla="*/ 2677528 w 2844216"/>
              <a:gd name="connsiteY18" fmla="*/ 268236 h 1641382"/>
              <a:gd name="connsiteX19" fmla="*/ 2520367 w 2844216"/>
              <a:gd name="connsiteY19" fmla="*/ 349199 h 1641382"/>
              <a:gd name="connsiteX20" fmla="*/ 2229854 w 2844216"/>
              <a:gd name="connsiteY20" fmla="*/ 382536 h 1641382"/>
              <a:gd name="connsiteX21" fmla="*/ 486779 w 2844216"/>
              <a:gd name="connsiteY21" fmla="*/ 368249 h 1641382"/>
              <a:gd name="connsiteX22" fmla="*/ 286754 w 2844216"/>
              <a:gd name="connsiteY22" fmla="*/ 325386 h 1641382"/>
              <a:gd name="connsiteX23" fmla="*/ 186741 w 2844216"/>
              <a:gd name="connsiteY23" fmla="*/ 234899 h 1641382"/>
              <a:gd name="connsiteX24" fmla="*/ 134354 w 2844216"/>
              <a:gd name="connsiteY24" fmla="*/ 96786 h 1641382"/>
              <a:gd name="connsiteX25" fmla="*/ 48629 w 2844216"/>
              <a:gd name="connsiteY25" fmla="*/ 1536 h 1641382"/>
              <a:gd name="connsiteX0" fmla="*/ 48629 w 2844216"/>
              <a:gd name="connsiteY0" fmla="*/ 1536 h 1641382"/>
              <a:gd name="connsiteX1" fmla="*/ 1004 w 2844216"/>
              <a:gd name="connsiteY1" fmla="*/ 172986 h 1641382"/>
              <a:gd name="connsiteX2" fmla="*/ 91491 w 2844216"/>
              <a:gd name="connsiteY2" fmla="*/ 339674 h 1641382"/>
              <a:gd name="connsiteX3" fmla="*/ 305804 w 2844216"/>
              <a:gd name="connsiteY3" fmla="*/ 530174 h 1641382"/>
              <a:gd name="connsiteX4" fmla="*/ 296279 w 2844216"/>
              <a:gd name="connsiteY4" fmla="*/ 1011186 h 1641382"/>
              <a:gd name="connsiteX5" fmla="*/ 562979 w 2844216"/>
              <a:gd name="connsiteY5" fmla="*/ 1206449 h 1641382"/>
              <a:gd name="connsiteX6" fmla="*/ 1063041 w 2844216"/>
              <a:gd name="connsiteY6" fmla="*/ 1487436 h 1641382"/>
              <a:gd name="connsiteX7" fmla="*/ 1239254 w 2844216"/>
              <a:gd name="connsiteY7" fmla="*/ 1630311 h 1641382"/>
              <a:gd name="connsiteX8" fmla="*/ 1386891 w 2844216"/>
              <a:gd name="connsiteY8" fmla="*/ 1596974 h 1641382"/>
              <a:gd name="connsiteX9" fmla="*/ 1610729 w 2844216"/>
              <a:gd name="connsiteY9" fmla="*/ 1639836 h 1641382"/>
              <a:gd name="connsiteX10" fmla="*/ 1815516 w 2844216"/>
              <a:gd name="connsiteY10" fmla="*/ 1530299 h 1641382"/>
              <a:gd name="connsiteX11" fmla="*/ 2144129 w 2844216"/>
              <a:gd name="connsiteY11" fmla="*/ 1296936 h 1641382"/>
              <a:gd name="connsiteX12" fmla="*/ 2529891 w 2844216"/>
              <a:gd name="connsiteY12" fmla="*/ 1111199 h 1641382"/>
              <a:gd name="connsiteX13" fmla="*/ 2587041 w 2844216"/>
              <a:gd name="connsiteY13" fmla="*/ 506361 h 1641382"/>
              <a:gd name="connsiteX14" fmla="*/ 2758491 w 2844216"/>
              <a:gd name="connsiteY14" fmla="*/ 392061 h 1641382"/>
              <a:gd name="connsiteX15" fmla="*/ 2844216 w 2844216"/>
              <a:gd name="connsiteY15" fmla="*/ 206324 h 1641382"/>
              <a:gd name="connsiteX16" fmla="*/ 2844216 w 2844216"/>
              <a:gd name="connsiteY16" fmla="*/ 101549 h 1641382"/>
              <a:gd name="connsiteX17" fmla="*/ 2768016 w 2844216"/>
              <a:gd name="connsiteY17" fmla="*/ 101549 h 1641382"/>
              <a:gd name="connsiteX18" fmla="*/ 2677528 w 2844216"/>
              <a:gd name="connsiteY18" fmla="*/ 268236 h 1641382"/>
              <a:gd name="connsiteX19" fmla="*/ 2520367 w 2844216"/>
              <a:gd name="connsiteY19" fmla="*/ 349199 h 1641382"/>
              <a:gd name="connsiteX20" fmla="*/ 2229854 w 2844216"/>
              <a:gd name="connsiteY20" fmla="*/ 382536 h 1641382"/>
              <a:gd name="connsiteX21" fmla="*/ 486779 w 2844216"/>
              <a:gd name="connsiteY21" fmla="*/ 368249 h 1641382"/>
              <a:gd name="connsiteX22" fmla="*/ 286754 w 2844216"/>
              <a:gd name="connsiteY22" fmla="*/ 325386 h 1641382"/>
              <a:gd name="connsiteX23" fmla="*/ 186741 w 2844216"/>
              <a:gd name="connsiteY23" fmla="*/ 234899 h 1641382"/>
              <a:gd name="connsiteX24" fmla="*/ 134354 w 2844216"/>
              <a:gd name="connsiteY24" fmla="*/ 96786 h 1641382"/>
              <a:gd name="connsiteX25" fmla="*/ 48629 w 2844216"/>
              <a:gd name="connsiteY25" fmla="*/ 1536 h 1641382"/>
              <a:gd name="connsiteX0" fmla="*/ 48629 w 2844216"/>
              <a:gd name="connsiteY0" fmla="*/ 1536 h 1641382"/>
              <a:gd name="connsiteX1" fmla="*/ 1004 w 2844216"/>
              <a:gd name="connsiteY1" fmla="*/ 172986 h 1641382"/>
              <a:gd name="connsiteX2" fmla="*/ 91491 w 2844216"/>
              <a:gd name="connsiteY2" fmla="*/ 339674 h 1641382"/>
              <a:gd name="connsiteX3" fmla="*/ 305804 w 2844216"/>
              <a:gd name="connsiteY3" fmla="*/ 530174 h 1641382"/>
              <a:gd name="connsiteX4" fmla="*/ 296279 w 2844216"/>
              <a:gd name="connsiteY4" fmla="*/ 1011186 h 1641382"/>
              <a:gd name="connsiteX5" fmla="*/ 562979 w 2844216"/>
              <a:gd name="connsiteY5" fmla="*/ 1206449 h 1641382"/>
              <a:gd name="connsiteX6" fmla="*/ 1063041 w 2844216"/>
              <a:gd name="connsiteY6" fmla="*/ 1487436 h 1641382"/>
              <a:gd name="connsiteX7" fmla="*/ 1239254 w 2844216"/>
              <a:gd name="connsiteY7" fmla="*/ 1630311 h 1641382"/>
              <a:gd name="connsiteX8" fmla="*/ 1386891 w 2844216"/>
              <a:gd name="connsiteY8" fmla="*/ 1596974 h 1641382"/>
              <a:gd name="connsiteX9" fmla="*/ 1610729 w 2844216"/>
              <a:gd name="connsiteY9" fmla="*/ 1639836 h 1641382"/>
              <a:gd name="connsiteX10" fmla="*/ 1815516 w 2844216"/>
              <a:gd name="connsiteY10" fmla="*/ 1530299 h 1641382"/>
              <a:gd name="connsiteX11" fmla="*/ 2144129 w 2844216"/>
              <a:gd name="connsiteY11" fmla="*/ 1296936 h 1641382"/>
              <a:gd name="connsiteX12" fmla="*/ 2529891 w 2844216"/>
              <a:gd name="connsiteY12" fmla="*/ 1111199 h 1641382"/>
              <a:gd name="connsiteX13" fmla="*/ 2587041 w 2844216"/>
              <a:gd name="connsiteY13" fmla="*/ 506361 h 1641382"/>
              <a:gd name="connsiteX14" fmla="*/ 2758491 w 2844216"/>
              <a:gd name="connsiteY14" fmla="*/ 392061 h 1641382"/>
              <a:gd name="connsiteX15" fmla="*/ 2844216 w 2844216"/>
              <a:gd name="connsiteY15" fmla="*/ 206324 h 1641382"/>
              <a:gd name="connsiteX16" fmla="*/ 2844216 w 2844216"/>
              <a:gd name="connsiteY16" fmla="*/ 101549 h 1641382"/>
              <a:gd name="connsiteX17" fmla="*/ 2768016 w 2844216"/>
              <a:gd name="connsiteY17" fmla="*/ 101549 h 1641382"/>
              <a:gd name="connsiteX18" fmla="*/ 2677528 w 2844216"/>
              <a:gd name="connsiteY18" fmla="*/ 268236 h 1641382"/>
              <a:gd name="connsiteX19" fmla="*/ 2520367 w 2844216"/>
              <a:gd name="connsiteY19" fmla="*/ 349199 h 1641382"/>
              <a:gd name="connsiteX20" fmla="*/ 2229854 w 2844216"/>
              <a:gd name="connsiteY20" fmla="*/ 382536 h 1641382"/>
              <a:gd name="connsiteX21" fmla="*/ 486779 w 2844216"/>
              <a:gd name="connsiteY21" fmla="*/ 368249 h 1641382"/>
              <a:gd name="connsiteX22" fmla="*/ 286754 w 2844216"/>
              <a:gd name="connsiteY22" fmla="*/ 325386 h 1641382"/>
              <a:gd name="connsiteX23" fmla="*/ 186741 w 2844216"/>
              <a:gd name="connsiteY23" fmla="*/ 234899 h 1641382"/>
              <a:gd name="connsiteX24" fmla="*/ 134354 w 2844216"/>
              <a:gd name="connsiteY24" fmla="*/ 96786 h 1641382"/>
              <a:gd name="connsiteX25" fmla="*/ 48629 w 2844216"/>
              <a:gd name="connsiteY25" fmla="*/ 1536 h 1641382"/>
              <a:gd name="connsiteX0" fmla="*/ 48629 w 2844216"/>
              <a:gd name="connsiteY0" fmla="*/ 1536 h 1641533"/>
              <a:gd name="connsiteX1" fmla="*/ 1004 w 2844216"/>
              <a:gd name="connsiteY1" fmla="*/ 172986 h 1641533"/>
              <a:gd name="connsiteX2" fmla="*/ 91491 w 2844216"/>
              <a:gd name="connsiteY2" fmla="*/ 339674 h 1641533"/>
              <a:gd name="connsiteX3" fmla="*/ 305804 w 2844216"/>
              <a:gd name="connsiteY3" fmla="*/ 530174 h 1641533"/>
              <a:gd name="connsiteX4" fmla="*/ 296279 w 2844216"/>
              <a:gd name="connsiteY4" fmla="*/ 1011186 h 1641533"/>
              <a:gd name="connsiteX5" fmla="*/ 562979 w 2844216"/>
              <a:gd name="connsiteY5" fmla="*/ 1206449 h 1641533"/>
              <a:gd name="connsiteX6" fmla="*/ 1063041 w 2844216"/>
              <a:gd name="connsiteY6" fmla="*/ 1487436 h 1641533"/>
              <a:gd name="connsiteX7" fmla="*/ 1296404 w 2844216"/>
              <a:gd name="connsiteY7" fmla="*/ 1596973 h 1641533"/>
              <a:gd name="connsiteX8" fmla="*/ 1386891 w 2844216"/>
              <a:gd name="connsiteY8" fmla="*/ 1596974 h 1641533"/>
              <a:gd name="connsiteX9" fmla="*/ 1610729 w 2844216"/>
              <a:gd name="connsiteY9" fmla="*/ 1639836 h 1641533"/>
              <a:gd name="connsiteX10" fmla="*/ 1815516 w 2844216"/>
              <a:gd name="connsiteY10" fmla="*/ 1530299 h 1641533"/>
              <a:gd name="connsiteX11" fmla="*/ 2144129 w 2844216"/>
              <a:gd name="connsiteY11" fmla="*/ 1296936 h 1641533"/>
              <a:gd name="connsiteX12" fmla="*/ 2529891 w 2844216"/>
              <a:gd name="connsiteY12" fmla="*/ 1111199 h 1641533"/>
              <a:gd name="connsiteX13" fmla="*/ 2587041 w 2844216"/>
              <a:gd name="connsiteY13" fmla="*/ 506361 h 1641533"/>
              <a:gd name="connsiteX14" fmla="*/ 2758491 w 2844216"/>
              <a:gd name="connsiteY14" fmla="*/ 392061 h 1641533"/>
              <a:gd name="connsiteX15" fmla="*/ 2844216 w 2844216"/>
              <a:gd name="connsiteY15" fmla="*/ 206324 h 1641533"/>
              <a:gd name="connsiteX16" fmla="*/ 2844216 w 2844216"/>
              <a:gd name="connsiteY16" fmla="*/ 101549 h 1641533"/>
              <a:gd name="connsiteX17" fmla="*/ 2768016 w 2844216"/>
              <a:gd name="connsiteY17" fmla="*/ 101549 h 1641533"/>
              <a:gd name="connsiteX18" fmla="*/ 2677528 w 2844216"/>
              <a:gd name="connsiteY18" fmla="*/ 268236 h 1641533"/>
              <a:gd name="connsiteX19" fmla="*/ 2520367 w 2844216"/>
              <a:gd name="connsiteY19" fmla="*/ 349199 h 1641533"/>
              <a:gd name="connsiteX20" fmla="*/ 2229854 w 2844216"/>
              <a:gd name="connsiteY20" fmla="*/ 382536 h 1641533"/>
              <a:gd name="connsiteX21" fmla="*/ 486779 w 2844216"/>
              <a:gd name="connsiteY21" fmla="*/ 368249 h 1641533"/>
              <a:gd name="connsiteX22" fmla="*/ 286754 w 2844216"/>
              <a:gd name="connsiteY22" fmla="*/ 325386 h 1641533"/>
              <a:gd name="connsiteX23" fmla="*/ 186741 w 2844216"/>
              <a:gd name="connsiteY23" fmla="*/ 234899 h 1641533"/>
              <a:gd name="connsiteX24" fmla="*/ 134354 w 2844216"/>
              <a:gd name="connsiteY24" fmla="*/ 96786 h 1641533"/>
              <a:gd name="connsiteX25" fmla="*/ 48629 w 2844216"/>
              <a:gd name="connsiteY25" fmla="*/ 1536 h 1641533"/>
              <a:gd name="connsiteX0" fmla="*/ 48629 w 2844216"/>
              <a:gd name="connsiteY0" fmla="*/ 1536 h 1641714"/>
              <a:gd name="connsiteX1" fmla="*/ 1004 w 2844216"/>
              <a:gd name="connsiteY1" fmla="*/ 172986 h 1641714"/>
              <a:gd name="connsiteX2" fmla="*/ 91491 w 2844216"/>
              <a:gd name="connsiteY2" fmla="*/ 339674 h 1641714"/>
              <a:gd name="connsiteX3" fmla="*/ 305804 w 2844216"/>
              <a:gd name="connsiteY3" fmla="*/ 530174 h 1641714"/>
              <a:gd name="connsiteX4" fmla="*/ 296279 w 2844216"/>
              <a:gd name="connsiteY4" fmla="*/ 1011186 h 1641714"/>
              <a:gd name="connsiteX5" fmla="*/ 562979 w 2844216"/>
              <a:gd name="connsiteY5" fmla="*/ 1206449 h 1641714"/>
              <a:gd name="connsiteX6" fmla="*/ 1063041 w 2844216"/>
              <a:gd name="connsiteY6" fmla="*/ 1487436 h 1641714"/>
              <a:gd name="connsiteX7" fmla="*/ 1282116 w 2844216"/>
              <a:gd name="connsiteY7" fmla="*/ 1563636 h 1641714"/>
              <a:gd name="connsiteX8" fmla="*/ 1386891 w 2844216"/>
              <a:gd name="connsiteY8" fmla="*/ 1596974 h 1641714"/>
              <a:gd name="connsiteX9" fmla="*/ 1610729 w 2844216"/>
              <a:gd name="connsiteY9" fmla="*/ 1639836 h 1641714"/>
              <a:gd name="connsiteX10" fmla="*/ 1815516 w 2844216"/>
              <a:gd name="connsiteY10" fmla="*/ 1530299 h 1641714"/>
              <a:gd name="connsiteX11" fmla="*/ 2144129 w 2844216"/>
              <a:gd name="connsiteY11" fmla="*/ 1296936 h 1641714"/>
              <a:gd name="connsiteX12" fmla="*/ 2529891 w 2844216"/>
              <a:gd name="connsiteY12" fmla="*/ 1111199 h 1641714"/>
              <a:gd name="connsiteX13" fmla="*/ 2587041 w 2844216"/>
              <a:gd name="connsiteY13" fmla="*/ 506361 h 1641714"/>
              <a:gd name="connsiteX14" fmla="*/ 2758491 w 2844216"/>
              <a:gd name="connsiteY14" fmla="*/ 392061 h 1641714"/>
              <a:gd name="connsiteX15" fmla="*/ 2844216 w 2844216"/>
              <a:gd name="connsiteY15" fmla="*/ 206324 h 1641714"/>
              <a:gd name="connsiteX16" fmla="*/ 2844216 w 2844216"/>
              <a:gd name="connsiteY16" fmla="*/ 101549 h 1641714"/>
              <a:gd name="connsiteX17" fmla="*/ 2768016 w 2844216"/>
              <a:gd name="connsiteY17" fmla="*/ 101549 h 1641714"/>
              <a:gd name="connsiteX18" fmla="*/ 2677528 w 2844216"/>
              <a:gd name="connsiteY18" fmla="*/ 268236 h 1641714"/>
              <a:gd name="connsiteX19" fmla="*/ 2520367 w 2844216"/>
              <a:gd name="connsiteY19" fmla="*/ 349199 h 1641714"/>
              <a:gd name="connsiteX20" fmla="*/ 2229854 w 2844216"/>
              <a:gd name="connsiteY20" fmla="*/ 382536 h 1641714"/>
              <a:gd name="connsiteX21" fmla="*/ 486779 w 2844216"/>
              <a:gd name="connsiteY21" fmla="*/ 368249 h 1641714"/>
              <a:gd name="connsiteX22" fmla="*/ 286754 w 2844216"/>
              <a:gd name="connsiteY22" fmla="*/ 325386 h 1641714"/>
              <a:gd name="connsiteX23" fmla="*/ 186741 w 2844216"/>
              <a:gd name="connsiteY23" fmla="*/ 234899 h 1641714"/>
              <a:gd name="connsiteX24" fmla="*/ 134354 w 2844216"/>
              <a:gd name="connsiteY24" fmla="*/ 96786 h 1641714"/>
              <a:gd name="connsiteX25" fmla="*/ 48629 w 2844216"/>
              <a:gd name="connsiteY25" fmla="*/ 1536 h 1641714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15516 w 2844216"/>
              <a:gd name="connsiteY10" fmla="*/ 1530299 h 1600606"/>
              <a:gd name="connsiteX11" fmla="*/ 2144129 w 2844216"/>
              <a:gd name="connsiteY11" fmla="*/ 1296936 h 1600606"/>
              <a:gd name="connsiteX12" fmla="*/ 2529891 w 2844216"/>
              <a:gd name="connsiteY12" fmla="*/ 1111199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44129 w 2844216"/>
              <a:gd name="connsiteY11" fmla="*/ 1296936 h 1600606"/>
              <a:gd name="connsiteX12" fmla="*/ 2529891 w 2844216"/>
              <a:gd name="connsiteY12" fmla="*/ 1111199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44129 w 2844216"/>
              <a:gd name="connsiteY11" fmla="*/ 1296936 h 1600606"/>
              <a:gd name="connsiteX12" fmla="*/ 2529891 w 2844216"/>
              <a:gd name="connsiteY12" fmla="*/ 1111199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9891 w 2844216"/>
              <a:gd name="connsiteY12" fmla="*/ 1111199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482266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96316 w 2844216"/>
              <a:gd name="connsiteY5" fmla="*/ 11302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91554 w 2844216"/>
              <a:gd name="connsiteY5" fmla="*/ 1192162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662992 w 2844216"/>
              <a:gd name="connsiteY5" fmla="*/ 1258837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672517 w 2844216"/>
              <a:gd name="connsiteY5" fmla="*/ 1277887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1010654 w 2844216"/>
              <a:gd name="connsiteY6" fmla="*/ 1458861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1010654 w 2844216"/>
              <a:gd name="connsiteY6" fmla="*/ 1458861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967792 w 2844216"/>
              <a:gd name="connsiteY6" fmla="*/ 1463623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967792 w 2844216"/>
              <a:gd name="connsiteY6" fmla="*/ 1463623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967792 w 2844216"/>
              <a:gd name="connsiteY6" fmla="*/ 1463623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496554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496554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05842 w 2844216"/>
              <a:gd name="connsiteY5" fmla="*/ 1301700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496554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39180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496554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39180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15604 w 2844216"/>
              <a:gd name="connsiteY12" fmla="*/ 1049287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48666 w 2844216"/>
              <a:gd name="connsiteY4" fmla="*/ 996899 h 1600606"/>
              <a:gd name="connsiteX5" fmla="*/ 639180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15604 w 2844216"/>
              <a:gd name="connsiteY12" fmla="*/ 1049287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48666 w 2844216"/>
              <a:gd name="connsiteY4" fmla="*/ 996899 h 1600606"/>
              <a:gd name="connsiteX5" fmla="*/ 610605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15604 w 2844216"/>
              <a:gd name="connsiteY12" fmla="*/ 1049287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48666 w 2844216"/>
              <a:gd name="connsiteY4" fmla="*/ 996899 h 1600606"/>
              <a:gd name="connsiteX5" fmla="*/ 610605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15604 w 2844216"/>
              <a:gd name="connsiteY12" fmla="*/ 1049287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599993"/>
              <a:gd name="connsiteX1" fmla="*/ 1004 w 2844216"/>
              <a:gd name="connsiteY1" fmla="*/ 172986 h 1599993"/>
              <a:gd name="connsiteX2" fmla="*/ 91491 w 2844216"/>
              <a:gd name="connsiteY2" fmla="*/ 339674 h 1599993"/>
              <a:gd name="connsiteX3" fmla="*/ 305804 w 2844216"/>
              <a:gd name="connsiteY3" fmla="*/ 530174 h 1599993"/>
              <a:gd name="connsiteX4" fmla="*/ 348666 w 2844216"/>
              <a:gd name="connsiteY4" fmla="*/ 996899 h 1599993"/>
              <a:gd name="connsiteX5" fmla="*/ 610605 w 2844216"/>
              <a:gd name="connsiteY5" fmla="*/ 1296937 h 1599993"/>
              <a:gd name="connsiteX6" fmla="*/ 920167 w 2844216"/>
              <a:gd name="connsiteY6" fmla="*/ 1468385 h 1599993"/>
              <a:gd name="connsiteX7" fmla="*/ 1210678 w 2844216"/>
              <a:gd name="connsiteY7" fmla="*/ 1587448 h 1599993"/>
              <a:gd name="connsiteX8" fmla="*/ 1386891 w 2844216"/>
              <a:gd name="connsiteY8" fmla="*/ 1596974 h 1599993"/>
              <a:gd name="connsiteX9" fmla="*/ 1582154 w 2844216"/>
              <a:gd name="connsiteY9" fmla="*/ 1592211 h 1599993"/>
              <a:gd name="connsiteX10" fmla="*/ 1820278 w 2844216"/>
              <a:gd name="connsiteY10" fmla="*/ 1530299 h 1599993"/>
              <a:gd name="connsiteX11" fmla="*/ 2172704 w 2844216"/>
              <a:gd name="connsiteY11" fmla="*/ 1335035 h 1599993"/>
              <a:gd name="connsiteX12" fmla="*/ 2515604 w 2844216"/>
              <a:gd name="connsiteY12" fmla="*/ 1049287 h 1599993"/>
              <a:gd name="connsiteX13" fmla="*/ 2587041 w 2844216"/>
              <a:gd name="connsiteY13" fmla="*/ 506361 h 1599993"/>
              <a:gd name="connsiteX14" fmla="*/ 2758491 w 2844216"/>
              <a:gd name="connsiteY14" fmla="*/ 392061 h 1599993"/>
              <a:gd name="connsiteX15" fmla="*/ 2844216 w 2844216"/>
              <a:gd name="connsiteY15" fmla="*/ 206324 h 1599993"/>
              <a:gd name="connsiteX16" fmla="*/ 2844216 w 2844216"/>
              <a:gd name="connsiteY16" fmla="*/ 101549 h 1599993"/>
              <a:gd name="connsiteX17" fmla="*/ 2768016 w 2844216"/>
              <a:gd name="connsiteY17" fmla="*/ 101549 h 1599993"/>
              <a:gd name="connsiteX18" fmla="*/ 2677528 w 2844216"/>
              <a:gd name="connsiteY18" fmla="*/ 268236 h 1599993"/>
              <a:gd name="connsiteX19" fmla="*/ 2520367 w 2844216"/>
              <a:gd name="connsiteY19" fmla="*/ 349199 h 1599993"/>
              <a:gd name="connsiteX20" fmla="*/ 2229854 w 2844216"/>
              <a:gd name="connsiteY20" fmla="*/ 382536 h 1599993"/>
              <a:gd name="connsiteX21" fmla="*/ 486779 w 2844216"/>
              <a:gd name="connsiteY21" fmla="*/ 368249 h 1599993"/>
              <a:gd name="connsiteX22" fmla="*/ 286754 w 2844216"/>
              <a:gd name="connsiteY22" fmla="*/ 325386 h 1599993"/>
              <a:gd name="connsiteX23" fmla="*/ 186741 w 2844216"/>
              <a:gd name="connsiteY23" fmla="*/ 234899 h 1599993"/>
              <a:gd name="connsiteX24" fmla="*/ 134354 w 2844216"/>
              <a:gd name="connsiteY24" fmla="*/ 96786 h 1599993"/>
              <a:gd name="connsiteX25" fmla="*/ 48629 w 2844216"/>
              <a:gd name="connsiteY25" fmla="*/ 1536 h 1599993"/>
              <a:gd name="connsiteX0" fmla="*/ 48629 w 2844216"/>
              <a:gd name="connsiteY0" fmla="*/ 1536 h 1611328"/>
              <a:gd name="connsiteX1" fmla="*/ 1004 w 2844216"/>
              <a:gd name="connsiteY1" fmla="*/ 172986 h 1611328"/>
              <a:gd name="connsiteX2" fmla="*/ 91491 w 2844216"/>
              <a:gd name="connsiteY2" fmla="*/ 339674 h 1611328"/>
              <a:gd name="connsiteX3" fmla="*/ 305804 w 2844216"/>
              <a:gd name="connsiteY3" fmla="*/ 530174 h 1611328"/>
              <a:gd name="connsiteX4" fmla="*/ 348666 w 2844216"/>
              <a:gd name="connsiteY4" fmla="*/ 996899 h 1611328"/>
              <a:gd name="connsiteX5" fmla="*/ 610605 w 2844216"/>
              <a:gd name="connsiteY5" fmla="*/ 1296937 h 1611328"/>
              <a:gd name="connsiteX6" fmla="*/ 920167 w 2844216"/>
              <a:gd name="connsiteY6" fmla="*/ 1468385 h 1611328"/>
              <a:gd name="connsiteX7" fmla="*/ 1210678 w 2844216"/>
              <a:gd name="connsiteY7" fmla="*/ 1587448 h 1611328"/>
              <a:gd name="connsiteX8" fmla="*/ 1396416 w 2844216"/>
              <a:gd name="connsiteY8" fmla="*/ 1611262 h 1611328"/>
              <a:gd name="connsiteX9" fmla="*/ 1582154 w 2844216"/>
              <a:gd name="connsiteY9" fmla="*/ 1592211 h 1611328"/>
              <a:gd name="connsiteX10" fmla="*/ 1820278 w 2844216"/>
              <a:gd name="connsiteY10" fmla="*/ 1530299 h 1611328"/>
              <a:gd name="connsiteX11" fmla="*/ 2172704 w 2844216"/>
              <a:gd name="connsiteY11" fmla="*/ 1335035 h 1611328"/>
              <a:gd name="connsiteX12" fmla="*/ 2515604 w 2844216"/>
              <a:gd name="connsiteY12" fmla="*/ 1049287 h 1611328"/>
              <a:gd name="connsiteX13" fmla="*/ 2587041 w 2844216"/>
              <a:gd name="connsiteY13" fmla="*/ 506361 h 1611328"/>
              <a:gd name="connsiteX14" fmla="*/ 2758491 w 2844216"/>
              <a:gd name="connsiteY14" fmla="*/ 392061 h 1611328"/>
              <a:gd name="connsiteX15" fmla="*/ 2844216 w 2844216"/>
              <a:gd name="connsiteY15" fmla="*/ 206324 h 1611328"/>
              <a:gd name="connsiteX16" fmla="*/ 2844216 w 2844216"/>
              <a:gd name="connsiteY16" fmla="*/ 101549 h 1611328"/>
              <a:gd name="connsiteX17" fmla="*/ 2768016 w 2844216"/>
              <a:gd name="connsiteY17" fmla="*/ 101549 h 1611328"/>
              <a:gd name="connsiteX18" fmla="*/ 2677528 w 2844216"/>
              <a:gd name="connsiteY18" fmla="*/ 268236 h 1611328"/>
              <a:gd name="connsiteX19" fmla="*/ 2520367 w 2844216"/>
              <a:gd name="connsiteY19" fmla="*/ 349199 h 1611328"/>
              <a:gd name="connsiteX20" fmla="*/ 2229854 w 2844216"/>
              <a:gd name="connsiteY20" fmla="*/ 382536 h 1611328"/>
              <a:gd name="connsiteX21" fmla="*/ 486779 w 2844216"/>
              <a:gd name="connsiteY21" fmla="*/ 368249 h 1611328"/>
              <a:gd name="connsiteX22" fmla="*/ 286754 w 2844216"/>
              <a:gd name="connsiteY22" fmla="*/ 325386 h 1611328"/>
              <a:gd name="connsiteX23" fmla="*/ 186741 w 2844216"/>
              <a:gd name="connsiteY23" fmla="*/ 234899 h 1611328"/>
              <a:gd name="connsiteX24" fmla="*/ 134354 w 2844216"/>
              <a:gd name="connsiteY24" fmla="*/ 96786 h 1611328"/>
              <a:gd name="connsiteX25" fmla="*/ 48629 w 2844216"/>
              <a:gd name="connsiteY25" fmla="*/ 1536 h 161132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30174 h 1612858"/>
              <a:gd name="connsiteX4" fmla="*/ 34866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72704 w 2844216"/>
              <a:gd name="connsiteY11" fmla="*/ 1335035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30174 h 1612858"/>
              <a:gd name="connsiteX4" fmla="*/ 34866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72704 w 2844216"/>
              <a:gd name="connsiteY11" fmla="*/ 1335035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30174 h 1612858"/>
              <a:gd name="connsiteX4" fmla="*/ 34866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58749 h 1612858"/>
              <a:gd name="connsiteX4" fmla="*/ 34866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58749 h 1612858"/>
              <a:gd name="connsiteX4" fmla="*/ 32961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91516 w 2844216"/>
              <a:gd name="connsiteY3" fmla="*/ 592086 h 1612858"/>
              <a:gd name="connsiteX4" fmla="*/ 32961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91516 w 2844216"/>
              <a:gd name="connsiteY3" fmla="*/ 592086 h 1612858"/>
              <a:gd name="connsiteX4" fmla="*/ 367716 w 2844216"/>
              <a:gd name="connsiteY4" fmla="*/ 1044524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91516 w 2844216"/>
              <a:gd name="connsiteY3" fmla="*/ 592086 h 1612858"/>
              <a:gd name="connsiteX4" fmla="*/ 334379 w 2844216"/>
              <a:gd name="connsiteY4" fmla="*/ 1030236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91516 w 2844216"/>
              <a:gd name="connsiteY3" fmla="*/ 592086 h 1612858"/>
              <a:gd name="connsiteX4" fmla="*/ 339141 w 2844216"/>
              <a:gd name="connsiteY4" fmla="*/ 1039761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67703 w 2844216"/>
              <a:gd name="connsiteY3" fmla="*/ 606374 h 1612858"/>
              <a:gd name="connsiteX4" fmla="*/ 339141 w 2844216"/>
              <a:gd name="connsiteY4" fmla="*/ 1039761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56392 w 2851979"/>
              <a:gd name="connsiteY0" fmla="*/ 1536 h 1612858"/>
              <a:gd name="connsiteX1" fmla="*/ 8767 w 2851979"/>
              <a:gd name="connsiteY1" fmla="*/ 172986 h 1612858"/>
              <a:gd name="connsiteX2" fmla="*/ 99254 w 2851979"/>
              <a:gd name="connsiteY2" fmla="*/ 339674 h 1612858"/>
              <a:gd name="connsiteX3" fmla="*/ 275466 w 2851979"/>
              <a:gd name="connsiteY3" fmla="*/ 606374 h 1612858"/>
              <a:gd name="connsiteX4" fmla="*/ 346904 w 2851979"/>
              <a:gd name="connsiteY4" fmla="*/ 1039761 h 1612858"/>
              <a:gd name="connsiteX5" fmla="*/ 618368 w 2851979"/>
              <a:gd name="connsiteY5" fmla="*/ 1296937 h 1612858"/>
              <a:gd name="connsiteX6" fmla="*/ 927930 w 2851979"/>
              <a:gd name="connsiteY6" fmla="*/ 1468385 h 1612858"/>
              <a:gd name="connsiteX7" fmla="*/ 1218441 w 2851979"/>
              <a:gd name="connsiteY7" fmla="*/ 1587448 h 1612858"/>
              <a:gd name="connsiteX8" fmla="*/ 1404179 w 2851979"/>
              <a:gd name="connsiteY8" fmla="*/ 1611262 h 1612858"/>
              <a:gd name="connsiteX9" fmla="*/ 1604205 w 2851979"/>
              <a:gd name="connsiteY9" fmla="*/ 1601736 h 1612858"/>
              <a:gd name="connsiteX10" fmla="*/ 1828041 w 2851979"/>
              <a:gd name="connsiteY10" fmla="*/ 1530299 h 1612858"/>
              <a:gd name="connsiteX11" fmla="*/ 2189992 w 2851979"/>
              <a:gd name="connsiteY11" fmla="*/ 1349323 h 1612858"/>
              <a:gd name="connsiteX12" fmla="*/ 2523367 w 2851979"/>
              <a:gd name="connsiteY12" fmla="*/ 1049287 h 1612858"/>
              <a:gd name="connsiteX13" fmla="*/ 2594804 w 2851979"/>
              <a:gd name="connsiteY13" fmla="*/ 506361 h 1612858"/>
              <a:gd name="connsiteX14" fmla="*/ 2766254 w 2851979"/>
              <a:gd name="connsiteY14" fmla="*/ 392061 h 1612858"/>
              <a:gd name="connsiteX15" fmla="*/ 2851979 w 2851979"/>
              <a:gd name="connsiteY15" fmla="*/ 206324 h 1612858"/>
              <a:gd name="connsiteX16" fmla="*/ 2851979 w 2851979"/>
              <a:gd name="connsiteY16" fmla="*/ 101549 h 1612858"/>
              <a:gd name="connsiteX17" fmla="*/ 2775779 w 2851979"/>
              <a:gd name="connsiteY17" fmla="*/ 101549 h 1612858"/>
              <a:gd name="connsiteX18" fmla="*/ 2685291 w 2851979"/>
              <a:gd name="connsiteY18" fmla="*/ 268236 h 1612858"/>
              <a:gd name="connsiteX19" fmla="*/ 2528130 w 2851979"/>
              <a:gd name="connsiteY19" fmla="*/ 349199 h 1612858"/>
              <a:gd name="connsiteX20" fmla="*/ 2237617 w 2851979"/>
              <a:gd name="connsiteY20" fmla="*/ 382536 h 1612858"/>
              <a:gd name="connsiteX21" fmla="*/ 494542 w 2851979"/>
              <a:gd name="connsiteY21" fmla="*/ 368249 h 1612858"/>
              <a:gd name="connsiteX22" fmla="*/ 294517 w 2851979"/>
              <a:gd name="connsiteY22" fmla="*/ 325386 h 1612858"/>
              <a:gd name="connsiteX23" fmla="*/ 194504 w 2851979"/>
              <a:gd name="connsiteY23" fmla="*/ 234899 h 1612858"/>
              <a:gd name="connsiteX24" fmla="*/ 142117 w 2851979"/>
              <a:gd name="connsiteY24" fmla="*/ 96786 h 1612858"/>
              <a:gd name="connsiteX25" fmla="*/ 56392 w 2851979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595133 w 2852308"/>
              <a:gd name="connsiteY13" fmla="*/ 506361 h 1612858"/>
              <a:gd name="connsiteX14" fmla="*/ 2766583 w 2852308"/>
              <a:gd name="connsiteY14" fmla="*/ 392061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614183 w 2852308"/>
              <a:gd name="connsiteY13" fmla="*/ 520648 h 1612858"/>
              <a:gd name="connsiteX14" fmla="*/ 2766583 w 2852308"/>
              <a:gd name="connsiteY14" fmla="*/ 392061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628471 w 2852308"/>
              <a:gd name="connsiteY13" fmla="*/ 525411 h 1612858"/>
              <a:gd name="connsiteX14" fmla="*/ 2766583 w 2852308"/>
              <a:gd name="connsiteY14" fmla="*/ 392061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628471 w 2852308"/>
              <a:gd name="connsiteY13" fmla="*/ 525411 h 1612858"/>
              <a:gd name="connsiteX14" fmla="*/ 2766583 w 2852308"/>
              <a:gd name="connsiteY14" fmla="*/ 392061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628471 w 2852308"/>
              <a:gd name="connsiteY13" fmla="*/ 525411 h 1612858"/>
              <a:gd name="connsiteX14" fmla="*/ 2761821 w 2852308"/>
              <a:gd name="connsiteY14" fmla="*/ 387299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62744"/>
              <a:gd name="connsiteY0" fmla="*/ 1536 h 1612858"/>
              <a:gd name="connsiteX1" fmla="*/ 9096 w 2862744"/>
              <a:gd name="connsiteY1" fmla="*/ 172986 h 1612858"/>
              <a:gd name="connsiteX2" fmla="*/ 99583 w 2862744"/>
              <a:gd name="connsiteY2" fmla="*/ 339674 h 1612858"/>
              <a:gd name="connsiteX3" fmla="*/ 275795 w 2862744"/>
              <a:gd name="connsiteY3" fmla="*/ 606374 h 1612858"/>
              <a:gd name="connsiteX4" fmla="*/ 347233 w 2862744"/>
              <a:gd name="connsiteY4" fmla="*/ 1039761 h 1612858"/>
              <a:gd name="connsiteX5" fmla="*/ 618697 w 2862744"/>
              <a:gd name="connsiteY5" fmla="*/ 1296937 h 1612858"/>
              <a:gd name="connsiteX6" fmla="*/ 928259 w 2862744"/>
              <a:gd name="connsiteY6" fmla="*/ 1468385 h 1612858"/>
              <a:gd name="connsiteX7" fmla="*/ 1218770 w 2862744"/>
              <a:gd name="connsiteY7" fmla="*/ 1587448 h 1612858"/>
              <a:gd name="connsiteX8" fmla="*/ 1404508 w 2862744"/>
              <a:gd name="connsiteY8" fmla="*/ 1611262 h 1612858"/>
              <a:gd name="connsiteX9" fmla="*/ 1604534 w 2862744"/>
              <a:gd name="connsiteY9" fmla="*/ 1601736 h 1612858"/>
              <a:gd name="connsiteX10" fmla="*/ 1828370 w 2862744"/>
              <a:gd name="connsiteY10" fmla="*/ 1530299 h 1612858"/>
              <a:gd name="connsiteX11" fmla="*/ 2190321 w 2862744"/>
              <a:gd name="connsiteY11" fmla="*/ 1349323 h 1612858"/>
              <a:gd name="connsiteX12" fmla="*/ 2523696 w 2862744"/>
              <a:gd name="connsiteY12" fmla="*/ 1049287 h 1612858"/>
              <a:gd name="connsiteX13" fmla="*/ 2628471 w 2862744"/>
              <a:gd name="connsiteY13" fmla="*/ 525411 h 1612858"/>
              <a:gd name="connsiteX14" fmla="*/ 2761821 w 2862744"/>
              <a:gd name="connsiteY14" fmla="*/ 387299 h 1612858"/>
              <a:gd name="connsiteX15" fmla="*/ 2852308 w 2862744"/>
              <a:gd name="connsiteY15" fmla="*/ 206324 h 1612858"/>
              <a:gd name="connsiteX16" fmla="*/ 2852308 w 2862744"/>
              <a:gd name="connsiteY16" fmla="*/ 101549 h 1612858"/>
              <a:gd name="connsiteX17" fmla="*/ 2776108 w 2862744"/>
              <a:gd name="connsiteY17" fmla="*/ 101549 h 1612858"/>
              <a:gd name="connsiteX18" fmla="*/ 2685620 w 2862744"/>
              <a:gd name="connsiteY18" fmla="*/ 268236 h 1612858"/>
              <a:gd name="connsiteX19" fmla="*/ 2528459 w 2862744"/>
              <a:gd name="connsiteY19" fmla="*/ 349199 h 1612858"/>
              <a:gd name="connsiteX20" fmla="*/ 2237946 w 2862744"/>
              <a:gd name="connsiteY20" fmla="*/ 382536 h 1612858"/>
              <a:gd name="connsiteX21" fmla="*/ 494871 w 2862744"/>
              <a:gd name="connsiteY21" fmla="*/ 368249 h 1612858"/>
              <a:gd name="connsiteX22" fmla="*/ 294846 w 2862744"/>
              <a:gd name="connsiteY22" fmla="*/ 325386 h 1612858"/>
              <a:gd name="connsiteX23" fmla="*/ 194833 w 2862744"/>
              <a:gd name="connsiteY23" fmla="*/ 234899 h 1612858"/>
              <a:gd name="connsiteX24" fmla="*/ 161496 w 2862744"/>
              <a:gd name="connsiteY24" fmla="*/ 96786 h 1612858"/>
              <a:gd name="connsiteX25" fmla="*/ 56721 w 2862744"/>
              <a:gd name="connsiteY25" fmla="*/ 1536 h 1612858"/>
              <a:gd name="connsiteX0" fmla="*/ 56721 w 2860804"/>
              <a:gd name="connsiteY0" fmla="*/ 1536 h 1612858"/>
              <a:gd name="connsiteX1" fmla="*/ 9096 w 2860804"/>
              <a:gd name="connsiteY1" fmla="*/ 172986 h 1612858"/>
              <a:gd name="connsiteX2" fmla="*/ 99583 w 2860804"/>
              <a:gd name="connsiteY2" fmla="*/ 339674 h 1612858"/>
              <a:gd name="connsiteX3" fmla="*/ 275795 w 2860804"/>
              <a:gd name="connsiteY3" fmla="*/ 606374 h 1612858"/>
              <a:gd name="connsiteX4" fmla="*/ 347233 w 2860804"/>
              <a:gd name="connsiteY4" fmla="*/ 1039761 h 1612858"/>
              <a:gd name="connsiteX5" fmla="*/ 618697 w 2860804"/>
              <a:gd name="connsiteY5" fmla="*/ 1296937 h 1612858"/>
              <a:gd name="connsiteX6" fmla="*/ 928259 w 2860804"/>
              <a:gd name="connsiteY6" fmla="*/ 1468385 h 1612858"/>
              <a:gd name="connsiteX7" fmla="*/ 1218770 w 2860804"/>
              <a:gd name="connsiteY7" fmla="*/ 1587448 h 1612858"/>
              <a:gd name="connsiteX8" fmla="*/ 1404508 w 2860804"/>
              <a:gd name="connsiteY8" fmla="*/ 1611262 h 1612858"/>
              <a:gd name="connsiteX9" fmla="*/ 1604534 w 2860804"/>
              <a:gd name="connsiteY9" fmla="*/ 1601736 h 1612858"/>
              <a:gd name="connsiteX10" fmla="*/ 1828370 w 2860804"/>
              <a:gd name="connsiteY10" fmla="*/ 1530299 h 1612858"/>
              <a:gd name="connsiteX11" fmla="*/ 2190321 w 2860804"/>
              <a:gd name="connsiteY11" fmla="*/ 1349323 h 1612858"/>
              <a:gd name="connsiteX12" fmla="*/ 2523696 w 2860804"/>
              <a:gd name="connsiteY12" fmla="*/ 1049287 h 1612858"/>
              <a:gd name="connsiteX13" fmla="*/ 2628471 w 2860804"/>
              <a:gd name="connsiteY13" fmla="*/ 525411 h 1612858"/>
              <a:gd name="connsiteX14" fmla="*/ 2761821 w 2860804"/>
              <a:gd name="connsiteY14" fmla="*/ 387299 h 1612858"/>
              <a:gd name="connsiteX15" fmla="*/ 2852308 w 2860804"/>
              <a:gd name="connsiteY15" fmla="*/ 206324 h 1612858"/>
              <a:gd name="connsiteX16" fmla="*/ 2847546 w 2860804"/>
              <a:gd name="connsiteY16" fmla="*/ 115837 h 1612858"/>
              <a:gd name="connsiteX17" fmla="*/ 2776108 w 2860804"/>
              <a:gd name="connsiteY17" fmla="*/ 101549 h 1612858"/>
              <a:gd name="connsiteX18" fmla="*/ 2685620 w 2860804"/>
              <a:gd name="connsiteY18" fmla="*/ 268236 h 1612858"/>
              <a:gd name="connsiteX19" fmla="*/ 2528459 w 2860804"/>
              <a:gd name="connsiteY19" fmla="*/ 349199 h 1612858"/>
              <a:gd name="connsiteX20" fmla="*/ 2237946 w 2860804"/>
              <a:gd name="connsiteY20" fmla="*/ 382536 h 1612858"/>
              <a:gd name="connsiteX21" fmla="*/ 494871 w 2860804"/>
              <a:gd name="connsiteY21" fmla="*/ 368249 h 1612858"/>
              <a:gd name="connsiteX22" fmla="*/ 294846 w 2860804"/>
              <a:gd name="connsiteY22" fmla="*/ 325386 h 1612858"/>
              <a:gd name="connsiteX23" fmla="*/ 194833 w 2860804"/>
              <a:gd name="connsiteY23" fmla="*/ 234899 h 1612858"/>
              <a:gd name="connsiteX24" fmla="*/ 161496 w 2860804"/>
              <a:gd name="connsiteY24" fmla="*/ 96786 h 1612858"/>
              <a:gd name="connsiteX25" fmla="*/ 56721 w 2860804"/>
              <a:gd name="connsiteY25" fmla="*/ 1536 h 1612858"/>
              <a:gd name="connsiteX0" fmla="*/ 56721 w 2860804"/>
              <a:gd name="connsiteY0" fmla="*/ 1536 h 1612858"/>
              <a:gd name="connsiteX1" fmla="*/ 9096 w 2860804"/>
              <a:gd name="connsiteY1" fmla="*/ 172986 h 1612858"/>
              <a:gd name="connsiteX2" fmla="*/ 99583 w 2860804"/>
              <a:gd name="connsiteY2" fmla="*/ 339674 h 1612858"/>
              <a:gd name="connsiteX3" fmla="*/ 275795 w 2860804"/>
              <a:gd name="connsiteY3" fmla="*/ 606374 h 1612858"/>
              <a:gd name="connsiteX4" fmla="*/ 347233 w 2860804"/>
              <a:gd name="connsiteY4" fmla="*/ 1039761 h 1612858"/>
              <a:gd name="connsiteX5" fmla="*/ 618697 w 2860804"/>
              <a:gd name="connsiteY5" fmla="*/ 1296937 h 1612858"/>
              <a:gd name="connsiteX6" fmla="*/ 928259 w 2860804"/>
              <a:gd name="connsiteY6" fmla="*/ 1468385 h 1612858"/>
              <a:gd name="connsiteX7" fmla="*/ 1218770 w 2860804"/>
              <a:gd name="connsiteY7" fmla="*/ 1587448 h 1612858"/>
              <a:gd name="connsiteX8" fmla="*/ 1404508 w 2860804"/>
              <a:gd name="connsiteY8" fmla="*/ 1611262 h 1612858"/>
              <a:gd name="connsiteX9" fmla="*/ 1604534 w 2860804"/>
              <a:gd name="connsiteY9" fmla="*/ 1601736 h 1612858"/>
              <a:gd name="connsiteX10" fmla="*/ 1828370 w 2860804"/>
              <a:gd name="connsiteY10" fmla="*/ 1530299 h 1612858"/>
              <a:gd name="connsiteX11" fmla="*/ 2190321 w 2860804"/>
              <a:gd name="connsiteY11" fmla="*/ 1349323 h 1612858"/>
              <a:gd name="connsiteX12" fmla="*/ 2523696 w 2860804"/>
              <a:gd name="connsiteY12" fmla="*/ 1049287 h 1612858"/>
              <a:gd name="connsiteX13" fmla="*/ 2628471 w 2860804"/>
              <a:gd name="connsiteY13" fmla="*/ 525411 h 1612858"/>
              <a:gd name="connsiteX14" fmla="*/ 2761821 w 2860804"/>
              <a:gd name="connsiteY14" fmla="*/ 387299 h 1612858"/>
              <a:gd name="connsiteX15" fmla="*/ 2852308 w 2860804"/>
              <a:gd name="connsiteY15" fmla="*/ 206324 h 1612858"/>
              <a:gd name="connsiteX16" fmla="*/ 2847546 w 2860804"/>
              <a:gd name="connsiteY16" fmla="*/ 115837 h 1612858"/>
              <a:gd name="connsiteX17" fmla="*/ 2776108 w 2860804"/>
              <a:gd name="connsiteY17" fmla="*/ 101549 h 1612858"/>
              <a:gd name="connsiteX18" fmla="*/ 2685620 w 2860804"/>
              <a:gd name="connsiteY18" fmla="*/ 268236 h 1612858"/>
              <a:gd name="connsiteX19" fmla="*/ 2019297 w 2860804"/>
              <a:gd name="connsiteY19" fmla="*/ 53924 h 1612858"/>
              <a:gd name="connsiteX20" fmla="*/ 2237946 w 2860804"/>
              <a:gd name="connsiteY20" fmla="*/ 382536 h 1612858"/>
              <a:gd name="connsiteX21" fmla="*/ 494871 w 2860804"/>
              <a:gd name="connsiteY21" fmla="*/ 368249 h 1612858"/>
              <a:gd name="connsiteX22" fmla="*/ 294846 w 2860804"/>
              <a:gd name="connsiteY22" fmla="*/ 325386 h 1612858"/>
              <a:gd name="connsiteX23" fmla="*/ 194833 w 2860804"/>
              <a:gd name="connsiteY23" fmla="*/ 234899 h 1612858"/>
              <a:gd name="connsiteX24" fmla="*/ 161496 w 2860804"/>
              <a:gd name="connsiteY24" fmla="*/ 96786 h 1612858"/>
              <a:gd name="connsiteX25" fmla="*/ 56721 w 2860804"/>
              <a:gd name="connsiteY25" fmla="*/ 1536 h 1612858"/>
              <a:gd name="connsiteX0" fmla="*/ 56721 w 2860804"/>
              <a:gd name="connsiteY0" fmla="*/ 1536 h 1612858"/>
              <a:gd name="connsiteX1" fmla="*/ 9096 w 2860804"/>
              <a:gd name="connsiteY1" fmla="*/ 172986 h 1612858"/>
              <a:gd name="connsiteX2" fmla="*/ 99583 w 2860804"/>
              <a:gd name="connsiteY2" fmla="*/ 339674 h 1612858"/>
              <a:gd name="connsiteX3" fmla="*/ 275795 w 2860804"/>
              <a:gd name="connsiteY3" fmla="*/ 606374 h 1612858"/>
              <a:gd name="connsiteX4" fmla="*/ 347233 w 2860804"/>
              <a:gd name="connsiteY4" fmla="*/ 1039761 h 1612858"/>
              <a:gd name="connsiteX5" fmla="*/ 618697 w 2860804"/>
              <a:gd name="connsiteY5" fmla="*/ 1296937 h 1612858"/>
              <a:gd name="connsiteX6" fmla="*/ 928259 w 2860804"/>
              <a:gd name="connsiteY6" fmla="*/ 1468385 h 1612858"/>
              <a:gd name="connsiteX7" fmla="*/ 1218770 w 2860804"/>
              <a:gd name="connsiteY7" fmla="*/ 1587448 h 1612858"/>
              <a:gd name="connsiteX8" fmla="*/ 1404508 w 2860804"/>
              <a:gd name="connsiteY8" fmla="*/ 1611262 h 1612858"/>
              <a:gd name="connsiteX9" fmla="*/ 1604534 w 2860804"/>
              <a:gd name="connsiteY9" fmla="*/ 1601736 h 1612858"/>
              <a:gd name="connsiteX10" fmla="*/ 1828370 w 2860804"/>
              <a:gd name="connsiteY10" fmla="*/ 1530299 h 1612858"/>
              <a:gd name="connsiteX11" fmla="*/ 2190321 w 2860804"/>
              <a:gd name="connsiteY11" fmla="*/ 1349323 h 1612858"/>
              <a:gd name="connsiteX12" fmla="*/ 2523696 w 2860804"/>
              <a:gd name="connsiteY12" fmla="*/ 1049287 h 1612858"/>
              <a:gd name="connsiteX13" fmla="*/ 2628471 w 2860804"/>
              <a:gd name="connsiteY13" fmla="*/ 525411 h 1612858"/>
              <a:gd name="connsiteX14" fmla="*/ 2761821 w 2860804"/>
              <a:gd name="connsiteY14" fmla="*/ 387299 h 1612858"/>
              <a:gd name="connsiteX15" fmla="*/ 2852308 w 2860804"/>
              <a:gd name="connsiteY15" fmla="*/ 206324 h 1612858"/>
              <a:gd name="connsiteX16" fmla="*/ 2847546 w 2860804"/>
              <a:gd name="connsiteY16" fmla="*/ 115837 h 1612858"/>
              <a:gd name="connsiteX17" fmla="*/ 2776108 w 2860804"/>
              <a:gd name="connsiteY17" fmla="*/ 101549 h 1612858"/>
              <a:gd name="connsiteX18" fmla="*/ 2520142 w 2860804"/>
              <a:gd name="connsiteY18" fmla="*/ 72974 h 1612858"/>
              <a:gd name="connsiteX19" fmla="*/ 2019297 w 2860804"/>
              <a:gd name="connsiteY19" fmla="*/ 53924 h 1612858"/>
              <a:gd name="connsiteX20" fmla="*/ 2237946 w 2860804"/>
              <a:gd name="connsiteY20" fmla="*/ 382536 h 1612858"/>
              <a:gd name="connsiteX21" fmla="*/ 494871 w 2860804"/>
              <a:gd name="connsiteY21" fmla="*/ 368249 h 1612858"/>
              <a:gd name="connsiteX22" fmla="*/ 294846 w 2860804"/>
              <a:gd name="connsiteY22" fmla="*/ 325386 h 1612858"/>
              <a:gd name="connsiteX23" fmla="*/ 194833 w 2860804"/>
              <a:gd name="connsiteY23" fmla="*/ 234899 h 1612858"/>
              <a:gd name="connsiteX24" fmla="*/ 161496 w 2860804"/>
              <a:gd name="connsiteY24" fmla="*/ 96786 h 1612858"/>
              <a:gd name="connsiteX25" fmla="*/ 56721 w 2860804"/>
              <a:gd name="connsiteY25" fmla="*/ 1536 h 1612858"/>
              <a:gd name="connsiteX0" fmla="*/ 56721 w 2860804"/>
              <a:gd name="connsiteY0" fmla="*/ 1536 h 1612858"/>
              <a:gd name="connsiteX1" fmla="*/ 9096 w 2860804"/>
              <a:gd name="connsiteY1" fmla="*/ 172986 h 1612858"/>
              <a:gd name="connsiteX2" fmla="*/ 99583 w 2860804"/>
              <a:gd name="connsiteY2" fmla="*/ 339674 h 1612858"/>
              <a:gd name="connsiteX3" fmla="*/ 275795 w 2860804"/>
              <a:gd name="connsiteY3" fmla="*/ 606374 h 1612858"/>
              <a:gd name="connsiteX4" fmla="*/ 347233 w 2860804"/>
              <a:gd name="connsiteY4" fmla="*/ 1039761 h 1612858"/>
              <a:gd name="connsiteX5" fmla="*/ 618697 w 2860804"/>
              <a:gd name="connsiteY5" fmla="*/ 1296937 h 1612858"/>
              <a:gd name="connsiteX6" fmla="*/ 928259 w 2860804"/>
              <a:gd name="connsiteY6" fmla="*/ 1468385 h 1612858"/>
              <a:gd name="connsiteX7" fmla="*/ 1218770 w 2860804"/>
              <a:gd name="connsiteY7" fmla="*/ 1587448 h 1612858"/>
              <a:gd name="connsiteX8" fmla="*/ 1404508 w 2860804"/>
              <a:gd name="connsiteY8" fmla="*/ 1611262 h 1612858"/>
              <a:gd name="connsiteX9" fmla="*/ 1604534 w 2860804"/>
              <a:gd name="connsiteY9" fmla="*/ 1601736 h 1612858"/>
              <a:gd name="connsiteX10" fmla="*/ 1828370 w 2860804"/>
              <a:gd name="connsiteY10" fmla="*/ 1530299 h 1612858"/>
              <a:gd name="connsiteX11" fmla="*/ 2190321 w 2860804"/>
              <a:gd name="connsiteY11" fmla="*/ 1349323 h 1612858"/>
              <a:gd name="connsiteX12" fmla="*/ 2523696 w 2860804"/>
              <a:gd name="connsiteY12" fmla="*/ 1049287 h 1612858"/>
              <a:gd name="connsiteX13" fmla="*/ 2628471 w 2860804"/>
              <a:gd name="connsiteY13" fmla="*/ 525411 h 1612858"/>
              <a:gd name="connsiteX14" fmla="*/ 2761821 w 2860804"/>
              <a:gd name="connsiteY14" fmla="*/ 387299 h 1612858"/>
              <a:gd name="connsiteX15" fmla="*/ 2852308 w 2860804"/>
              <a:gd name="connsiteY15" fmla="*/ 206324 h 1612858"/>
              <a:gd name="connsiteX16" fmla="*/ 2847546 w 2860804"/>
              <a:gd name="connsiteY16" fmla="*/ 115837 h 1612858"/>
              <a:gd name="connsiteX17" fmla="*/ 2776108 w 2860804"/>
              <a:gd name="connsiteY17" fmla="*/ 101549 h 1612858"/>
              <a:gd name="connsiteX18" fmla="*/ 2520142 w 2860804"/>
              <a:gd name="connsiteY18" fmla="*/ 72974 h 1612858"/>
              <a:gd name="connsiteX19" fmla="*/ 2019297 w 2860804"/>
              <a:gd name="connsiteY19" fmla="*/ 53924 h 1612858"/>
              <a:gd name="connsiteX20" fmla="*/ 1700143 w 2860804"/>
              <a:gd name="connsiteY20" fmla="*/ 53923 h 1612858"/>
              <a:gd name="connsiteX21" fmla="*/ 494871 w 2860804"/>
              <a:gd name="connsiteY21" fmla="*/ 368249 h 1612858"/>
              <a:gd name="connsiteX22" fmla="*/ 294846 w 2860804"/>
              <a:gd name="connsiteY22" fmla="*/ 325386 h 1612858"/>
              <a:gd name="connsiteX23" fmla="*/ 194833 w 2860804"/>
              <a:gd name="connsiteY23" fmla="*/ 234899 h 1612858"/>
              <a:gd name="connsiteX24" fmla="*/ 161496 w 2860804"/>
              <a:gd name="connsiteY24" fmla="*/ 96786 h 1612858"/>
              <a:gd name="connsiteX25" fmla="*/ 56721 w 2860804"/>
              <a:gd name="connsiteY25" fmla="*/ 1536 h 1612858"/>
              <a:gd name="connsiteX0" fmla="*/ 59376 w 2863459"/>
              <a:gd name="connsiteY0" fmla="*/ 11819 h 1623141"/>
              <a:gd name="connsiteX1" fmla="*/ 11751 w 2863459"/>
              <a:gd name="connsiteY1" fmla="*/ 183269 h 1623141"/>
              <a:gd name="connsiteX2" fmla="*/ 102238 w 2863459"/>
              <a:gd name="connsiteY2" fmla="*/ 349957 h 1623141"/>
              <a:gd name="connsiteX3" fmla="*/ 278450 w 2863459"/>
              <a:gd name="connsiteY3" fmla="*/ 616657 h 1623141"/>
              <a:gd name="connsiteX4" fmla="*/ 349888 w 2863459"/>
              <a:gd name="connsiteY4" fmla="*/ 1050044 h 1623141"/>
              <a:gd name="connsiteX5" fmla="*/ 621352 w 2863459"/>
              <a:gd name="connsiteY5" fmla="*/ 1307220 h 1623141"/>
              <a:gd name="connsiteX6" fmla="*/ 930914 w 2863459"/>
              <a:gd name="connsiteY6" fmla="*/ 1478668 h 1623141"/>
              <a:gd name="connsiteX7" fmla="*/ 1221425 w 2863459"/>
              <a:gd name="connsiteY7" fmla="*/ 1597731 h 1623141"/>
              <a:gd name="connsiteX8" fmla="*/ 1407163 w 2863459"/>
              <a:gd name="connsiteY8" fmla="*/ 1621545 h 1623141"/>
              <a:gd name="connsiteX9" fmla="*/ 1607189 w 2863459"/>
              <a:gd name="connsiteY9" fmla="*/ 1612019 h 1623141"/>
              <a:gd name="connsiteX10" fmla="*/ 1831025 w 2863459"/>
              <a:gd name="connsiteY10" fmla="*/ 1540582 h 1623141"/>
              <a:gd name="connsiteX11" fmla="*/ 2192976 w 2863459"/>
              <a:gd name="connsiteY11" fmla="*/ 1359606 h 1623141"/>
              <a:gd name="connsiteX12" fmla="*/ 2526351 w 2863459"/>
              <a:gd name="connsiteY12" fmla="*/ 1059570 h 1623141"/>
              <a:gd name="connsiteX13" fmla="*/ 2631126 w 2863459"/>
              <a:gd name="connsiteY13" fmla="*/ 535694 h 1623141"/>
              <a:gd name="connsiteX14" fmla="*/ 2764476 w 2863459"/>
              <a:gd name="connsiteY14" fmla="*/ 397582 h 1623141"/>
              <a:gd name="connsiteX15" fmla="*/ 2854963 w 2863459"/>
              <a:gd name="connsiteY15" fmla="*/ 216607 h 1623141"/>
              <a:gd name="connsiteX16" fmla="*/ 2850201 w 2863459"/>
              <a:gd name="connsiteY16" fmla="*/ 126120 h 1623141"/>
              <a:gd name="connsiteX17" fmla="*/ 2778763 w 2863459"/>
              <a:gd name="connsiteY17" fmla="*/ 111832 h 1623141"/>
              <a:gd name="connsiteX18" fmla="*/ 2522797 w 2863459"/>
              <a:gd name="connsiteY18" fmla="*/ 83257 h 1623141"/>
              <a:gd name="connsiteX19" fmla="*/ 2021952 w 2863459"/>
              <a:gd name="connsiteY19" fmla="*/ 64207 h 1623141"/>
              <a:gd name="connsiteX20" fmla="*/ 1702798 w 2863459"/>
              <a:gd name="connsiteY20" fmla="*/ 64206 h 1623141"/>
              <a:gd name="connsiteX21" fmla="*/ 497526 w 2863459"/>
              <a:gd name="connsiteY21" fmla="*/ 378532 h 1623141"/>
              <a:gd name="connsiteX22" fmla="*/ 297501 w 2863459"/>
              <a:gd name="connsiteY22" fmla="*/ 335669 h 1623141"/>
              <a:gd name="connsiteX23" fmla="*/ 197488 w 2863459"/>
              <a:gd name="connsiteY23" fmla="*/ 245182 h 1623141"/>
              <a:gd name="connsiteX24" fmla="*/ 285078 w 2863459"/>
              <a:gd name="connsiteY24" fmla="*/ 40394 h 1623141"/>
              <a:gd name="connsiteX25" fmla="*/ 59376 w 2863459"/>
              <a:gd name="connsiteY25" fmla="*/ 11819 h 1623141"/>
              <a:gd name="connsiteX0" fmla="*/ 59376 w 2863459"/>
              <a:gd name="connsiteY0" fmla="*/ 11819 h 1623141"/>
              <a:gd name="connsiteX1" fmla="*/ 11751 w 2863459"/>
              <a:gd name="connsiteY1" fmla="*/ 183269 h 1623141"/>
              <a:gd name="connsiteX2" fmla="*/ 102238 w 2863459"/>
              <a:gd name="connsiteY2" fmla="*/ 349957 h 1623141"/>
              <a:gd name="connsiteX3" fmla="*/ 278450 w 2863459"/>
              <a:gd name="connsiteY3" fmla="*/ 616657 h 1623141"/>
              <a:gd name="connsiteX4" fmla="*/ 349888 w 2863459"/>
              <a:gd name="connsiteY4" fmla="*/ 1050044 h 1623141"/>
              <a:gd name="connsiteX5" fmla="*/ 621352 w 2863459"/>
              <a:gd name="connsiteY5" fmla="*/ 1307220 h 1623141"/>
              <a:gd name="connsiteX6" fmla="*/ 930914 w 2863459"/>
              <a:gd name="connsiteY6" fmla="*/ 1478668 h 1623141"/>
              <a:gd name="connsiteX7" fmla="*/ 1221425 w 2863459"/>
              <a:gd name="connsiteY7" fmla="*/ 1597731 h 1623141"/>
              <a:gd name="connsiteX8" fmla="*/ 1407163 w 2863459"/>
              <a:gd name="connsiteY8" fmla="*/ 1621545 h 1623141"/>
              <a:gd name="connsiteX9" fmla="*/ 1607189 w 2863459"/>
              <a:gd name="connsiteY9" fmla="*/ 1612019 h 1623141"/>
              <a:gd name="connsiteX10" fmla="*/ 1831025 w 2863459"/>
              <a:gd name="connsiteY10" fmla="*/ 1540582 h 1623141"/>
              <a:gd name="connsiteX11" fmla="*/ 2192976 w 2863459"/>
              <a:gd name="connsiteY11" fmla="*/ 1359606 h 1623141"/>
              <a:gd name="connsiteX12" fmla="*/ 2526351 w 2863459"/>
              <a:gd name="connsiteY12" fmla="*/ 1059570 h 1623141"/>
              <a:gd name="connsiteX13" fmla="*/ 2631126 w 2863459"/>
              <a:gd name="connsiteY13" fmla="*/ 535694 h 1623141"/>
              <a:gd name="connsiteX14" fmla="*/ 2764476 w 2863459"/>
              <a:gd name="connsiteY14" fmla="*/ 397582 h 1623141"/>
              <a:gd name="connsiteX15" fmla="*/ 2854963 w 2863459"/>
              <a:gd name="connsiteY15" fmla="*/ 216607 h 1623141"/>
              <a:gd name="connsiteX16" fmla="*/ 2850201 w 2863459"/>
              <a:gd name="connsiteY16" fmla="*/ 126120 h 1623141"/>
              <a:gd name="connsiteX17" fmla="*/ 2778763 w 2863459"/>
              <a:gd name="connsiteY17" fmla="*/ 111832 h 1623141"/>
              <a:gd name="connsiteX18" fmla="*/ 2522797 w 2863459"/>
              <a:gd name="connsiteY18" fmla="*/ 83257 h 1623141"/>
              <a:gd name="connsiteX19" fmla="*/ 2021952 w 2863459"/>
              <a:gd name="connsiteY19" fmla="*/ 64207 h 1623141"/>
              <a:gd name="connsiteX20" fmla="*/ 1702798 w 2863459"/>
              <a:gd name="connsiteY20" fmla="*/ 64206 h 1623141"/>
              <a:gd name="connsiteX21" fmla="*/ 497526 w 2863459"/>
              <a:gd name="connsiteY21" fmla="*/ 378532 h 1623141"/>
              <a:gd name="connsiteX22" fmla="*/ 297501 w 2863459"/>
              <a:gd name="connsiteY22" fmla="*/ 335669 h 1623141"/>
              <a:gd name="connsiteX23" fmla="*/ 588907 w 2863459"/>
              <a:gd name="connsiteY23" fmla="*/ 54682 h 1623141"/>
              <a:gd name="connsiteX24" fmla="*/ 285078 w 2863459"/>
              <a:gd name="connsiteY24" fmla="*/ 40394 h 1623141"/>
              <a:gd name="connsiteX25" fmla="*/ 59376 w 2863459"/>
              <a:gd name="connsiteY25" fmla="*/ 11819 h 1623141"/>
              <a:gd name="connsiteX0" fmla="*/ 60176 w 2864259"/>
              <a:gd name="connsiteY0" fmla="*/ 18794 h 1630116"/>
              <a:gd name="connsiteX1" fmla="*/ 12551 w 2864259"/>
              <a:gd name="connsiteY1" fmla="*/ 190244 h 1630116"/>
              <a:gd name="connsiteX2" fmla="*/ 103038 w 2864259"/>
              <a:gd name="connsiteY2" fmla="*/ 356932 h 1630116"/>
              <a:gd name="connsiteX3" fmla="*/ 279250 w 2864259"/>
              <a:gd name="connsiteY3" fmla="*/ 623632 h 1630116"/>
              <a:gd name="connsiteX4" fmla="*/ 350688 w 2864259"/>
              <a:gd name="connsiteY4" fmla="*/ 1057019 h 1630116"/>
              <a:gd name="connsiteX5" fmla="*/ 622152 w 2864259"/>
              <a:gd name="connsiteY5" fmla="*/ 1314195 h 1630116"/>
              <a:gd name="connsiteX6" fmla="*/ 931714 w 2864259"/>
              <a:gd name="connsiteY6" fmla="*/ 1485643 h 1630116"/>
              <a:gd name="connsiteX7" fmla="*/ 1222225 w 2864259"/>
              <a:gd name="connsiteY7" fmla="*/ 1604706 h 1630116"/>
              <a:gd name="connsiteX8" fmla="*/ 1407963 w 2864259"/>
              <a:gd name="connsiteY8" fmla="*/ 1628520 h 1630116"/>
              <a:gd name="connsiteX9" fmla="*/ 1607989 w 2864259"/>
              <a:gd name="connsiteY9" fmla="*/ 1618994 h 1630116"/>
              <a:gd name="connsiteX10" fmla="*/ 1831825 w 2864259"/>
              <a:gd name="connsiteY10" fmla="*/ 1547557 h 1630116"/>
              <a:gd name="connsiteX11" fmla="*/ 2193776 w 2864259"/>
              <a:gd name="connsiteY11" fmla="*/ 1366581 h 1630116"/>
              <a:gd name="connsiteX12" fmla="*/ 2527151 w 2864259"/>
              <a:gd name="connsiteY12" fmla="*/ 1066545 h 1630116"/>
              <a:gd name="connsiteX13" fmla="*/ 2631926 w 2864259"/>
              <a:gd name="connsiteY13" fmla="*/ 542669 h 1630116"/>
              <a:gd name="connsiteX14" fmla="*/ 2765276 w 2864259"/>
              <a:gd name="connsiteY14" fmla="*/ 404557 h 1630116"/>
              <a:gd name="connsiteX15" fmla="*/ 2855763 w 2864259"/>
              <a:gd name="connsiteY15" fmla="*/ 223582 h 1630116"/>
              <a:gd name="connsiteX16" fmla="*/ 2851001 w 2864259"/>
              <a:gd name="connsiteY16" fmla="*/ 133095 h 1630116"/>
              <a:gd name="connsiteX17" fmla="*/ 2779563 w 2864259"/>
              <a:gd name="connsiteY17" fmla="*/ 118807 h 1630116"/>
              <a:gd name="connsiteX18" fmla="*/ 2523597 w 2864259"/>
              <a:gd name="connsiteY18" fmla="*/ 90232 h 1630116"/>
              <a:gd name="connsiteX19" fmla="*/ 2022752 w 2864259"/>
              <a:gd name="connsiteY19" fmla="*/ 71182 h 1630116"/>
              <a:gd name="connsiteX20" fmla="*/ 1703598 w 2864259"/>
              <a:gd name="connsiteY20" fmla="*/ 71181 h 1630116"/>
              <a:gd name="connsiteX21" fmla="*/ 498326 w 2864259"/>
              <a:gd name="connsiteY21" fmla="*/ 385507 h 1630116"/>
              <a:gd name="connsiteX22" fmla="*/ 298301 w 2864259"/>
              <a:gd name="connsiteY22" fmla="*/ 342644 h 1630116"/>
              <a:gd name="connsiteX23" fmla="*/ 589707 w 2864259"/>
              <a:gd name="connsiteY23" fmla="*/ 61657 h 1630116"/>
              <a:gd name="connsiteX24" fmla="*/ 314519 w 2864259"/>
              <a:gd name="connsiteY24" fmla="*/ 30700 h 1630116"/>
              <a:gd name="connsiteX25" fmla="*/ 60176 w 2864259"/>
              <a:gd name="connsiteY25" fmla="*/ 18794 h 1630116"/>
              <a:gd name="connsiteX0" fmla="*/ 60177 w 2864260"/>
              <a:gd name="connsiteY0" fmla="*/ 18794 h 1630116"/>
              <a:gd name="connsiteX1" fmla="*/ 12552 w 2864260"/>
              <a:gd name="connsiteY1" fmla="*/ 190244 h 1630116"/>
              <a:gd name="connsiteX2" fmla="*/ 103039 w 2864260"/>
              <a:gd name="connsiteY2" fmla="*/ 356932 h 1630116"/>
              <a:gd name="connsiteX3" fmla="*/ 279251 w 2864260"/>
              <a:gd name="connsiteY3" fmla="*/ 623632 h 1630116"/>
              <a:gd name="connsiteX4" fmla="*/ 350689 w 2864260"/>
              <a:gd name="connsiteY4" fmla="*/ 1057019 h 1630116"/>
              <a:gd name="connsiteX5" fmla="*/ 622153 w 2864260"/>
              <a:gd name="connsiteY5" fmla="*/ 1314195 h 1630116"/>
              <a:gd name="connsiteX6" fmla="*/ 931715 w 2864260"/>
              <a:gd name="connsiteY6" fmla="*/ 1485643 h 1630116"/>
              <a:gd name="connsiteX7" fmla="*/ 1222226 w 2864260"/>
              <a:gd name="connsiteY7" fmla="*/ 1604706 h 1630116"/>
              <a:gd name="connsiteX8" fmla="*/ 1407964 w 2864260"/>
              <a:gd name="connsiteY8" fmla="*/ 1628520 h 1630116"/>
              <a:gd name="connsiteX9" fmla="*/ 1607990 w 2864260"/>
              <a:gd name="connsiteY9" fmla="*/ 1618994 h 1630116"/>
              <a:gd name="connsiteX10" fmla="*/ 1831826 w 2864260"/>
              <a:gd name="connsiteY10" fmla="*/ 1547557 h 1630116"/>
              <a:gd name="connsiteX11" fmla="*/ 2193777 w 2864260"/>
              <a:gd name="connsiteY11" fmla="*/ 1366581 h 1630116"/>
              <a:gd name="connsiteX12" fmla="*/ 2527152 w 2864260"/>
              <a:gd name="connsiteY12" fmla="*/ 1066545 h 1630116"/>
              <a:gd name="connsiteX13" fmla="*/ 2631927 w 2864260"/>
              <a:gd name="connsiteY13" fmla="*/ 542669 h 1630116"/>
              <a:gd name="connsiteX14" fmla="*/ 2765277 w 2864260"/>
              <a:gd name="connsiteY14" fmla="*/ 404557 h 1630116"/>
              <a:gd name="connsiteX15" fmla="*/ 2855764 w 2864260"/>
              <a:gd name="connsiteY15" fmla="*/ 223582 h 1630116"/>
              <a:gd name="connsiteX16" fmla="*/ 2851002 w 2864260"/>
              <a:gd name="connsiteY16" fmla="*/ 133095 h 1630116"/>
              <a:gd name="connsiteX17" fmla="*/ 2779564 w 2864260"/>
              <a:gd name="connsiteY17" fmla="*/ 118807 h 1630116"/>
              <a:gd name="connsiteX18" fmla="*/ 2523598 w 2864260"/>
              <a:gd name="connsiteY18" fmla="*/ 90232 h 1630116"/>
              <a:gd name="connsiteX19" fmla="*/ 2022753 w 2864260"/>
              <a:gd name="connsiteY19" fmla="*/ 71182 h 1630116"/>
              <a:gd name="connsiteX20" fmla="*/ 1703599 w 2864260"/>
              <a:gd name="connsiteY20" fmla="*/ 71181 h 1630116"/>
              <a:gd name="connsiteX21" fmla="*/ 498327 w 2864260"/>
              <a:gd name="connsiteY21" fmla="*/ 385507 h 1630116"/>
              <a:gd name="connsiteX22" fmla="*/ 298302 w 2864260"/>
              <a:gd name="connsiteY22" fmla="*/ 342644 h 1630116"/>
              <a:gd name="connsiteX23" fmla="*/ 589708 w 2864260"/>
              <a:gd name="connsiteY23" fmla="*/ 61657 h 1630116"/>
              <a:gd name="connsiteX24" fmla="*/ 314520 w 2864260"/>
              <a:gd name="connsiteY24" fmla="*/ 30700 h 1630116"/>
              <a:gd name="connsiteX25" fmla="*/ 60177 w 2864260"/>
              <a:gd name="connsiteY25" fmla="*/ 18794 h 1630116"/>
              <a:gd name="connsiteX0" fmla="*/ 60177 w 2864260"/>
              <a:gd name="connsiteY0" fmla="*/ 10662 h 1621984"/>
              <a:gd name="connsiteX1" fmla="*/ 12552 w 2864260"/>
              <a:gd name="connsiteY1" fmla="*/ 182112 h 1621984"/>
              <a:gd name="connsiteX2" fmla="*/ 103039 w 2864260"/>
              <a:gd name="connsiteY2" fmla="*/ 348800 h 1621984"/>
              <a:gd name="connsiteX3" fmla="*/ 279251 w 2864260"/>
              <a:gd name="connsiteY3" fmla="*/ 615500 h 1621984"/>
              <a:gd name="connsiteX4" fmla="*/ 350689 w 2864260"/>
              <a:gd name="connsiteY4" fmla="*/ 1048887 h 1621984"/>
              <a:gd name="connsiteX5" fmla="*/ 622153 w 2864260"/>
              <a:gd name="connsiteY5" fmla="*/ 1306063 h 1621984"/>
              <a:gd name="connsiteX6" fmla="*/ 931715 w 2864260"/>
              <a:gd name="connsiteY6" fmla="*/ 1477511 h 1621984"/>
              <a:gd name="connsiteX7" fmla="*/ 1222226 w 2864260"/>
              <a:gd name="connsiteY7" fmla="*/ 1596574 h 1621984"/>
              <a:gd name="connsiteX8" fmla="*/ 1407964 w 2864260"/>
              <a:gd name="connsiteY8" fmla="*/ 1620388 h 1621984"/>
              <a:gd name="connsiteX9" fmla="*/ 1607990 w 2864260"/>
              <a:gd name="connsiteY9" fmla="*/ 1610862 h 1621984"/>
              <a:gd name="connsiteX10" fmla="*/ 1831826 w 2864260"/>
              <a:gd name="connsiteY10" fmla="*/ 1539425 h 1621984"/>
              <a:gd name="connsiteX11" fmla="*/ 2193777 w 2864260"/>
              <a:gd name="connsiteY11" fmla="*/ 1358449 h 1621984"/>
              <a:gd name="connsiteX12" fmla="*/ 2527152 w 2864260"/>
              <a:gd name="connsiteY12" fmla="*/ 1058413 h 1621984"/>
              <a:gd name="connsiteX13" fmla="*/ 2631927 w 2864260"/>
              <a:gd name="connsiteY13" fmla="*/ 534537 h 1621984"/>
              <a:gd name="connsiteX14" fmla="*/ 2765277 w 2864260"/>
              <a:gd name="connsiteY14" fmla="*/ 396425 h 1621984"/>
              <a:gd name="connsiteX15" fmla="*/ 2855764 w 2864260"/>
              <a:gd name="connsiteY15" fmla="*/ 215450 h 1621984"/>
              <a:gd name="connsiteX16" fmla="*/ 2851002 w 2864260"/>
              <a:gd name="connsiteY16" fmla="*/ 124963 h 1621984"/>
              <a:gd name="connsiteX17" fmla="*/ 2779564 w 2864260"/>
              <a:gd name="connsiteY17" fmla="*/ 110675 h 1621984"/>
              <a:gd name="connsiteX18" fmla="*/ 2523598 w 2864260"/>
              <a:gd name="connsiteY18" fmla="*/ 82100 h 1621984"/>
              <a:gd name="connsiteX19" fmla="*/ 2022753 w 2864260"/>
              <a:gd name="connsiteY19" fmla="*/ 63050 h 1621984"/>
              <a:gd name="connsiteX20" fmla="*/ 1703599 w 2864260"/>
              <a:gd name="connsiteY20" fmla="*/ 63049 h 1621984"/>
              <a:gd name="connsiteX21" fmla="*/ 498327 w 2864260"/>
              <a:gd name="connsiteY21" fmla="*/ 377375 h 1621984"/>
              <a:gd name="connsiteX22" fmla="*/ 298302 w 2864260"/>
              <a:gd name="connsiteY22" fmla="*/ 334512 h 1621984"/>
              <a:gd name="connsiteX23" fmla="*/ 589708 w 2864260"/>
              <a:gd name="connsiteY23" fmla="*/ 53525 h 1621984"/>
              <a:gd name="connsiteX24" fmla="*/ 314520 w 2864260"/>
              <a:gd name="connsiteY24" fmla="*/ 22568 h 1621984"/>
              <a:gd name="connsiteX25" fmla="*/ 60177 w 2864260"/>
              <a:gd name="connsiteY25" fmla="*/ 10662 h 1621984"/>
              <a:gd name="connsiteX0" fmla="*/ 60853 w 2864936"/>
              <a:gd name="connsiteY0" fmla="*/ 21805 h 1633127"/>
              <a:gd name="connsiteX1" fmla="*/ 13228 w 2864936"/>
              <a:gd name="connsiteY1" fmla="*/ 193255 h 1633127"/>
              <a:gd name="connsiteX2" fmla="*/ 103715 w 2864936"/>
              <a:gd name="connsiteY2" fmla="*/ 359943 h 1633127"/>
              <a:gd name="connsiteX3" fmla="*/ 279927 w 2864936"/>
              <a:gd name="connsiteY3" fmla="*/ 626643 h 1633127"/>
              <a:gd name="connsiteX4" fmla="*/ 351365 w 2864936"/>
              <a:gd name="connsiteY4" fmla="*/ 1060030 h 1633127"/>
              <a:gd name="connsiteX5" fmla="*/ 622829 w 2864936"/>
              <a:gd name="connsiteY5" fmla="*/ 1317206 h 1633127"/>
              <a:gd name="connsiteX6" fmla="*/ 932391 w 2864936"/>
              <a:gd name="connsiteY6" fmla="*/ 1488654 h 1633127"/>
              <a:gd name="connsiteX7" fmla="*/ 1222902 w 2864936"/>
              <a:gd name="connsiteY7" fmla="*/ 1607717 h 1633127"/>
              <a:gd name="connsiteX8" fmla="*/ 1408640 w 2864936"/>
              <a:gd name="connsiteY8" fmla="*/ 1631531 h 1633127"/>
              <a:gd name="connsiteX9" fmla="*/ 1608666 w 2864936"/>
              <a:gd name="connsiteY9" fmla="*/ 1622005 h 1633127"/>
              <a:gd name="connsiteX10" fmla="*/ 1832502 w 2864936"/>
              <a:gd name="connsiteY10" fmla="*/ 1550568 h 1633127"/>
              <a:gd name="connsiteX11" fmla="*/ 2194453 w 2864936"/>
              <a:gd name="connsiteY11" fmla="*/ 1369592 h 1633127"/>
              <a:gd name="connsiteX12" fmla="*/ 2527828 w 2864936"/>
              <a:gd name="connsiteY12" fmla="*/ 1069556 h 1633127"/>
              <a:gd name="connsiteX13" fmla="*/ 2632603 w 2864936"/>
              <a:gd name="connsiteY13" fmla="*/ 545680 h 1633127"/>
              <a:gd name="connsiteX14" fmla="*/ 2765953 w 2864936"/>
              <a:gd name="connsiteY14" fmla="*/ 407568 h 1633127"/>
              <a:gd name="connsiteX15" fmla="*/ 2856440 w 2864936"/>
              <a:gd name="connsiteY15" fmla="*/ 226593 h 1633127"/>
              <a:gd name="connsiteX16" fmla="*/ 2851678 w 2864936"/>
              <a:gd name="connsiteY16" fmla="*/ 136106 h 1633127"/>
              <a:gd name="connsiteX17" fmla="*/ 2780240 w 2864936"/>
              <a:gd name="connsiteY17" fmla="*/ 121818 h 1633127"/>
              <a:gd name="connsiteX18" fmla="*/ 2524274 w 2864936"/>
              <a:gd name="connsiteY18" fmla="*/ 93243 h 1633127"/>
              <a:gd name="connsiteX19" fmla="*/ 2023429 w 2864936"/>
              <a:gd name="connsiteY19" fmla="*/ 74193 h 1633127"/>
              <a:gd name="connsiteX20" fmla="*/ 1704275 w 2864936"/>
              <a:gd name="connsiteY20" fmla="*/ 74192 h 1633127"/>
              <a:gd name="connsiteX21" fmla="*/ 499003 w 2864936"/>
              <a:gd name="connsiteY21" fmla="*/ 388518 h 1633127"/>
              <a:gd name="connsiteX22" fmla="*/ 298978 w 2864936"/>
              <a:gd name="connsiteY22" fmla="*/ 345655 h 1633127"/>
              <a:gd name="connsiteX23" fmla="*/ 590384 w 2864936"/>
              <a:gd name="connsiteY23" fmla="*/ 64668 h 1633127"/>
              <a:gd name="connsiteX24" fmla="*/ 337473 w 2864936"/>
              <a:gd name="connsiteY24" fmla="*/ 7518 h 1633127"/>
              <a:gd name="connsiteX25" fmla="*/ 60853 w 2864936"/>
              <a:gd name="connsiteY25" fmla="*/ 21805 h 1633127"/>
              <a:gd name="connsiteX0" fmla="*/ 60853 w 2864936"/>
              <a:gd name="connsiteY0" fmla="*/ 21805 h 1633127"/>
              <a:gd name="connsiteX1" fmla="*/ 13228 w 2864936"/>
              <a:gd name="connsiteY1" fmla="*/ 193255 h 1633127"/>
              <a:gd name="connsiteX2" fmla="*/ 103715 w 2864936"/>
              <a:gd name="connsiteY2" fmla="*/ 359943 h 1633127"/>
              <a:gd name="connsiteX3" fmla="*/ 279927 w 2864936"/>
              <a:gd name="connsiteY3" fmla="*/ 626643 h 1633127"/>
              <a:gd name="connsiteX4" fmla="*/ 351365 w 2864936"/>
              <a:gd name="connsiteY4" fmla="*/ 1060030 h 1633127"/>
              <a:gd name="connsiteX5" fmla="*/ 622829 w 2864936"/>
              <a:gd name="connsiteY5" fmla="*/ 1317206 h 1633127"/>
              <a:gd name="connsiteX6" fmla="*/ 932391 w 2864936"/>
              <a:gd name="connsiteY6" fmla="*/ 1488654 h 1633127"/>
              <a:gd name="connsiteX7" fmla="*/ 1222902 w 2864936"/>
              <a:gd name="connsiteY7" fmla="*/ 1607717 h 1633127"/>
              <a:gd name="connsiteX8" fmla="*/ 1408640 w 2864936"/>
              <a:gd name="connsiteY8" fmla="*/ 1631531 h 1633127"/>
              <a:gd name="connsiteX9" fmla="*/ 1608666 w 2864936"/>
              <a:gd name="connsiteY9" fmla="*/ 1622005 h 1633127"/>
              <a:gd name="connsiteX10" fmla="*/ 1832502 w 2864936"/>
              <a:gd name="connsiteY10" fmla="*/ 1550568 h 1633127"/>
              <a:gd name="connsiteX11" fmla="*/ 2194453 w 2864936"/>
              <a:gd name="connsiteY11" fmla="*/ 1369592 h 1633127"/>
              <a:gd name="connsiteX12" fmla="*/ 2527828 w 2864936"/>
              <a:gd name="connsiteY12" fmla="*/ 1069556 h 1633127"/>
              <a:gd name="connsiteX13" fmla="*/ 2632603 w 2864936"/>
              <a:gd name="connsiteY13" fmla="*/ 545680 h 1633127"/>
              <a:gd name="connsiteX14" fmla="*/ 2765953 w 2864936"/>
              <a:gd name="connsiteY14" fmla="*/ 407568 h 1633127"/>
              <a:gd name="connsiteX15" fmla="*/ 2856440 w 2864936"/>
              <a:gd name="connsiteY15" fmla="*/ 226593 h 1633127"/>
              <a:gd name="connsiteX16" fmla="*/ 2851678 w 2864936"/>
              <a:gd name="connsiteY16" fmla="*/ 136106 h 1633127"/>
              <a:gd name="connsiteX17" fmla="*/ 2780240 w 2864936"/>
              <a:gd name="connsiteY17" fmla="*/ 121818 h 1633127"/>
              <a:gd name="connsiteX18" fmla="*/ 2524274 w 2864936"/>
              <a:gd name="connsiteY18" fmla="*/ 93243 h 1633127"/>
              <a:gd name="connsiteX19" fmla="*/ 2023429 w 2864936"/>
              <a:gd name="connsiteY19" fmla="*/ 74193 h 1633127"/>
              <a:gd name="connsiteX20" fmla="*/ 1704275 w 2864936"/>
              <a:gd name="connsiteY20" fmla="*/ 74192 h 1633127"/>
              <a:gd name="connsiteX21" fmla="*/ 499003 w 2864936"/>
              <a:gd name="connsiteY21" fmla="*/ 388518 h 1633127"/>
              <a:gd name="connsiteX22" fmla="*/ 298978 w 2864936"/>
              <a:gd name="connsiteY22" fmla="*/ 345655 h 1633127"/>
              <a:gd name="connsiteX23" fmla="*/ 603114 w 2864936"/>
              <a:gd name="connsiteY23" fmla="*/ 21805 h 1633127"/>
              <a:gd name="connsiteX24" fmla="*/ 337473 w 2864936"/>
              <a:gd name="connsiteY24" fmla="*/ 7518 h 1633127"/>
              <a:gd name="connsiteX25" fmla="*/ 60853 w 2864936"/>
              <a:gd name="connsiteY25" fmla="*/ 21805 h 1633127"/>
              <a:gd name="connsiteX0" fmla="*/ 60853 w 2864936"/>
              <a:gd name="connsiteY0" fmla="*/ 21805 h 1633127"/>
              <a:gd name="connsiteX1" fmla="*/ 13228 w 2864936"/>
              <a:gd name="connsiteY1" fmla="*/ 193255 h 1633127"/>
              <a:gd name="connsiteX2" fmla="*/ 103715 w 2864936"/>
              <a:gd name="connsiteY2" fmla="*/ 359943 h 1633127"/>
              <a:gd name="connsiteX3" fmla="*/ 279927 w 2864936"/>
              <a:gd name="connsiteY3" fmla="*/ 626643 h 1633127"/>
              <a:gd name="connsiteX4" fmla="*/ 351365 w 2864936"/>
              <a:gd name="connsiteY4" fmla="*/ 1060030 h 1633127"/>
              <a:gd name="connsiteX5" fmla="*/ 622829 w 2864936"/>
              <a:gd name="connsiteY5" fmla="*/ 1317206 h 1633127"/>
              <a:gd name="connsiteX6" fmla="*/ 932391 w 2864936"/>
              <a:gd name="connsiteY6" fmla="*/ 1488654 h 1633127"/>
              <a:gd name="connsiteX7" fmla="*/ 1222902 w 2864936"/>
              <a:gd name="connsiteY7" fmla="*/ 1607717 h 1633127"/>
              <a:gd name="connsiteX8" fmla="*/ 1408640 w 2864936"/>
              <a:gd name="connsiteY8" fmla="*/ 1631531 h 1633127"/>
              <a:gd name="connsiteX9" fmla="*/ 1608666 w 2864936"/>
              <a:gd name="connsiteY9" fmla="*/ 1622005 h 1633127"/>
              <a:gd name="connsiteX10" fmla="*/ 1832502 w 2864936"/>
              <a:gd name="connsiteY10" fmla="*/ 1550568 h 1633127"/>
              <a:gd name="connsiteX11" fmla="*/ 2194453 w 2864936"/>
              <a:gd name="connsiteY11" fmla="*/ 1369592 h 1633127"/>
              <a:gd name="connsiteX12" fmla="*/ 2527828 w 2864936"/>
              <a:gd name="connsiteY12" fmla="*/ 1069556 h 1633127"/>
              <a:gd name="connsiteX13" fmla="*/ 2632603 w 2864936"/>
              <a:gd name="connsiteY13" fmla="*/ 545680 h 1633127"/>
              <a:gd name="connsiteX14" fmla="*/ 2765953 w 2864936"/>
              <a:gd name="connsiteY14" fmla="*/ 407568 h 1633127"/>
              <a:gd name="connsiteX15" fmla="*/ 2856440 w 2864936"/>
              <a:gd name="connsiteY15" fmla="*/ 226593 h 1633127"/>
              <a:gd name="connsiteX16" fmla="*/ 2851678 w 2864936"/>
              <a:gd name="connsiteY16" fmla="*/ 136106 h 1633127"/>
              <a:gd name="connsiteX17" fmla="*/ 2780240 w 2864936"/>
              <a:gd name="connsiteY17" fmla="*/ 121818 h 1633127"/>
              <a:gd name="connsiteX18" fmla="*/ 2524274 w 2864936"/>
              <a:gd name="connsiteY18" fmla="*/ 93243 h 1633127"/>
              <a:gd name="connsiteX19" fmla="*/ 2023429 w 2864936"/>
              <a:gd name="connsiteY19" fmla="*/ 74193 h 1633127"/>
              <a:gd name="connsiteX20" fmla="*/ 1704275 w 2864936"/>
              <a:gd name="connsiteY20" fmla="*/ 74192 h 1633127"/>
              <a:gd name="connsiteX21" fmla="*/ 499003 w 2864936"/>
              <a:gd name="connsiteY21" fmla="*/ 388518 h 1633127"/>
              <a:gd name="connsiteX22" fmla="*/ 890880 w 2864936"/>
              <a:gd name="connsiteY22" fmla="*/ 12280 h 1633127"/>
              <a:gd name="connsiteX23" fmla="*/ 603114 w 2864936"/>
              <a:gd name="connsiteY23" fmla="*/ 21805 h 1633127"/>
              <a:gd name="connsiteX24" fmla="*/ 337473 w 2864936"/>
              <a:gd name="connsiteY24" fmla="*/ 7518 h 1633127"/>
              <a:gd name="connsiteX25" fmla="*/ 60853 w 2864936"/>
              <a:gd name="connsiteY25" fmla="*/ 21805 h 1633127"/>
              <a:gd name="connsiteX0" fmla="*/ 60853 w 2864936"/>
              <a:gd name="connsiteY0" fmla="*/ 21805 h 1633127"/>
              <a:gd name="connsiteX1" fmla="*/ 13228 w 2864936"/>
              <a:gd name="connsiteY1" fmla="*/ 193255 h 1633127"/>
              <a:gd name="connsiteX2" fmla="*/ 103715 w 2864936"/>
              <a:gd name="connsiteY2" fmla="*/ 359943 h 1633127"/>
              <a:gd name="connsiteX3" fmla="*/ 279927 w 2864936"/>
              <a:gd name="connsiteY3" fmla="*/ 626643 h 1633127"/>
              <a:gd name="connsiteX4" fmla="*/ 351365 w 2864936"/>
              <a:gd name="connsiteY4" fmla="*/ 1060030 h 1633127"/>
              <a:gd name="connsiteX5" fmla="*/ 622829 w 2864936"/>
              <a:gd name="connsiteY5" fmla="*/ 1317206 h 1633127"/>
              <a:gd name="connsiteX6" fmla="*/ 932391 w 2864936"/>
              <a:gd name="connsiteY6" fmla="*/ 1488654 h 1633127"/>
              <a:gd name="connsiteX7" fmla="*/ 1222902 w 2864936"/>
              <a:gd name="connsiteY7" fmla="*/ 1607717 h 1633127"/>
              <a:gd name="connsiteX8" fmla="*/ 1408640 w 2864936"/>
              <a:gd name="connsiteY8" fmla="*/ 1631531 h 1633127"/>
              <a:gd name="connsiteX9" fmla="*/ 1608666 w 2864936"/>
              <a:gd name="connsiteY9" fmla="*/ 1622005 h 1633127"/>
              <a:gd name="connsiteX10" fmla="*/ 1832502 w 2864936"/>
              <a:gd name="connsiteY10" fmla="*/ 1550568 h 1633127"/>
              <a:gd name="connsiteX11" fmla="*/ 2194453 w 2864936"/>
              <a:gd name="connsiteY11" fmla="*/ 1369592 h 1633127"/>
              <a:gd name="connsiteX12" fmla="*/ 2527828 w 2864936"/>
              <a:gd name="connsiteY12" fmla="*/ 1069556 h 1633127"/>
              <a:gd name="connsiteX13" fmla="*/ 2632603 w 2864936"/>
              <a:gd name="connsiteY13" fmla="*/ 545680 h 1633127"/>
              <a:gd name="connsiteX14" fmla="*/ 2765953 w 2864936"/>
              <a:gd name="connsiteY14" fmla="*/ 407568 h 1633127"/>
              <a:gd name="connsiteX15" fmla="*/ 2856440 w 2864936"/>
              <a:gd name="connsiteY15" fmla="*/ 226593 h 1633127"/>
              <a:gd name="connsiteX16" fmla="*/ 2851678 w 2864936"/>
              <a:gd name="connsiteY16" fmla="*/ 136106 h 1633127"/>
              <a:gd name="connsiteX17" fmla="*/ 2780240 w 2864936"/>
              <a:gd name="connsiteY17" fmla="*/ 121818 h 1633127"/>
              <a:gd name="connsiteX18" fmla="*/ 2524274 w 2864936"/>
              <a:gd name="connsiteY18" fmla="*/ 93243 h 1633127"/>
              <a:gd name="connsiteX19" fmla="*/ 2023429 w 2864936"/>
              <a:gd name="connsiteY19" fmla="*/ 74193 h 1633127"/>
              <a:gd name="connsiteX20" fmla="*/ 1704275 w 2864936"/>
              <a:gd name="connsiteY20" fmla="*/ 74192 h 1633127"/>
              <a:gd name="connsiteX21" fmla="*/ 1215012 w 2864936"/>
              <a:gd name="connsiteY21" fmla="*/ 45618 h 1633127"/>
              <a:gd name="connsiteX22" fmla="*/ 890880 w 2864936"/>
              <a:gd name="connsiteY22" fmla="*/ 12280 h 1633127"/>
              <a:gd name="connsiteX23" fmla="*/ 603114 w 2864936"/>
              <a:gd name="connsiteY23" fmla="*/ 21805 h 1633127"/>
              <a:gd name="connsiteX24" fmla="*/ 337473 w 2864936"/>
              <a:gd name="connsiteY24" fmla="*/ 7518 h 1633127"/>
              <a:gd name="connsiteX25" fmla="*/ 60853 w 2864936"/>
              <a:gd name="connsiteY25" fmla="*/ 21805 h 1633127"/>
              <a:gd name="connsiteX0" fmla="*/ 60853 w 2864936"/>
              <a:gd name="connsiteY0" fmla="*/ 21805 h 1633127"/>
              <a:gd name="connsiteX1" fmla="*/ 13228 w 2864936"/>
              <a:gd name="connsiteY1" fmla="*/ 193255 h 1633127"/>
              <a:gd name="connsiteX2" fmla="*/ 103715 w 2864936"/>
              <a:gd name="connsiteY2" fmla="*/ 359943 h 1633127"/>
              <a:gd name="connsiteX3" fmla="*/ 279927 w 2864936"/>
              <a:gd name="connsiteY3" fmla="*/ 626643 h 1633127"/>
              <a:gd name="connsiteX4" fmla="*/ 351365 w 2864936"/>
              <a:gd name="connsiteY4" fmla="*/ 1060030 h 1633127"/>
              <a:gd name="connsiteX5" fmla="*/ 622829 w 2864936"/>
              <a:gd name="connsiteY5" fmla="*/ 1317206 h 1633127"/>
              <a:gd name="connsiteX6" fmla="*/ 932391 w 2864936"/>
              <a:gd name="connsiteY6" fmla="*/ 1488654 h 1633127"/>
              <a:gd name="connsiteX7" fmla="*/ 1222902 w 2864936"/>
              <a:gd name="connsiteY7" fmla="*/ 1607717 h 1633127"/>
              <a:gd name="connsiteX8" fmla="*/ 1408640 w 2864936"/>
              <a:gd name="connsiteY8" fmla="*/ 1631531 h 1633127"/>
              <a:gd name="connsiteX9" fmla="*/ 1608666 w 2864936"/>
              <a:gd name="connsiteY9" fmla="*/ 1622005 h 1633127"/>
              <a:gd name="connsiteX10" fmla="*/ 1832502 w 2864936"/>
              <a:gd name="connsiteY10" fmla="*/ 1550568 h 1633127"/>
              <a:gd name="connsiteX11" fmla="*/ 2194453 w 2864936"/>
              <a:gd name="connsiteY11" fmla="*/ 1369592 h 1633127"/>
              <a:gd name="connsiteX12" fmla="*/ 2527828 w 2864936"/>
              <a:gd name="connsiteY12" fmla="*/ 1069556 h 1633127"/>
              <a:gd name="connsiteX13" fmla="*/ 2632603 w 2864936"/>
              <a:gd name="connsiteY13" fmla="*/ 545680 h 1633127"/>
              <a:gd name="connsiteX14" fmla="*/ 2765953 w 2864936"/>
              <a:gd name="connsiteY14" fmla="*/ 407568 h 1633127"/>
              <a:gd name="connsiteX15" fmla="*/ 2856440 w 2864936"/>
              <a:gd name="connsiteY15" fmla="*/ 226593 h 1633127"/>
              <a:gd name="connsiteX16" fmla="*/ 2851678 w 2864936"/>
              <a:gd name="connsiteY16" fmla="*/ 136106 h 1633127"/>
              <a:gd name="connsiteX17" fmla="*/ 2780240 w 2864936"/>
              <a:gd name="connsiteY17" fmla="*/ 121818 h 1633127"/>
              <a:gd name="connsiteX18" fmla="*/ 2524274 w 2864936"/>
              <a:gd name="connsiteY18" fmla="*/ 93243 h 1633127"/>
              <a:gd name="connsiteX19" fmla="*/ 2023429 w 2864936"/>
              <a:gd name="connsiteY19" fmla="*/ 74193 h 1633127"/>
              <a:gd name="connsiteX20" fmla="*/ 1720188 w 2864936"/>
              <a:gd name="connsiteY20" fmla="*/ 43236 h 1633127"/>
              <a:gd name="connsiteX21" fmla="*/ 1215012 w 2864936"/>
              <a:gd name="connsiteY21" fmla="*/ 45618 h 1633127"/>
              <a:gd name="connsiteX22" fmla="*/ 890880 w 2864936"/>
              <a:gd name="connsiteY22" fmla="*/ 12280 h 1633127"/>
              <a:gd name="connsiteX23" fmla="*/ 603114 w 2864936"/>
              <a:gd name="connsiteY23" fmla="*/ 21805 h 1633127"/>
              <a:gd name="connsiteX24" fmla="*/ 337473 w 2864936"/>
              <a:gd name="connsiteY24" fmla="*/ 7518 h 1633127"/>
              <a:gd name="connsiteX25" fmla="*/ 60853 w 2864936"/>
              <a:gd name="connsiteY25" fmla="*/ 21805 h 1633127"/>
              <a:gd name="connsiteX0" fmla="*/ 60853 w 2864936"/>
              <a:gd name="connsiteY0" fmla="*/ 21805 h 1633127"/>
              <a:gd name="connsiteX1" fmla="*/ 13228 w 2864936"/>
              <a:gd name="connsiteY1" fmla="*/ 193255 h 1633127"/>
              <a:gd name="connsiteX2" fmla="*/ 103715 w 2864936"/>
              <a:gd name="connsiteY2" fmla="*/ 359943 h 1633127"/>
              <a:gd name="connsiteX3" fmla="*/ 279927 w 2864936"/>
              <a:gd name="connsiteY3" fmla="*/ 626643 h 1633127"/>
              <a:gd name="connsiteX4" fmla="*/ 351365 w 2864936"/>
              <a:gd name="connsiteY4" fmla="*/ 1060030 h 1633127"/>
              <a:gd name="connsiteX5" fmla="*/ 622829 w 2864936"/>
              <a:gd name="connsiteY5" fmla="*/ 1317206 h 1633127"/>
              <a:gd name="connsiteX6" fmla="*/ 932391 w 2864936"/>
              <a:gd name="connsiteY6" fmla="*/ 1488654 h 1633127"/>
              <a:gd name="connsiteX7" fmla="*/ 1222902 w 2864936"/>
              <a:gd name="connsiteY7" fmla="*/ 1607717 h 1633127"/>
              <a:gd name="connsiteX8" fmla="*/ 1408640 w 2864936"/>
              <a:gd name="connsiteY8" fmla="*/ 1631531 h 1633127"/>
              <a:gd name="connsiteX9" fmla="*/ 1608666 w 2864936"/>
              <a:gd name="connsiteY9" fmla="*/ 1622005 h 1633127"/>
              <a:gd name="connsiteX10" fmla="*/ 1832502 w 2864936"/>
              <a:gd name="connsiteY10" fmla="*/ 1550568 h 1633127"/>
              <a:gd name="connsiteX11" fmla="*/ 2194453 w 2864936"/>
              <a:gd name="connsiteY11" fmla="*/ 1369592 h 1633127"/>
              <a:gd name="connsiteX12" fmla="*/ 2527828 w 2864936"/>
              <a:gd name="connsiteY12" fmla="*/ 1069556 h 1633127"/>
              <a:gd name="connsiteX13" fmla="*/ 2632603 w 2864936"/>
              <a:gd name="connsiteY13" fmla="*/ 545680 h 1633127"/>
              <a:gd name="connsiteX14" fmla="*/ 2765953 w 2864936"/>
              <a:gd name="connsiteY14" fmla="*/ 407568 h 1633127"/>
              <a:gd name="connsiteX15" fmla="*/ 2856440 w 2864936"/>
              <a:gd name="connsiteY15" fmla="*/ 226593 h 1633127"/>
              <a:gd name="connsiteX16" fmla="*/ 2851678 w 2864936"/>
              <a:gd name="connsiteY16" fmla="*/ 136106 h 1633127"/>
              <a:gd name="connsiteX17" fmla="*/ 2780240 w 2864936"/>
              <a:gd name="connsiteY17" fmla="*/ 121818 h 1633127"/>
              <a:gd name="connsiteX18" fmla="*/ 2524274 w 2864936"/>
              <a:gd name="connsiteY18" fmla="*/ 93243 h 1633127"/>
              <a:gd name="connsiteX19" fmla="*/ 2052071 w 2864936"/>
              <a:gd name="connsiteY19" fmla="*/ 40856 h 1633127"/>
              <a:gd name="connsiteX20" fmla="*/ 1720188 w 2864936"/>
              <a:gd name="connsiteY20" fmla="*/ 43236 h 1633127"/>
              <a:gd name="connsiteX21" fmla="*/ 1215012 w 2864936"/>
              <a:gd name="connsiteY21" fmla="*/ 45618 h 1633127"/>
              <a:gd name="connsiteX22" fmla="*/ 890880 w 2864936"/>
              <a:gd name="connsiteY22" fmla="*/ 12280 h 1633127"/>
              <a:gd name="connsiteX23" fmla="*/ 603114 w 2864936"/>
              <a:gd name="connsiteY23" fmla="*/ 21805 h 1633127"/>
              <a:gd name="connsiteX24" fmla="*/ 337473 w 2864936"/>
              <a:gd name="connsiteY24" fmla="*/ 7518 h 1633127"/>
              <a:gd name="connsiteX25" fmla="*/ 60853 w 2864936"/>
              <a:gd name="connsiteY25" fmla="*/ 21805 h 1633127"/>
              <a:gd name="connsiteX0" fmla="*/ 60853 w 2864936"/>
              <a:gd name="connsiteY0" fmla="*/ 21805 h 1633127"/>
              <a:gd name="connsiteX1" fmla="*/ 13228 w 2864936"/>
              <a:gd name="connsiteY1" fmla="*/ 193255 h 1633127"/>
              <a:gd name="connsiteX2" fmla="*/ 103715 w 2864936"/>
              <a:gd name="connsiteY2" fmla="*/ 359943 h 1633127"/>
              <a:gd name="connsiteX3" fmla="*/ 279927 w 2864936"/>
              <a:gd name="connsiteY3" fmla="*/ 626643 h 1633127"/>
              <a:gd name="connsiteX4" fmla="*/ 351365 w 2864936"/>
              <a:gd name="connsiteY4" fmla="*/ 1060030 h 1633127"/>
              <a:gd name="connsiteX5" fmla="*/ 622829 w 2864936"/>
              <a:gd name="connsiteY5" fmla="*/ 1317206 h 1633127"/>
              <a:gd name="connsiteX6" fmla="*/ 932391 w 2864936"/>
              <a:gd name="connsiteY6" fmla="*/ 1488654 h 1633127"/>
              <a:gd name="connsiteX7" fmla="*/ 1222902 w 2864936"/>
              <a:gd name="connsiteY7" fmla="*/ 1607717 h 1633127"/>
              <a:gd name="connsiteX8" fmla="*/ 1408640 w 2864936"/>
              <a:gd name="connsiteY8" fmla="*/ 1631531 h 1633127"/>
              <a:gd name="connsiteX9" fmla="*/ 1608666 w 2864936"/>
              <a:gd name="connsiteY9" fmla="*/ 1622005 h 1633127"/>
              <a:gd name="connsiteX10" fmla="*/ 1832502 w 2864936"/>
              <a:gd name="connsiteY10" fmla="*/ 1550568 h 1633127"/>
              <a:gd name="connsiteX11" fmla="*/ 2194453 w 2864936"/>
              <a:gd name="connsiteY11" fmla="*/ 1369592 h 1633127"/>
              <a:gd name="connsiteX12" fmla="*/ 2527828 w 2864936"/>
              <a:gd name="connsiteY12" fmla="*/ 1069556 h 1633127"/>
              <a:gd name="connsiteX13" fmla="*/ 2632603 w 2864936"/>
              <a:gd name="connsiteY13" fmla="*/ 545680 h 1633127"/>
              <a:gd name="connsiteX14" fmla="*/ 2765953 w 2864936"/>
              <a:gd name="connsiteY14" fmla="*/ 407568 h 1633127"/>
              <a:gd name="connsiteX15" fmla="*/ 2856440 w 2864936"/>
              <a:gd name="connsiteY15" fmla="*/ 226593 h 1633127"/>
              <a:gd name="connsiteX16" fmla="*/ 2851678 w 2864936"/>
              <a:gd name="connsiteY16" fmla="*/ 136106 h 1633127"/>
              <a:gd name="connsiteX17" fmla="*/ 2780240 w 2864936"/>
              <a:gd name="connsiteY17" fmla="*/ 121818 h 1633127"/>
              <a:gd name="connsiteX18" fmla="*/ 2533822 w 2864936"/>
              <a:gd name="connsiteY18" fmla="*/ 40855 h 1633127"/>
              <a:gd name="connsiteX19" fmla="*/ 2052071 w 2864936"/>
              <a:gd name="connsiteY19" fmla="*/ 40856 h 1633127"/>
              <a:gd name="connsiteX20" fmla="*/ 1720188 w 2864936"/>
              <a:gd name="connsiteY20" fmla="*/ 43236 h 1633127"/>
              <a:gd name="connsiteX21" fmla="*/ 1215012 w 2864936"/>
              <a:gd name="connsiteY21" fmla="*/ 45618 h 1633127"/>
              <a:gd name="connsiteX22" fmla="*/ 890880 w 2864936"/>
              <a:gd name="connsiteY22" fmla="*/ 12280 h 1633127"/>
              <a:gd name="connsiteX23" fmla="*/ 603114 w 2864936"/>
              <a:gd name="connsiteY23" fmla="*/ 21805 h 1633127"/>
              <a:gd name="connsiteX24" fmla="*/ 337473 w 2864936"/>
              <a:gd name="connsiteY24" fmla="*/ 7518 h 1633127"/>
              <a:gd name="connsiteX25" fmla="*/ 60853 w 2864936"/>
              <a:gd name="connsiteY25" fmla="*/ 21805 h 1633127"/>
              <a:gd name="connsiteX0" fmla="*/ 60853 w 2865246"/>
              <a:gd name="connsiteY0" fmla="*/ 21805 h 1633127"/>
              <a:gd name="connsiteX1" fmla="*/ 13228 w 2865246"/>
              <a:gd name="connsiteY1" fmla="*/ 193255 h 1633127"/>
              <a:gd name="connsiteX2" fmla="*/ 103715 w 2865246"/>
              <a:gd name="connsiteY2" fmla="*/ 359943 h 1633127"/>
              <a:gd name="connsiteX3" fmla="*/ 279927 w 2865246"/>
              <a:gd name="connsiteY3" fmla="*/ 626643 h 1633127"/>
              <a:gd name="connsiteX4" fmla="*/ 351365 w 2865246"/>
              <a:gd name="connsiteY4" fmla="*/ 1060030 h 1633127"/>
              <a:gd name="connsiteX5" fmla="*/ 622829 w 2865246"/>
              <a:gd name="connsiteY5" fmla="*/ 1317206 h 1633127"/>
              <a:gd name="connsiteX6" fmla="*/ 932391 w 2865246"/>
              <a:gd name="connsiteY6" fmla="*/ 1488654 h 1633127"/>
              <a:gd name="connsiteX7" fmla="*/ 1222902 w 2865246"/>
              <a:gd name="connsiteY7" fmla="*/ 1607717 h 1633127"/>
              <a:gd name="connsiteX8" fmla="*/ 1408640 w 2865246"/>
              <a:gd name="connsiteY8" fmla="*/ 1631531 h 1633127"/>
              <a:gd name="connsiteX9" fmla="*/ 1608666 w 2865246"/>
              <a:gd name="connsiteY9" fmla="*/ 1622005 h 1633127"/>
              <a:gd name="connsiteX10" fmla="*/ 1832502 w 2865246"/>
              <a:gd name="connsiteY10" fmla="*/ 1550568 h 1633127"/>
              <a:gd name="connsiteX11" fmla="*/ 2194453 w 2865246"/>
              <a:gd name="connsiteY11" fmla="*/ 1369592 h 1633127"/>
              <a:gd name="connsiteX12" fmla="*/ 2527828 w 2865246"/>
              <a:gd name="connsiteY12" fmla="*/ 1069556 h 1633127"/>
              <a:gd name="connsiteX13" fmla="*/ 2632603 w 2865246"/>
              <a:gd name="connsiteY13" fmla="*/ 545680 h 1633127"/>
              <a:gd name="connsiteX14" fmla="*/ 2765953 w 2865246"/>
              <a:gd name="connsiteY14" fmla="*/ 407568 h 1633127"/>
              <a:gd name="connsiteX15" fmla="*/ 2856440 w 2865246"/>
              <a:gd name="connsiteY15" fmla="*/ 226593 h 1633127"/>
              <a:gd name="connsiteX16" fmla="*/ 2851678 w 2865246"/>
              <a:gd name="connsiteY16" fmla="*/ 136106 h 1633127"/>
              <a:gd name="connsiteX17" fmla="*/ 2773875 w 2865246"/>
              <a:gd name="connsiteY17" fmla="*/ 74193 h 1633127"/>
              <a:gd name="connsiteX18" fmla="*/ 2533822 w 2865246"/>
              <a:gd name="connsiteY18" fmla="*/ 40855 h 1633127"/>
              <a:gd name="connsiteX19" fmla="*/ 2052071 w 2865246"/>
              <a:gd name="connsiteY19" fmla="*/ 40856 h 1633127"/>
              <a:gd name="connsiteX20" fmla="*/ 1720188 w 2865246"/>
              <a:gd name="connsiteY20" fmla="*/ 43236 h 1633127"/>
              <a:gd name="connsiteX21" fmla="*/ 1215012 w 2865246"/>
              <a:gd name="connsiteY21" fmla="*/ 45618 h 1633127"/>
              <a:gd name="connsiteX22" fmla="*/ 890880 w 2865246"/>
              <a:gd name="connsiteY22" fmla="*/ 12280 h 1633127"/>
              <a:gd name="connsiteX23" fmla="*/ 603114 w 2865246"/>
              <a:gd name="connsiteY23" fmla="*/ 21805 h 1633127"/>
              <a:gd name="connsiteX24" fmla="*/ 337473 w 2865246"/>
              <a:gd name="connsiteY24" fmla="*/ 7518 h 1633127"/>
              <a:gd name="connsiteX25" fmla="*/ 60853 w 2865246"/>
              <a:gd name="connsiteY25" fmla="*/ 21805 h 1633127"/>
              <a:gd name="connsiteX0" fmla="*/ 60853 w 2865246"/>
              <a:gd name="connsiteY0" fmla="*/ 21805 h 1633127"/>
              <a:gd name="connsiteX1" fmla="*/ 13228 w 2865246"/>
              <a:gd name="connsiteY1" fmla="*/ 193255 h 1633127"/>
              <a:gd name="connsiteX2" fmla="*/ 103715 w 2865246"/>
              <a:gd name="connsiteY2" fmla="*/ 359943 h 1633127"/>
              <a:gd name="connsiteX3" fmla="*/ 279927 w 2865246"/>
              <a:gd name="connsiteY3" fmla="*/ 626643 h 1633127"/>
              <a:gd name="connsiteX4" fmla="*/ 351365 w 2865246"/>
              <a:gd name="connsiteY4" fmla="*/ 1060030 h 1633127"/>
              <a:gd name="connsiteX5" fmla="*/ 622829 w 2865246"/>
              <a:gd name="connsiteY5" fmla="*/ 1317206 h 1633127"/>
              <a:gd name="connsiteX6" fmla="*/ 932391 w 2865246"/>
              <a:gd name="connsiteY6" fmla="*/ 1488654 h 1633127"/>
              <a:gd name="connsiteX7" fmla="*/ 1222902 w 2865246"/>
              <a:gd name="connsiteY7" fmla="*/ 1607717 h 1633127"/>
              <a:gd name="connsiteX8" fmla="*/ 1408640 w 2865246"/>
              <a:gd name="connsiteY8" fmla="*/ 1631531 h 1633127"/>
              <a:gd name="connsiteX9" fmla="*/ 1608666 w 2865246"/>
              <a:gd name="connsiteY9" fmla="*/ 1622005 h 1633127"/>
              <a:gd name="connsiteX10" fmla="*/ 1832502 w 2865246"/>
              <a:gd name="connsiteY10" fmla="*/ 1550568 h 1633127"/>
              <a:gd name="connsiteX11" fmla="*/ 2194453 w 2865246"/>
              <a:gd name="connsiteY11" fmla="*/ 1369592 h 1633127"/>
              <a:gd name="connsiteX12" fmla="*/ 2527828 w 2865246"/>
              <a:gd name="connsiteY12" fmla="*/ 1069556 h 1633127"/>
              <a:gd name="connsiteX13" fmla="*/ 2670790 w 2865246"/>
              <a:gd name="connsiteY13" fmla="*/ 555205 h 1633127"/>
              <a:gd name="connsiteX14" fmla="*/ 2765953 w 2865246"/>
              <a:gd name="connsiteY14" fmla="*/ 407568 h 1633127"/>
              <a:gd name="connsiteX15" fmla="*/ 2856440 w 2865246"/>
              <a:gd name="connsiteY15" fmla="*/ 226593 h 1633127"/>
              <a:gd name="connsiteX16" fmla="*/ 2851678 w 2865246"/>
              <a:gd name="connsiteY16" fmla="*/ 136106 h 1633127"/>
              <a:gd name="connsiteX17" fmla="*/ 2773875 w 2865246"/>
              <a:gd name="connsiteY17" fmla="*/ 74193 h 1633127"/>
              <a:gd name="connsiteX18" fmla="*/ 2533822 w 2865246"/>
              <a:gd name="connsiteY18" fmla="*/ 40855 h 1633127"/>
              <a:gd name="connsiteX19" fmla="*/ 2052071 w 2865246"/>
              <a:gd name="connsiteY19" fmla="*/ 40856 h 1633127"/>
              <a:gd name="connsiteX20" fmla="*/ 1720188 w 2865246"/>
              <a:gd name="connsiteY20" fmla="*/ 43236 h 1633127"/>
              <a:gd name="connsiteX21" fmla="*/ 1215012 w 2865246"/>
              <a:gd name="connsiteY21" fmla="*/ 45618 h 1633127"/>
              <a:gd name="connsiteX22" fmla="*/ 890880 w 2865246"/>
              <a:gd name="connsiteY22" fmla="*/ 12280 h 1633127"/>
              <a:gd name="connsiteX23" fmla="*/ 603114 w 2865246"/>
              <a:gd name="connsiteY23" fmla="*/ 21805 h 1633127"/>
              <a:gd name="connsiteX24" fmla="*/ 337473 w 2865246"/>
              <a:gd name="connsiteY24" fmla="*/ 7518 h 1633127"/>
              <a:gd name="connsiteX25" fmla="*/ 60853 w 2865246"/>
              <a:gd name="connsiteY25" fmla="*/ 21805 h 1633127"/>
              <a:gd name="connsiteX0" fmla="*/ 60853 w 2865246"/>
              <a:gd name="connsiteY0" fmla="*/ 21805 h 1633127"/>
              <a:gd name="connsiteX1" fmla="*/ 13228 w 2865246"/>
              <a:gd name="connsiteY1" fmla="*/ 193255 h 1633127"/>
              <a:gd name="connsiteX2" fmla="*/ 103715 w 2865246"/>
              <a:gd name="connsiteY2" fmla="*/ 359943 h 1633127"/>
              <a:gd name="connsiteX3" fmla="*/ 279927 w 2865246"/>
              <a:gd name="connsiteY3" fmla="*/ 626643 h 1633127"/>
              <a:gd name="connsiteX4" fmla="*/ 351365 w 2865246"/>
              <a:gd name="connsiteY4" fmla="*/ 1060030 h 1633127"/>
              <a:gd name="connsiteX5" fmla="*/ 622829 w 2865246"/>
              <a:gd name="connsiteY5" fmla="*/ 1317206 h 1633127"/>
              <a:gd name="connsiteX6" fmla="*/ 932391 w 2865246"/>
              <a:gd name="connsiteY6" fmla="*/ 1488654 h 1633127"/>
              <a:gd name="connsiteX7" fmla="*/ 1222902 w 2865246"/>
              <a:gd name="connsiteY7" fmla="*/ 1607717 h 1633127"/>
              <a:gd name="connsiteX8" fmla="*/ 1408640 w 2865246"/>
              <a:gd name="connsiteY8" fmla="*/ 1631531 h 1633127"/>
              <a:gd name="connsiteX9" fmla="*/ 1608666 w 2865246"/>
              <a:gd name="connsiteY9" fmla="*/ 1622005 h 1633127"/>
              <a:gd name="connsiteX10" fmla="*/ 1832502 w 2865246"/>
              <a:gd name="connsiteY10" fmla="*/ 1550568 h 1633127"/>
              <a:gd name="connsiteX11" fmla="*/ 2194453 w 2865246"/>
              <a:gd name="connsiteY11" fmla="*/ 1369592 h 1633127"/>
              <a:gd name="connsiteX12" fmla="*/ 2527828 w 2865246"/>
              <a:gd name="connsiteY12" fmla="*/ 1069556 h 1633127"/>
              <a:gd name="connsiteX13" fmla="*/ 2705795 w 2865246"/>
              <a:gd name="connsiteY13" fmla="*/ 564730 h 1633127"/>
              <a:gd name="connsiteX14" fmla="*/ 2765953 w 2865246"/>
              <a:gd name="connsiteY14" fmla="*/ 407568 h 1633127"/>
              <a:gd name="connsiteX15" fmla="*/ 2856440 w 2865246"/>
              <a:gd name="connsiteY15" fmla="*/ 226593 h 1633127"/>
              <a:gd name="connsiteX16" fmla="*/ 2851678 w 2865246"/>
              <a:gd name="connsiteY16" fmla="*/ 136106 h 1633127"/>
              <a:gd name="connsiteX17" fmla="*/ 2773875 w 2865246"/>
              <a:gd name="connsiteY17" fmla="*/ 74193 h 1633127"/>
              <a:gd name="connsiteX18" fmla="*/ 2533822 w 2865246"/>
              <a:gd name="connsiteY18" fmla="*/ 40855 h 1633127"/>
              <a:gd name="connsiteX19" fmla="*/ 2052071 w 2865246"/>
              <a:gd name="connsiteY19" fmla="*/ 40856 h 1633127"/>
              <a:gd name="connsiteX20" fmla="*/ 1720188 w 2865246"/>
              <a:gd name="connsiteY20" fmla="*/ 43236 h 1633127"/>
              <a:gd name="connsiteX21" fmla="*/ 1215012 w 2865246"/>
              <a:gd name="connsiteY21" fmla="*/ 45618 h 1633127"/>
              <a:gd name="connsiteX22" fmla="*/ 890880 w 2865246"/>
              <a:gd name="connsiteY22" fmla="*/ 12280 h 1633127"/>
              <a:gd name="connsiteX23" fmla="*/ 603114 w 2865246"/>
              <a:gd name="connsiteY23" fmla="*/ 21805 h 1633127"/>
              <a:gd name="connsiteX24" fmla="*/ 337473 w 2865246"/>
              <a:gd name="connsiteY24" fmla="*/ 7518 h 1633127"/>
              <a:gd name="connsiteX25" fmla="*/ 60853 w 2865246"/>
              <a:gd name="connsiteY25" fmla="*/ 21805 h 1633127"/>
              <a:gd name="connsiteX0" fmla="*/ 50350 w 2854743"/>
              <a:gd name="connsiteY0" fmla="*/ 21805 h 1633127"/>
              <a:gd name="connsiteX1" fmla="*/ 2725 w 2854743"/>
              <a:gd name="connsiteY1" fmla="*/ 193255 h 1633127"/>
              <a:gd name="connsiteX2" fmla="*/ 86848 w 2854743"/>
              <a:gd name="connsiteY2" fmla="*/ 424237 h 1633127"/>
              <a:gd name="connsiteX3" fmla="*/ 269424 w 2854743"/>
              <a:gd name="connsiteY3" fmla="*/ 626643 h 1633127"/>
              <a:gd name="connsiteX4" fmla="*/ 340862 w 2854743"/>
              <a:gd name="connsiteY4" fmla="*/ 1060030 h 1633127"/>
              <a:gd name="connsiteX5" fmla="*/ 612326 w 2854743"/>
              <a:gd name="connsiteY5" fmla="*/ 1317206 h 1633127"/>
              <a:gd name="connsiteX6" fmla="*/ 921888 w 2854743"/>
              <a:gd name="connsiteY6" fmla="*/ 1488654 h 1633127"/>
              <a:gd name="connsiteX7" fmla="*/ 1212399 w 2854743"/>
              <a:gd name="connsiteY7" fmla="*/ 1607717 h 1633127"/>
              <a:gd name="connsiteX8" fmla="*/ 1398137 w 2854743"/>
              <a:gd name="connsiteY8" fmla="*/ 1631531 h 1633127"/>
              <a:gd name="connsiteX9" fmla="*/ 1598163 w 2854743"/>
              <a:gd name="connsiteY9" fmla="*/ 1622005 h 1633127"/>
              <a:gd name="connsiteX10" fmla="*/ 1821999 w 2854743"/>
              <a:gd name="connsiteY10" fmla="*/ 1550568 h 1633127"/>
              <a:gd name="connsiteX11" fmla="*/ 2183950 w 2854743"/>
              <a:gd name="connsiteY11" fmla="*/ 1369592 h 1633127"/>
              <a:gd name="connsiteX12" fmla="*/ 2517325 w 2854743"/>
              <a:gd name="connsiteY12" fmla="*/ 1069556 h 1633127"/>
              <a:gd name="connsiteX13" fmla="*/ 2695292 w 2854743"/>
              <a:gd name="connsiteY13" fmla="*/ 564730 h 1633127"/>
              <a:gd name="connsiteX14" fmla="*/ 2755450 w 2854743"/>
              <a:gd name="connsiteY14" fmla="*/ 407568 h 1633127"/>
              <a:gd name="connsiteX15" fmla="*/ 2845937 w 2854743"/>
              <a:gd name="connsiteY15" fmla="*/ 226593 h 1633127"/>
              <a:gd name="connsiteX16" fmla="*/ 2841175 w 2854743"/>
              <a:gd name="connsiteY16" fmla="*/ 136106 h 1633127"/>
              <a:gd name="connsiteX17" fmla="*/ 2763372 w 2854743"/>
              <a:gd name="connsiteY17" fmla="*/ 74193 h 1633127"/>
              <a:gd name="connsiteX18" fmla="*/ 2523319 w 2854743"/>
              <a:gd name="connsiteY18" fmla="*/ 40855 h 1633127"/>
              <a:gd name="connsiteX19" fmla="*/ 2041568 w 2854743"/>
              <a:gd name="connsiteY19" fmla="*/ 40856 h 1633127"/>
              <a:gd name="connsiteX20" fmla="*/ 1709685 w 2854743"/>
              <a:gd name="connsiteY20" fmla="*/ 43236 h 1633127"/>
              <a:gd name="connsiteX21" fmla="*/ 1204509 w 2854743"/>
              <a:gd name="connsiteY21" fmla="*/ 45618 h 1633127"/>
              <a:gd name="connsiteX22" fmla="*/ 880377 w 2854743"/>
              <a:gd name="connsiteY22" fmla="*/ 12280 h 1633127"/>
              <a:gd name="connsiteX23" fmla="*/ 592611 w 2854743"/>
              <a:gd name="connsiteY23" fmla="*/ 21805 h 1633127"/>
              <a:gd name="connsiteX24" fmla="*/ 326970 w 2854743"/>
              <a:gd name="connsiteY24" fmla="*/ 7518 h 1633127"/>
              <a:gd name="connsiteX25" fmla="*/ 50350 w 2854743"/>
              <a:gd name="connsiteY25" fmla="*/ 21805 h 1633127"/>
              <a:gd name="connsiteX0" fmla="*/ 50350 w 2854743"/>
              <a:gd name="connsiteY0" fmla="*/ 21805 h 1633127"/>
              <a:gd name="connsiteX1" fmla="*/ 2725 w 2854743"/>
              <a:gd name="connsiteY1" fmla="*/ 193255 h 1633127"/>
              <a:gd name="connsiteX2" fmla="*/ 86848 w 2854743"/>
              <a:gd name="connsiteY2" fmla="*/ 424237 h 1633127"/>
              <a:gd name="connsiteX3" fmla="*/ 154863 w 2854743"/>
              <a:gd name="connsiteY3" fmla="*/ 664743 h 1633127"/>
              <a:gd name="connsiteX4" fmla="*/ 340862 w 2854743"/>
              <a:gd name="connsiteY4" fmla="*/ 1060030 h 1633127"/>
              <a:gd name="connsiteX5" fmla="*/ 612326 w 2854743"/>
              <a:gd name="connsiteY5" fmla="*/ 1317206 h 1633127"/>
              <a:gd name="connsiteX6" fmla="*/ 921888 w 2854743"/>
              <a:gd name="connsiteY6" fmla="*/ 1488654 h 1633127"/>
              <a:gd name="connsiteX7" fmla="*/ 1212399 w 2854743"/>
              <a:gd name="connsiteY7" fmla="*/ 1607717 h 1633127"/>
              <a:gd name="connsiteX8" fmla="*/ 1398137 w 2854743"/>
              <a:gd name="connsiteY8" fmla="*/ 1631531 h 1633127"/>
              <a:gd name="connsiteX9" fmla="*/ 1598163 w 2854743"/>
              <a:gd name="connsiteY9" fmla="*/ 1622005 h 1633127"/>
              <a:gd name="connsiteX10" fmla="*/ 1821999 w 2854743"/>
              <a:gd name="connsiteY10" fmla="*/ 1550568 h 1633127"/>
              <a:gd name="connsiteX11" fmla="*/ 2183950 w 2854743"/>
              <a:gd name="connsiteY11" fmla="*/ 1369592 h 1633127"/>
              <a:gd name="connsiteX12" fmla="*/ 2517325 w 2854743"/>
              <a:gd name="connsiteY12" fmla="*/ 1069556 h 1633127"/>
              <a:gd name="connsiteX13" fmla="*/ 2695292 w 2854743"/>
              <a:gd name="connsiteY13" fmla="*/ 564730 h 1633127"/>
              <a:gd name="connsiteX14" fmla="*/ 2755450 w 2854743"/>
              <a:gd name="connsiteY14" fmla="*/ 407568 h 1633127"/>
              <a:gd name="connsiteX15" fmla="*/ 2845937 w 2854743"/>
              <a:gd name="connsiteY15" fmla="*/ 226593 h 1633127"/>
              <a:gd name="connsiteX16" fmla="*/ 2841175 w 2854743"/>
              <a:gd name="connsiteY16" fmla="*/ 136106 h 1633127"/>
              <a:gd name="connsiteX17" fmla="*/ 2763372 w 2854743"/>
              <a:gd name="connsiteY17" fmla="*/ 74193 h 1633127"/>
              <a:gd name="connsiteX18" fmla="*/ 2523319 w 2854743"/>
              <a:gd name="connsiteY18" fmla="*/ 40855 h 1633127"/>
              <a:gd name="connsiteX19" fmla="*/ 2041568 w 2854743"/>
              <a:gd name="connsiteY19" fmla="*/ 40856 h 1633127"/>
              <a:gd name="connsiteX20" fmla="*/ 1709685 w 2854743"/>
              <a:gd name="connsiteY20" fmla="*/ 43236 h 1633127"/>
              <a:gd name="connsiteX21" fmla="*/ 1204509 w 2854743"/>
              <a:gd name="connsiteY21" fmla="*/ 45618 h 1633127"/>
              <a:gd name="connsiteX22" fmla="*/ 880377 w 2854743"/>
              <a:gd name="connsiteY22" fmla="*/ 12280 h 1633127"/>
              <a:gd name="connsiteX23" fmla="*/ 592611 w 2854743"/>
              <a:gd name="connsiteY23" fmla="*/ 21805 h 1633127"/>
              <a:gd name="connsiteX24" fmla="*/ 326970 w 2854743"/>
              <a:gd name="connsiteY24" fmla="*/ 7518 h 1633127"/>
              <a:gd name="connsiteX25" fmla="*/ 50350 w 2854743"/>
              <a:gd name="connsiteY25" fmla="*/ 21805 h 1633127"/>
              <a:gd name="connsiteX0" fmla="*/ 50350 w 2854743"/>
              <a:gd name="connsiteY0" fmla="*/ 21805 h 1675804"/>
              <a:gd name="connsiteX1" fmla="*/ 2725 w 2854743"/>
              <a:gd name="connsiteY1" fmla="*/ 193255 h 1675804"/>
              <a:gd name="connsiteX2" fmla="*/ 86848 w 2854743"/>
              <a:gd name="connsiteY2" fmla="*/ 424237 h 1675804"/>
              <a:gd name="connsiteX3" fmla="*/ 154863 w 2854743"/>
              <a:gd name="connsiteY3" fmla="*/ 664743 h 1675804"/>
              <a:gd name="connsiteX4" fmla="*/ 340862 w 2854743"/>
              <a:gd name="connsiteY4" fmla="*/ 1060030 h 1675804"/>
              <a:gd name="connsiteX5" fmla="*/ 612326 w 2854743"/>
              <a:gd name="connsiteY5" fmla="*/ 1317206 h 1675804"/>
              <a:gd name="connsiteX6" fmla="*/ 921888 w 2854743"/>
              <a:gd name="connsiteY6" fmla="*/ 1488654 h 1675804"/>
              <a:gd name="connsiteX7" fmla="*/ 1221947 w 2854743"/>
              <a:gd name="connsiteY7" fmla="*/ 1031455 h 1675804"/>
              <a:gd name="connsiteX8" fmla="*/ 1398137 w 2854743"/>
              <a:gd name="connsiteY8" fmla="*/ 1631531 h 1675804"/>
              <a:gd name="connsiteX9" fmla="*/ 1598163 w 2854743"/>
              <a:gd name="connsiteY9" fmla="*/ 1622005 h 1675804"/>
              <a:gd name="connsiteX10" fmla="*/ 1821999 w 2854743"/>
              <a:gd name="connsiteY10" fmla="*/ 1550568 h 1675804"/>
              <a:gd name="connsiteX11" fmla="*/ 2183950 w 2854743"/>
              <a:gd name="connsiteY11" fmla="*/ 1369592 h 1675804"/>
              <a:gd name="connsiteX12" fmla="*/ 2517325 w 2854743"/>
              <a:gd name="connsiteY12" fmla="*/ 1069556 h 1675804"/>
              <a:gd name="connsiteX13" fmla="*/ 2695292 w 2854743"/>
              <a:gd name="connsiteY13" fmla="*/ 564730 h 1675804"/>
              <a:gd name="connsiteX14" fmla="*/ 2755450 w 2854743"/>
              <a:gd name="connsiteY14" fmla="*/ 407568 h 1675804"/>
              <a:gd name="connsiteX15" fmla="*/ 2845937 w 2854743"/>
              <a:gd name="connsiteY15" fmla="*/ 226593 h 1675804"/>
              <a:gd name="connsiteX16" fmla="*/ 2841175 w 2854743"/>
              <a:gd name="connsiteY16" fmla="*/ 136106 h 1675804"/>
              <a:gd name="connsiteX17" fmla="*/ 2763372 w 2854743"/>
              <a:gd name="connsiteY17" fmla="*/ 74193 h 1675804"/>
              <a:gd name="connsiteX18" fmla="*/ 2523319 w 2854743"/>
              <a:gd name="connsiteY18" fmla="*/ 40855 h 1675804"/>
              <a:gd name="connsiteX19" fmla="*/ 2041568 w 2854743"/>
              <a:gd name="connsiteY19" fmla="*/ 40856 h 1675804"/>
              <a:gd name="connsiteX20" fmla="*/ 1709685 w 2854743"/>
              <a:gd name="connsiteY20" fmla="*/ 43236 h 1675804"/>
              <a:gd name="connsiteX21" fmla="*/ 1204509 w 2854743"/>
              <a:gd name="connsiteY21" fmla="*/ 45618 h 1675804"/>
              <a:gd name="connsiteX22" fmla="*/ 880377 w 2854743"/>
              <a:gd name="connsiteY22" fmla="*/ 12280 h 1675804"/>
              <a:gd name="connsiteX23" fmla="*/ 592611 w 2854743"/>
              <a:gd name="connsiteY23" fmla="*/ 21805 h 1675804"/>
              <a:gd name="connsiteX24" fmla="*/ 326970 w 2854743"/>
              <a:gd name="connsiteY24" fmla="*/ 7518 h 1675804"/>
              <a:gd name="connsiteX25" fmla="*/ 50350 w 2854743"/>
              <a:gd name="connsiteY25" fmla="*/ 21805 h 1675804"/>
              <a:gd name="connsiteX0" fmla="*/ 50350 w 2854743"/>
              <a:gd name="connsiteY0" fmla="*/ 21805 h 1647398"/>
              <a:gd name="connsiteX1" fmla="*/ 2725 w 2854743"/>
              <a:gd name="connsiteY1" fmla="*/ 193255 h 1647398"/>
              <a:gd name="connsiteX2" fmla="*/ 86848 w 2854743"/>
              <a:gd name="connsiteY2" fmla="*/ 424237 h 1647398"/>
              <a:gd name="connsiteX3" fmla="*/ 154863 w 2854743"/>
              <a:gd name="connsiteY3" fmla="*/ 664743 h 1647398"/>
              <a:gd name="connsiteX4" fmla="*/ 340862 w 2854743"/>
              <a:gd name="connsiteY4" fmla="*/ 1060030 h 1647398"/>
              <a:gd name="connsiteX5" fmla="*/ 612326 w 2854743"/>
              <a:gd name="connsiteY5" fmla="*/ 1317206 h 1647398"/>
              <a:gd name="connsiteX6" fmla="*/ 921888 w 2854743"/>
              <a:gd name="connsiteY6" fmla="*/ 1488654 h 1647398"/>
              <a:gd name="connsiteX7" fmla="*/ 1221947 w 2854743"/>
              <a:gd name="connsiteY7" fmla="*/ 1031455 h 1647398"/>
              <a:gd name="connsiteX8" fmla="*/ 1630442 w 2854743"/>
              <a:gd name="connsiteY8" fmla="*/ 1114800 h 1647398"/>
              <a:gd name="connsiteX9" fmla="*/ 1598163 w 2854743"/>
              <a:gd name="connsiteY9" fmla="*/ 1622005 h 1647398"/>
              <a:gd name="connsiteX10" fmla="*/ 1821999 w 2854743"/>
              <a:gd name="connsiteY10" fmla="*/ 1550568 h 1647398"/>
              <a:gd name="connsiteX11" fmla="*/ 2183950 w 2854743"/>
              <a:gd name="connsiteY11" fmla="*/ 1369592 h 1647398"/>
              <a:gd name="connsiteX12" fmla="*/ 2517325 w 2854743"/>
              <a:gd name="connsiteY12" fmla="*/ 1069556 h 1647398"/>
              <a:gd name="connsiteX13" fmla="*/ 2695292 w 2854743"/>
              <a:gd name="connsiteY13" fmla="*/ 564730 h 1647398"/>
              <a:gd name="connsiteX14" fmla="*/ 2755450 w 2854743"/>
              <a:gd name="connsiteY14" fmla="*/ 407568 h 1647398"/>
              <a:gd name="connsiteX15" fmla="*/ 2845937 w 2854743"/>
              <a:gd name="connsiteY15" fmla="*/ 226593 h 1647398"/>
              <a:gd name="connsiteX16" fmla="*/ 2841175 w 2854743"/>
              <a:gd name="connsiteY16" fmla="*/ 136106 h 1647398"/>
              <a:gd name="connsiteX17" fmla="*/ 2763372 w 2854743"/>
              <a:gd name="connsiteY17" fmla="*/ 74193 h 1647398"/>
              <a:gd name="connsiteX18" fmla="*/ 2523319 w 2854743"/>
              <a:gd name="connsiteY18" fmla="*/ 40855 h 1647398"/>
              <a:gd name="connsiteX19" fmla="*/ 2041568 w 2854743"/>
              <a:gd name="connsiteY19" fmla="*/ 40856 h 1647398"/>
              <a:gd name="connsiteX20" fmla="*/ 1709685 w 2854743"/>
              <a:gd name="connsiteY20" fmla="*/ 43236 h 1647398"/>
              <a:gd name="connsiteX21" fmla="*/ 1204509 w 2854743"/>
              <a:gd name="connsiteY21" fmla="*/ 45618 h 1647398"/>
              <a:gd name="connsiteX22" fmla="*/ 880377 w 2854743"/>
              <a:gd name="connsiteY22" fmla="*/ 12280 h 1647398"/>
              <a:gd name="connsiteX23" fmla="*/ 592611 w 2854743"/>
              <a:gd name="connsiteY23" fmla="*/ 21805 h 1647398"/>
              <a:gd name="connsiteX24" fmla="*/ 326970 w 2854743"/>
              <a:gd name="connsiteY24" fmla="*/ 7518 h 1647398"/>
              <a:gd name="connsiteX25" fmla="*/ 50350 w 2854743"/>
              <a:gd name="connsiteY25" fmla="*/ 21805 h 1647398"/>
              <a:gd name="connsiteX0" fmla="*/ 50350 w 2854743"/>
              <a:gd name="connsiteY0" fmla="*/ 21805 h 1622006"/>
              <a:gd name="connsiteX1" fmla="*/ 2725 w 2854743"/>
              <a:gd name="connsiteY1" fmla="*/ 193255 h 1622006"/>
              <a:gd name="connsiteX2" fmla="*/ 86848 w 2854743"/>
              <a:gd name="connsiteY2" fmla="*/ 424237 h 1622006"/>
              <a:gd name="connsiteX3" fmla="*/ 154863 w 2854743"/>
              <a:gd name="connsiteY3" fmla="*/ 664743 h 1622006"/>
              <a:gd name="connsiteX4" fmla="*/ 340862 w 2854743"/>
              <a:gd name="connsiteY4" fmla="*/ 1060030 h 1622006"/>
              <a:gd name="connsiteX5" fmla="*/ 612326 w 2854743"/>
              <a:gd name="connsiteY5" fmla="*/ 1317206 h 1622006"/>
              <a:gd name="connsiteX6" fmla="*/ 921888 w 2854743"/>
              <a:gd name="connsiteY6" fmla="*/ 1488654 h 1622006"/>
              <a:gd name="connsiteX7" fmla="*/ 1221947 w 2854743"/>
              <a:gd name="connsiteY7" fmla="*/ 1031455 h 1622006"/>
              <a:gd name="connsiteX8" fmla="*/ 1630442 w 2854743"/>
              <a:gd name="connsiteY8" fmla="*/ 1114800 h 1622006"/>
              <a:gd name="connsiteX9" fmla="*/ 1598163 w 2854743"/>
              <a:gd name="connsiteY9" fmla="*/ 1622005 h 1622006"/>
              <a:gd name="connsiteX10" fmla="*/ 1983303 w 2854743"/>
              <a:gd name="connsiteY10" fmla="*/ 1109338 h 1622006"/>
              <a:gd name="connsiteX11" fmla="*/ 1821999 w 2854743"/>
              <a:gd name="connsiteY11" fmla="*/ 1550568 h 1622006"/>
              <a:gd name="connsiteX12" fmla="*/ 2183950 w 2854743"/>
              <a:gd name="connsiteY12" fmla="*/ 1369592 h 1622006"/>
              <a:gd name="connsiteX13" fmla="*/ 2517325 w 2854743"/>
              <a:gd name="connsiteY13" fmla="*/ 1069556 h 1622006"/>
              <a:gd name="connsiteX14" fmla="*/ 2695292 w 2854743"/>
              <a:gd name="connsiteY14" fmla="*/ 564730 h 1622006"/>
              <a:gd name="connsiteX15" fmla="*/ 2755450 w 2854743"/>
              <a:gd name="connsiteY15" fmla="*/ 407568 h 1622006"/>
              <a:gd name="connsiteX16" fmla="*/ 2845937 w 2854743"/>
              <a:gd name="connsiteY16" fmla="*/ 226593 h 1622006"/>
              <a:gd name="connsiteX17" fmla="*/ 2841175 w 2854743"/>
              <a:gd name="connsiteY17" fmla="*/ 136106 h 1622006"/>
              <a:gd name="connsiteX18" fmla="*/ 2763372 w 2854743"/>
              <a:gd name="connsiteY18" fmla="*/ 74193 h 1622006"/>
              <a:gd name="connsiteX19" fmla="*/ 2523319 w 2854743"/>
              <a:gd name="connsiteY19" fmla="*/ 40855 h 1622006"/>
              <a:gd name="connsiteX20" fmla="*/ 2041568 w 2854743"/>
              <a:gd name="connsiteY20" fmla="*/ 40856 h 1622006"/>
              <a:gd name="connsiteX21" fmla="*/ 1709685 w 2854743"/>
              <a:gd name="connsiteY21" fmla="*/ 43236 h 1622006"/>
              <a:gd name="connsiteX22" fmla="*/ 1204509 w 2854743"/>
              <a:gd name="connsiteY22" fmla="*/ 45618 h 1622006"/>
              <a:gd name="connsiteX23" fmla="*/ 880377 w 2854743"/>
              <a:gd name="connsiteY23" fmla="*/ 12280 h 1622006"/>
              <a:gd name="connsiteX24" fmla="*/ 592611 w 2854743"/>
              <a:gd name="connsiteY24" fmla="*/ 21805 h 1622006"/>
              <a:gd name="connsiteX25" fmla="*/ 326970 w 2854743"/>
              <a:gd name="connsiteY25" fmla="*/ 7518 h 1622006"/>
              <a:gd name="connsiteX26" fmla="*/ 50350 w 2854743"/>
              <a:gd name="connsiteY26" fmla="*/ 21805 h 1622006"/>
              <a:gd name="connsiteX0" fmla="*/ 50350 w 2854743"/>
              <a:gd name="connsiteY0" fmla="*/ 21805 h 1558534"/>
              <a:gd name="connsiteX1" fmla="*/ 2725 w 2854743"/>
              <a:gd name="connsiteY1" fmla="*/ 193255 h 1558534"/>
              <a:gd name="connsiteX2" fmla="*/ 86848 w 2854743"/>
              <a:gd name="connsiteY2" fmla="*/ 424237 h 1558534"/>
              <a:gd name="connsiteX3" fmla="*/ 154863 w 2854743"/>
              <a:gd name="connsiteY3" fmla="*/ 664743 h 1558534"/>
              <a:gd name="connsiteX4" fmla="*/ 340862 w 2854743"/>
              <a:gd name="connsiteY4" fmla="*/ 1060030 h 1558534"/>
              <a:gd name="connsiteX5" fmla="*/ 612326 w 2854743"/>
              <a:gd name="connsiteY5" fmla="*/ 1317206 h 1558534"/>
              <a:gd name="connsiteX6" fmla="*/ 921888 w 2854743"/>
              <a:gd name="connsiteY6" fmla="*/ 1488654 h 1558534"/>
              <a:gd name="connsiteX7" fmla="*/ 1221947 w 2854743"/>
              <a:gd name="connsiteY7" fmla="*/ 1031455 h 1558534"/>
              <a:gd name="connsiteX8" fmla="*/ 1630442 w 2854743"/>
              <a:gd name="connsiteY8" fmla="*/ 1114800 h 1558534"/>
              <a:gd name="connsiteX9" fmla="*/ 1868654 w 2854743"/>
              <a:gd name="connsiteY9" fmla="*/ 1062411 h 1558534"/>
              <a:gd name="connsiteX10" fmla="*/ 1983303 w 2854743"/>
              <a:gd name="connsiteY10" fmla="*/ 1109338 h 1558534"/>
              <a:gd name="connsiteX11" fmla="*/ 1821999 w 2854743"/>
              <a:gd name="connsiteY11" fmla="*/ 1550568 h 1558534"/>
              <a:gd name="connsiteX12" fmla="*/ 2183950 w 2854743"/>
              <a:gd name="connsiteY12" fmla="*/ 1369592 h 1558534"/>
              <a:gd name="connsiteX13" fmla="*/ 2517325 w 2854743"/>
              <a:gd name="connsiteY13" fmla="*/ 1069556 h 1558534"/>
              <a:gd name="connsiteX14" fmla="*/ 2695292 w 2854743"/>
              <a:gd name="connsiteY14" fmla="*/ 564730 h 1558534"/>
              <a:gd name="connsiteX15" fmla="*/ 2755450 w 2854743"/>
              <a:gd name="connsiteY15" fmla="*/ 407568 h 1558534"/>
              <a:gd name="connsiteX16" fmla="*/ 2845937 w 2854743"/>
              <a:gd name="connsiteY16" fmla="*/ 226593 h 1558534"/>
              <a:gd name="connsiteX17" fmla="*/ 2841175 w 2854743"/>
              <a:gd name="connsiteY17" fmla="*/ 136106 h 1558534"/>
              <a:gd name="connsiteX18" fmla="*/ 2763372 w 2854743"/>
              <a:gd name="connsiteY18" fmla="*/ 74193 h 1558534"/>
              <a:gd name="connsiteX19" fmla="*/ 2523319 w 2854743"/>
              <a:gd name="connsiteY19" fmla="*/ 40855 h 1558534"/>
              <a:gd name="connsiteX20" fmla="*/ 2041568 w 2854743"/>
              <a:gd name="connsiteY20" fmla="*/ 40856 h 1558534"/>
              <a:gd name="connsiteX21" fmla="*/ 1709685 w 2854743"/>
              <a:gd name="connsiteY21" fmla="*/ 43236 h 1558534"/>
              <a:gd name="connsiteX22" fmla="*/ 1204509 w 2854743"/>
              <a:gd name="connsiteY22" fmla="*/ 45618 h 1558534"/>
              <a:gd name="connsiteX23" fmla="*/ 880377 w 2854743"/>
              <a:gd name="connsiteY23" fmla="*/ 12280 h 1558534"/>
              <a:gd name="connsiteX24" fmla="*/ 592611 w 2854743"/>
              <a:gd name="connsiteY24" fmla="*/ 21805 h 1558534"/>
              <a:gd name="connsiteX25" fmla="*/ 326970 w 2854743"/>
              <a:gd name="connsiteY25" fmla="*/ 7518 h 1558534"/>
              <a:gd name="connsiteX26" fmla="*/ 50350 w 2854743"/>
              <a:gd name="connsiteY26" fmla="*/ 21805 h 1558534"/>
              <a:gd name="connsiteX0" fmla="*/ 50350 w 2854743"/>
              <a:gd name="connsiteY0" fmla="*/ 21805 h 1558534"/>
              <a:gd name="connsiteX1" fmla="*/ 2725 w 2854743"/>
              <a:gd name="connsiteY1" fmla="*/ 193255 h 1558534"/>
              <a:gd name="connsiteX2" fmla="*/ 86848 w 2854743"/>
              <a:gd name="connsiteY2" fmla="*/ 424237 h 1558534"/>
              <a:gd name="connsiteX3" fmla="*/ 154863 w 2854743"/>
              <a:gd name="connsiteY3" fmla="*/ 664743 h 1558534"/>
              <a:gd name="connsiteX4" fmla="*/ 340862 w 2854743"/>
              <a:gd name="connsiteY4" fmla="*/ 1060030 h 1558534"/>
              <a:gd name="connsiteX5" fmla="*/ 612326 w 2854743"/>
              <a:gd name="connsiteY5" fmla="*/ 1317206 h 1558534"/>
              <a:gd name="connsiteX6" fmla="*/ 921888 w 2854743"/>
              <a:gd name="connsiteY6" fmla="*/ 1488654 h 1558534"/>
              <a:gd name="connsiteX7" fmla="*/ 1221947 w 2854743"/>
              <a:gd name="connsiteY7" fmla="*/ 1031455 h 1558534"/>
              <a:gd name="connsiteX8" fmla="*/ 1630442 w 2854743"/>
              <a:gd name="connsiteY8" fmla="*/ 1055269 h 1558534"/>
              <a:gd name="connsiteX9" fmla="*/ 1868654 w 2854743"/>
              <a:gd name="connsiteY9" fmla="*/ 1062411 h 1558534"/>
              <a:gd name="connsiteX10" fmla="*/ 1983303 w 2854743"/>
              <a:gd name="connsiteY10" fmla="*/ 1109338 h 1558534"/>
              <a:gd name="connsiteX11" fmla="*/ 1821999 w 2854743"/>
              <a:gd name="connsiteY11" fmla="*/ 1550568 h 1558534"/>
              <a:gd name="connsiteX12" fmla="*/ 2183950 w 2854743"/>
              <a:gd name="connsiteY12" fmla="*/ 1369592 h 1558534"/>
              <a:gd name="connsiteX13" fmla="*/ 2517325 w 2854743"/>
              <a:gd name="connsiteY13" fmla="*/ 1069556 h 1558534"/>
              <a:gd name="connsiteX14" fmla="*/ 2695292 w 2854743"/>
              <a:gd name="connsiteY14" fmla="*/ 564730 h 1558534"/>
              <a:gd name="connsiteX15" fmla="*/ 2755450 w 2854743"/>
              <a:gd name="connsiteY15" fmla="*/ 407568 h 1558534"/>
              <a:gd name="connsiteX16" fmla="*/ 2845937 w 2854743"/>
              <a:gd name="connsiteY16" fmla="*/ 226593 h 1558534"/>
              <a:gd name="connsiteX17" fmla="*/ 2841175 w 2854743"/>
              <a:gd name="connsiteY17" fmla="*/ 136106 h 1558534"/>
              <a:gd name="connsiteX18" fmla="*/ 2763372 w 2854743"/>
              <a:gd name="connsiteY18" fmla="*/ 74193 h 1558534"/>
              <a:gd name="connsiteX19" fmla="*/ 2523319 w 2854743"/>
              <a:gd name="connsiteY19" fmla="*/ 40855 h 1558534"/>
              <a:gd name="connsiteX20" fmla="*/ 2041568 w 2854743"/>
              <a:gd name="connsiteY20" fmla="*/ 40856 h 1558534"/>
              <a:gd name="connsiteX21" fmla="*/ 1709685 w 2854743"/>
              <a:gd name="connsiteY21" fmla="*/ 43236 h 1558534"/>
              <a:gd name="connsiteX22" fmla="*/ 1204509 w 2854743"/>
              <a:gd name="connsiteY22" fmla="*/ 45618 h 1558534"/>
              <a:gd name="connsiteX23" fmla="*/ 880377 w 2854743"/>
              <a:gd name="connsiteY23" fmla="*/ 12280 h 1558534"/>
              <a:gd name="connsiteX24" fmla="*/ 592611 w 2854743"/>
              <a:gd name="connsiteY24" fmla="*/ 21805 h 1558534"/>
              <a:gd name="connsiteX25" fmla="*/ 326970 w 2854743"/>
              <a:gd name="connsiteY25" fmla="*/ 7518 h 1558534"/>
              <a:gd name="connsiteX26" fmla="*/ 50350 w 2854743"/>
              <a:gd name="connsiteY26" fmla="*/ 21805 h 1558534"/>
              <a:gd name="connsiteX0" fmla="*/ 50350 w 2854743"/>
              <a:gd name="connsiteY0" fmla="*/ 21805 h 1560183"/>
              <a:gd name="connsiteX1" fmla="*/ 2725 w 2854743"/>
              <a:gd name="connsiteY1" fmla="*/ 193255 h 1560183"/>
              <a:gd name="connsiteX2" fmla="*/ 86848 w 2854743"/>
              <a:gd name="connsiteY2" fmla="*/ 424237 h 1560183"/>
              <a:gd name="connsiteX3" fmla="*/ 154863 w 2854743"/>
              <a:gd name="connsiteY3" fmla="*/ 664743 h 1560183"/>
              <a:gd name="connsiteX4" fmla="*/ 340862 w 2854743"/>
              <a:gd name="connsiteY4" fmla="*/ 1060030 h 1560183"/>
              <a:gd name="connsiteX5" fmla="*/ 612326 w 2854743"/>
              <a:gd name="connsiteY5" fmla="*/ 1317206 h 1560183"/>
              <a:gd name="connsiteX6" fmla="*/ 921888 w 2854743"/>
              <a:gd name="connsiteY6" fmla="*/ 1488654 h 1560183"/>
              <a:gd name="connsiteX7" fmla="*/ 1221947 w 2854743"/>
              <a:gd name="connsiteY7" fmla="*/ 1031455 h 1560183"/>
              <a:gd name="connsiteX8" fmla="*/ 1630442 w 2854743"/>
              <a:gd name="connsiteY8" fmla="*/ 1055269 h 1560183"/>
              <a:gd name="connsiteX9" fmla="*/ 1868654 w 2854743"/>
              <a:gd name="connsiteY9" fmla="*/ 1062411 h 1560183"/>
              <a:gd name="connsiteX10" fmla="*/ 2024672 w 2854743"/>
              <a:gd name="connsiteY10" fmla="*/ 1076001 h 1560183"/>
              <a:gd name="connsiteX11" fmla="*/ 1821999 w 2854743"/>
              <a:gd name="connsiteY11" fmla="*/ 1550568 h 1560183"/>
              <a:gd name="connsiteX12" fmla="*/ 2183950 w 2854743"/>
              <a:gd name="connsiteY12" fmla="*/ 1369592 h 1560183"/>
              <a:gd name="connsiteX13" fmla="*/ 2517325 w 2854743"/>
              <a:gd name="connsiteY13" fmla="*/ 1069556 h 1560183"/>
              <a:gd name="connsiteX14" fmla="*/ 2695292 w 2854743"/>
              <a:gd name="connsiteY14" fmla="*/ 564730 h 1560183"/>
              <a:gd name="connsiteX15" fmla="*/ 2755450 w 2854743"/>
              <a:gd name="connsiteY15" fmla="*/ 407568 h 1560183"/>
              <a:gd name="connsiteX16" fmla="*/ 2845937 w 2854743"/>
              <a:gd name="connsiteY16" fmla="*/ 226593 h 1560183"/>
              <a:gd name="connsiteX17" fmla="*/ 2841175 w 2854743"/>
              <a:gd name="connsiteY17" fmla="*/ 136106 h 1560183"/>
              <a:gd name="connsiteX18" fmla="*/ 2763372 w 2854743"/>
              <a:gd name="connsiteY18" fmla="*/ 74193 h 1560183"/>
              <a:gd name="connsiteX19" fmla="*/ 2523319 w 2854743"/>
              <a:gd name="connsiteY19" fmla="*/ 40855 h 1560183"/>
              <a:gd name="connsiteX20" fmla="*/ 2041568 w 2854743"/>
              <a:gd name="connsiteY20" fmla="*/ 40856 h 1560183"/>
              <a:gd name="connsiteX21" fmla="*/ 1709685 w 2854743"/>
              <a:gd name="connsiteY21" fmla="*/ 43236 h 1560183"/>
              <a:gd name="connsiteX22" fmla="*/ 1204509 w 2854743"/>
              <a:gd name="connsiteY22" fmla="*/ 45618 h 1560183"/>
              <a:gd name="connsiteX23" fmla="*/ 880377 w 2854743"/>
              <a:gd name="connsiteY23" fmla="*/ 12280 h 1560183"/>
              <a:gd name="connsiteX24" fmla="*/ 592611 w 2854743"/>
              <a:gd name="connsiteY24" fmla="*/ 21805 h 1560183"/>
              <a:gd name="connsiteX25" fmla="*/ 326970 w 2854743"/>
              <a:gd name="connsiteY25" fmla="*/ 7518 h 1560183"/>
              <a:gd name="connsiteX26" fmla="*/ 50350 w 2854743"/>
              <a:gd name="connsiteY26" fmla="*/ 21805 h 1560183"/>
              <a:gd name="connsiteX0" fmla="*/ 50350 w 2854743"/>
              <a:gd name="connsiteY0" fmla="*/ 21805 h 1562285"/>
              <a:gd name="connsiteX1" fmla="*/ 2725 w 2854743"/>
              <a:gd name="connsiteY1" fmla="*/ 193255 h 1562285"/>
              <a:gd name="connsiteX2" fmla="*/ 86848 w 2854743"/>
              <a:gd name="connsiteY2" fmla="*/ 424237 h 1562285"/>
              <a:gd name="connsiteX3" fmla="*/ 154863 w 2854743"/>
              <a:gd name="connsiteY3" fmla="*/ 664743 h 1562285"/>
              <a:gd name="connsiteX4" fmla="*/ 340862 w 2854743"/>
              <a:gd name="connsiteY4" fmla="*/ 1060030 h 1562285"/>
              <a:gd name="connsiteX5" fmla="*/ 612326 w 2854743"/>
              <a:gd name="connsiteY5" fmla="*/ 1317206 h 1562285"/>
              <a:gd name="connsiteX6" fmla="*/ 921888 w 2854743"/>
              <a:gd name="connsiteY6" fmla="*/ 1488654 h 1562285"/>
              <a:gd name="connsiteX7" fmla="*/ 1221947 w 2854743"/>
              <a:gd name="connsiteY7" fmla="*/ 1031455 h 1562285"/>
              <a:gd name="connsiteX8" fmla="*/ 1630442 w 2854743"/>
              <a:gd name="connsiteY8" fmla="*/ 1055269 h 1562285"/>
              <a:gd name="connsiteX9" fmla="*/ 1868654 w 2854743"/>
              <a:gd name="connsiteY9" fmla="*/ 1062411 h 1562285"/>
              <a:gd name="connsiteX10" fmla="*/ 2056495 w 2854743"/>
              <a:gd name="connsiteY10" fmla="*/ 1035520 h 1562285"/>
              <a:gd name="connsiteX11" fmla="*/ 1821999 w 2854743"/>
              <a:gd name="connsiteY11" fmla="*/ 1550568 h 1562285"/>
              <a:gd name="connsiteX12" fmla="*/ 2183950 w 2854743"/>
              <a:gd name="connsiteY12" fmla="*/ 1369592 h 1562285"/>
              <a:gd name="connsiteX13" fmla="*/ 2517325 w 2854743"/>
              <a:gd name="connsiteY13" fmla="*/ 1069556 h 1562285"/>
              <a:gd name="connsiteX14" fmla="*/ 2695292 w 2854743"/>
              <a:gd name="connsiteY14" fmla="*/ 564730 h 1562285"/>
              <a:gd name="connsiteX15" fmla="*/ 2755450 w 2854743"/>
              <a:gd name="connsiteY15" fmla="*/ 407568 h 1562285"/>
              <a:gd name="connsiteX16" fmla="*/ 2845937 w 2854743"/>
              <a:gd name="connsiteY16" fmla="*/ 226593 h 1562285"/>
              <a:gd name="connsiteX17" fmla="*/ 2841175 w 2854743"/>
              <a:gd name="connsiteY17" fmla="*/ 136106 h 1562285"/>
              <a:gd name="connsiteX18" fmla="*/ 2763372 w 2854743"/>
              <a:gd name="connsiteY18" fmla="*/ 74193 h 1562285"/>
              <a:gd name="connsiteX19" fmla="*/ 2523319 w 2854743"/>
              <a:gd name="connsiteY19" fmla="*/ 40855 h 1562285"/>
              <a:gd name="connsiteX20" fmla="*/ 2041568 w 2854743"/>
              <a:gd name="connsiteY20" fmla="*/ 40856 h 1562285"/>
              <a:gd name="connsiteX21" fmla="*/ 1709685 w 2854743"/>
              <a:gd name="connsiteY21" fmla="*/ 43236 h 1562285"/>
              <a:gd name="connsiteX22" fmla="*/ 1204509 w 2854743"/>
              <a:gd name="connsiteY22" fmla="*/ 45618 h 1562285"/>
              <a:gd name="connsiteX23" fmla="*/ 880377 w 2854743"/>
              <a:gd name="connsiteY23" fmla="*/ 12280 h 1562285"/>
              <a:gd name="connsiteX24" fmla="*/ 592611 w 2854743"/>
              <a:gd name="connsiteY24" fmla="*/ 21805 h 1562285"/>
              <a:gd name="connsiteX25" fmla="*/ 326970 w 2854743"/>
              <a:gd name="connsiteY25" fmla="*/ 7518 h 1562285"/>
              <a:gd name="connsiteX26" fmla="*/ 50350 w 2854743"/>
              <a:gd name="connsiteY26" fmla="*/ 21805 h 1562285"/>
              <a:gd name="connsiteX0" fmla="*/ 50350 w 2854743"/>
              <a:gd name="connsiteY0" fmla="*/ 21805 h 1498321"/>
              <a:gd name="connsiteX1" fmla="*/ 2725 w 2854743"/>
              <a:gd name="connsiteY1" fmla="*/ 193255 h 1498321"/>
              <a:gd name="connsiteX2" fmla="*/ 86848 w 2854743"/>
              <a:gd name="connsiteY2" fmla="*/ 424237 h 1498321"/>
              <a:gd name="connsiteX3" fmla="*/ 154863 w 2854743"/>
              <a:gd name="connsiteY3" fmla="*/ 664743 h 1498321"/>
              <a:gd name="connsiteX4" fmla="*/ 340862 w 2854743"/>
              <a:gd name="connsiteY4" fmla="*/ 1060030 h 1498321"/>
              <a:gd name="connsiteX5" fmla="*/ 612326 w 2854743"/>
              <a:gd name="connsiteY5" fmla="*/ 1317206 h 1498321"/>
              <a:gd name="connsiteX6" fmla="*/ 921888 w 2854743"/>
              <a:gd name="connsiteY6" fmla="*/ 1488654 h 1498321"/>
              <a:gd name="connsiteX7" fmla="*/ 1221947 w 2854743"/>
              <a:gd name="connsiteY7" fmla="*/ 1031455 h 1498321"/>
              <a:gd name="connsiteX8" fmla="*/ 1630442 w 2854743"/>
              <a:gd name="connsiteY8" fmla="*/ 1055269 h 1498321"/>
              <a:gd name="connsiteX9" fmla="*/ 1868654 w 2854743"/>
              <a:gd name="connsiteY9" fmla="*/ 1062411 h 1498321"/>
              <a:gd name="connsiteX10" fmla="*/ 2056495 w 2854743"/>
              <a:gd name="connsiteY10" fmla="*/ 1035520 h 1498321"/>
              <a:gd name="connsiteX11" fmla="*/ 2273879 w 2854743"/>
              <a:gd name="connsiteY11" fmla="*/ 1062412 h 1498321"/>
              <a:gd name="connsiteX12" fmla="*/ 2183950 w 2854743"/>
              <a:gd name="connsiteY12" fmla="*/ 1369592 h 1498321"/>
              <a:gd name="connsiteX13" fmla="*/ 2517325 w 2854743"/>
              <a:gd name="connsiteY13" fmla="*/ 1069556 h 1498321"/>
              <a:gd name="connsiteX14" fmla="*/ 2695292 w 2854743"/>
              <a:gd name="connsiteY14" fmla="*/ 564730 h 1498321"/>
              <a:gd name="connsiteX15" fmla="*/ 2755450 w 2854743"/>
              <a:gd name="connsiteY15" fmla="*/ 407568 h 1498321"/>
              <a:gd name="connsiteX16" fmla="*/ 2845937 w 2854743"/>
              <a:gd name="connsiteY16" fmla="*/ 226593 h 1498321"/>
              <a:gd name="connsiteX17" fmla="*/ 2841175 w 2854743"/>
              <a:gd name="connsiteY17" fmla="*/ 136106 h 1498321"/>
              <a:gd name="connsiteX18" fmla="*/ 2763372 w 2854743"/>
              <a:gd name="connsiteY18" fmla="*/ 74193 h 1498321"/>
              <a:gd name="connsiteX19" fmla="*/ 2523319 w 2854743"/>
              <a:gd name="connsiteY19" fmla="*/ 40855 h 1498321"/>
              <a:gd name="connsiteX20" fmla="*/ 2041568 w 2854743"/>
              <a:gd name="connsiteY20" fmla="*/ 40856 h 1498321"/>
              <a:gd name="connsiteX21" fmla="*/ 1709685 w 2854743"/>
              <a:gd name="connsiteY21" fmla="*/ 43236 h 1498321"/>
              <a:gd name="connsiteX22" fmla="*/ 1204509 w 2854743"/>
              <a:gd name="connsiteY22" fmla="*/ 45618 h 1498321"/>
              <a:gd name="connsiteX23" fmla="*/ 880377 w 2854743"/>
              <a:gd name="connsiteY23" fmla="*/ 12280 h 1498321"/>
              <a:gd name="connsiteX24" fmla="*/ 592611 w 2854743"/>
              <a:gd name="connsiteY24" fmla="*/ 21805 h 1498321"/>
              <a:gd name="connsiteX25" fmla="*/ 326970 w 2854743"/>
              <a:gd name="connsiteY25" fmla="*/ 7518 h 1498321"/>
              <a:gd name="connsiteX26" fmla="*/ 50350 w 2854743"/>
              <a:gd name="connsiteY26" fmla="*/ 21805 h 1498321"/>
              <a:gd name="connsiteX0" fmla="*/ 50350 w 2854743"/>
              <a:gd name="connsiteY0" fmla="*/ 21805 h 1498321"/>
              <a:gd name="connsiteX1" fmla="*/ 2725 w 2854743"/>
              <a:gd name="connsiteY1" fmla="*/ 193255 h 1498321"/>
              <a:gd name="connsiteX2" fmla="*/ 86848 w 2854743"/>
              <a:gd name="connsiteY2" fmla="*/ 424237 h 1498321"/>
              <a:gd name="connsiteX3" fmla="*/ 154863 w 2854743"/>
              <a:gd name="connsiteY3" fmla="*/ 664743 h 1498321"/>
              <a:gd name="connsiteX4" fmla="*/ 340862 w 2854743"/>
              <a:gd name="connsiteY4" fmla="*/ 1060030 h 1498321"/>
              <a:gd name="connsiteX5" fmla="*/ 612326 w 2854743"/>
              <a:gd name="connsiteY5" fmla="*/ 1317206 h 1498321"/>
              <a:gd name="connsiteX6" fmla="*/ 921888 w 2854743"/>
              <a:gd name="connsiteY6" fmla="*/ 1488654 h 1498321"/>
              <a:gd name="connsiteX7" fmla="*/ 1221947 w 2854743"/>
              <a:gd name="connsiteY7" fmla="*/ 1031455 h 1498321"/>
              <a:gd name="connsiteX8" fmla="*/ 1630442 w 2854743"/>
              <a:gd name="connsiteY8" fmla="*/ 1055269 h 1498321"/>
              <a:gd name="connsiteX9" fmla="*/ 1868654 w 2854743"/>
              <a:gd name="connsiteY9" fmla="*/ 1062411 h 1498321"/>
              <a:gd name="connsiteX10" fmla="*/ 2056495 w 2854743"/>
              <a:gd name="connsiteY10" fmla="*/ 1035520 h 1498321"/>
              <a:gd name="connsiteX11" fmla="*/ 2273879 w 2854743"/>
              <a:gd name="connsiteY11" fmla="*/ 1062412 h 1498321"/>
              <a:gd name="connsiteX12" fmla="*/ 2428984 w 2854743"/>
              <a:gd name="connsiteY12" fmla="*/ 1069554 h 1498321"/>
              <a:gd name="connsiteX13" fmla="*/ 2517325 w 2854743"/>
              <a:gd name="connsiteY13" fmla="*/ 1069556 h 1498321"/>
              <a:gd name="connsiteX14" fmla="*/ 2695292 w 2854743"/>
              <a:gd name="connsiteY14" fmla="*/ 564730 h 1498321"/>
              <a:gd name="connsiteX15" fmla="*/ 2755450 w 2854743"/>
              <a:gd name="connsiteY15" fmla="*/ 407568 h 1498321"/>
              <a:gd name="connsiteX16" fmla="*/ 2845937 w 2854743"/>
              <a:gd name="connsiteY16" fmla="*/ 226593 h 1498321"/>
              <a:gd name="connsiteX17" fmla="*/ 2841175 w 2854743"/>
              <a:gd name="connsiteY17" fmla="*/ 136106 h 1498321"/>
              <a:gd name="connsiteX18" fmla="*/ 2763372 w 2854743"/>
              <a:gd name="connsiteY18" fmla="*/ 74193 h 1498321"/>
              <a:gd name="connsiteX19" fmla="*/ 2523319 w 2854743"/>
              <a:gd name="connsiteY19" fmla="*/ 40855 h 1498321"/>
              <a:gd name="connsiteX20" fmla="*/ 2041568 w 2854743"/>
              <a:gd name="connsiteY20" fmla="*/ 40856 h 1498321"/>
              <a:gd name="connsiteX21" fmla="*/ 1709685 w 2854743"/>
              <a:gd name="connsiteY21" fmla="*/ 43236 h 1498321"/>
              <a:gd name="connsiteX22" fmla="*/ 1204509 w 2854743"/>
              <a:gd name="connsiteY22" fmla="*/ 45618 h 1498321"/>
              <a:gd name="connsiteX23" fmla="*/ 880377 w 2854743"/>
              <a:gd name="connsiteY23" fmla="*/ 12280 h 1498321"/>
              <a:gd name="connsiteX24" fmla="*/ 592611 w 2854743"/>
              <a:gd name="connsiteY24" fmla="*/ 21805 h 1498321"/>
              <a:gd name="connsiteX25" fmla="*/ 326970 w 2854743"/>
              <a:gd name="connsiteY25" fmla="*/ 7518 h 1498321"/>
              <a:gd name="connsiteX26" fmla="*/ 50350 w 2854743"/>
              <a:gd name="connsiteY26" fmla="*/ 21805 h 1498321"/>
              <a:gd name="connsiteX0" fmla="*/ 50350 w 2854743"/>
              <a:gd name="connsiteY0" fmla="*/ 21805 h 1498321"/>
              <a:gd name="connsiteX1" fmla="*/ 2725 w 2854743"/>
              <a:gd name="connsiteY1" fmla="*/ 193255 h 1498321"/>
              <a:gd name="connsiteX2" fmla="*/ 86848 w 2854743"/>
              <a:gd name="connsiteY2" fmla="*/ 424237 h 1498321"/>
              <a:gd name="connsiteX3" fmla="*/ 154863 w 2854743"/>
              <a:gd name="connsiteY3" fmla="*/ 664743 h 1498321"/>
              <a:gd name="connsiteX4" fmla="*/ 340862 w 2854743"/>
              <a:gd name="connsiteY4" fmla="*/ 1060030 h 1498321"/>
              <a:gd name="connsiteX5" fmla="*/ 612326 w 2854743"/>
              <a:gd name="connsiteY5" fmla="*/ 1317206 h 1498321"/>
              <a:gd name="connsiteX6" fmla="*/ 921888 w 2854743"/>
              <a:gd name="connsiteY6" fmla="*/ 1488654 h 1498321"/>
              <a:gd name="connsiteX7" fmla="*/ 1221947 w 2854743"/>
              <a:gd name="connsiteY7" fmla="*/ 1031455 h 1498321"/>
              <a:gd name="connsiteX8" fmla="*/ 1630442 w 2854743"/>
              <a:gd name="connsiteY8" fmla="*/ 1055269 h 1498321"/>
              <a:gd name="connsiteX9" fmla="*/ 1868654 w 2854743"/>
              <a:gd name="connsiteY9" fmla="*/ 1062411 h 1498321"/>
              <a:gd name="connsiteX10" fmla="*/ 2056495 w 2854743"/>
              <a:gd name="connsiteY10" fmla="*/ 1035520 h 1498321"/>
              <a:gd name="connsiteX11" fmla="*/ 2273879 w 2854743"/>
              <a:gd name="connsiteY11" fmla="*/ 1062412 h 1498321"/>
              <a:gd name="connsiteX12" fmla="*/ 2428984 w 2854743"/>
              <a:gd name="connsiteY12" fmla="*/ 1069554 h 1498321"/>
              <a:gd name="connsiteX13" fmla="*/ 2549148 w 2854743"/>
              <a:gd name="connsiteY13" fmla="*/ 1014787 h 1498321"/>
              <a:gd name="connsiteX14" fmla="*/ 2695292 w 2854743"/>
              <a:gd name="connsiteY14" fmla="*/ 564730 h 1498321"/>
              <a:gd name="connsiteX15" fmla="*/ 2755450 w 2854743"/>
              <a:gd name="connsiteY15" fmla="*/ 407568 h 1498321"/>
              <a:gd name="connsiteX16" fmla="*/ 2845937 w 2854743"/>
              <a:gd name="connsiteY16" fmla="*/ 226593 h 1498321"/>
              <a:gd name="connsiteX17" fmla="*/ 2841175 w 2854743"/>
              <a:gd name="connsiteY17" fmla="*/ 136106 h 1498321"/>
              <a:gd name="connsiteX18" fmla="*/ 2763372 w 2854743"/>
              <a:gd name="connsiteY18" fmla="*/ 74193 h 1498321"/>
              <a:gd name="connsiteX19" fmla="*/ 2523319 w 2854743"/>
              <a:gd name="connsiteY19" fmla="*/ 40855 h 1498321"/>
              <a:gd name="connsiteX20" fmla="*/ 2041568 w 2854743"/>
              <a:gd name="connsiteY20" fmla="*/ 40856 h 1498321"/>
              <a:gd name="connsiteX21" fmla="*/ 1709685 w 2854743"/>
              <a:gd name="connsiteY21" fmla="*/ 43236 h 1498321"/>
              <a:gd name="connsiteX22" fmla="*/ 1204509 w 2854743"/>
              <a:gd name="connsiteY22" fmla="*/ 45618 h 1498321"/>
              <a:gd name="connsiteX23" fmla="*/ 880377 w 2854743"/>
              <a:gd name="connsiteY23" fmla="*/ 12280 h 1498321"/>
              <a:gd name="connsiteX24" fmla="*/ 592611 w 2854743"/>
              <a:gd name="connsiteY24" fmla="*/ 21805 h 1498321"/>
              <a:gd name="connsiteX25" fmla="*/ 326970 w 2854743"/>
              <a:gd name="connsiteY25" fmla="*/ 7518 h 1498321"/>
              <a:gd name="connsiteX26" fmla="*/ 50350 w 2854743"/>
              <a:gd name="connsiteY26" fmla="*/ 21805 h 1498321"/>
              <a:gd name="connsiteX0" fmla="*/ 50350 w 2854743"/>
              <a:gd name="connsiteY0" fmla="*/ 21805 h 1329800"/>
              <a:gd name="connsiteX1" fmla="*/ 2725 w 2854743"/>
              <a:gd name="connsiteY1" fmla="*/ 193255 h 1329800"/>
              <a:gd name="connsiteX2" fmla="*/ 86848 w 2854743"/>
              <a:gd name="connsiteY2" fmla="*/ 424237 h 1329800"/>
              <a:gd name="connsiteX3" fmla="*/ 154863 w 2854743"/>
              <a:gd name="connsiteY3" fmla="*/ 664743 h 1329800"/>
              <a:gd name="connsiteX4" fmla="*/ 340862 w 2854743"/>
              <a:gd name="connsiteY4" fmla="*/ 1060030 h 1329800"/>
              <a:gd name="connsiteX5" fmla="*/ 612326 w 2854743"/>
              <a:gd name="connsiteY5" fmla="*/ 1317206 h 1329800"/>
              <a:gd name="connsiteX6" fmla="*/ 918704 w 2854743"/>
              <a:gd name="connsiteY6" fmla="*/ 1029072 h 1329800"/>
              <a:gd name="connsiteX7" fmla="*/ 1221947 w 2854743"/>
              <a:gd name="connsiteY7" fmla="*/ 1031455 h 1329800"/>
              <a:gd name="connsiteX8" fmla="*/ 1630442 w 2854743"/>
              <a:gd name="connsiteY8" fmla="*/ 1055269 h 1329800"/>
              <a:gd name="connsiteX9" fmla="*/ 1868654 w 2854743"/>
              <a:gd name="connsiteY9" fmla="*/ 1062411 h 1329800"/>
              <a:gd name="connsiteX10" fmla="*/ 2056495 w 2854743"/>
              <a:gd name="connsiteY10" fmla="*/ 1035520 h 1329800"/>
              <a:gd name="connsiteX11" fmla="*/ 2273879 w 2854743"/>
              <a:gd name="connsiteY11" fmla="*/ 1062412 h 1329800"/>
              <a:gd name="connsiteX12" fmla="*/ 2428984 w 2854743"/>
              <a:gd name="connsiteY12" fmla="*/ 1069554 h 1329800"/>
              <a:gd name="connsiteX13" fmla="*/ 2549148 w 2854743"/>
              <a:gd name="connsiteY13" fmla="*/ 1014787 h 1329800"/>
              <a:gd name="connsiteX14" fmla="*/ 2695292 w 2854743"/>
              <a:gd name="connsiteY14" fmla="*/ 564730 h 1329800"/>
              <a:gd name="connsiteX15" fmla="*/ 2755450 w 2854743"/>
              <a:gd name="connsiteY15" fmla="*/ 407568 h 1329800"/>
              <a:gd name="connsiteX16" fmla="*/ 2845937 w 2854743"/>
              <a:gd name="connsiteY16" fmla="*/ 226593 h 1329800"/>
              <a:gd name="connsiteX17" fmla="*/ 2841175 w 2854743"/>
              <a:gd name="connsiteY17" fmla="*/ 136106 h 1329800"/>
              <a:gd name="connsiteX18" fmla="*/ 2763372 w 2854743"/>
              <a:gd name="connsiteY18" fmla="*/ 74193 h 1329800"/>
              <a:gd name="connsiteX19" fmla="*/ 2523319 w 2854743"/>
              <a:gd name="connsiteY19" fmla="*/ 40855 h 1329800"/>
              <a:gd name="connsiteX20" fmla="*/ 2041568 w 2854743"/>
              <a:gd name="connsiteY20" fmla="*/ 40856 h 1329800"/>
              <a:gd name="connsiteX21" fmla="*/ 1709685 w 2854743"/>
              <a:gd name="connsiteY21" fmla="*/ 43236 h 1329800"/>
              <a:gd name="connsiteX22" fmla="*/ 1204509 w 2854743"/>
              <a:gd name="connsiteY22" fmla="*/ 45618 h 1329800"/>
              <a:gd name="connsiteX23" fmla="*/ 880377 w 2854743"/>
              <a:gd name="connsiteY23" fmla="*/ 12280 h 1329800"/>
              <a:gd name="connsiteX24" fmla="*/ 592611 w 2854743"/>
              <a:gd name="connsiteY24" fmla="*/ 21805 h 1329800"/>
              <a:gd name="connsiteX25" fmla="*/ 326970 w 2854743"/>
              <a:gd name="connsiteY25" fmla="*/ 7518 h 1329800"/>
              <a:gd name="connsiteX26" fmla="*/ 50350 w 2854743"/>
              <a:gd name="connsiteY26" fmla="*/ 21805 h 1329800"/>
              <a:gd name="connsiteX0" fmla="*/ 50350 w 2854743"/>
              <a:gd name="connsiteY0" fmla="*/ 21805 h 1072605"/>
              <a:gd name="connsiteX1" fmla="*/ 2725 w 2854743"/>
              <a:gd name="connsiteY1" fmla="*/ 193255 h 1072605"/>
              <a:gd name="connsiteX2" fmla="*/ 86848 w 2854743"/>
              <a:gd name="connsiteY2" fmla="*/ 424237 h 1072605"/>
              <a:gd name="connsiteX3" fmla="*/ 154863 w 2854743"/>
              <a:gd name="connsiteY3" fmla="*/ 664743 h 1072605"/>
              <a:gd name="connsiteX4" fmla="*/ 340862 w 2854743"/>
              <a:gd name="connsiteY4" fmla="*/ 1060030 h 1072605"/>
              <a:gd name="connsiteX5" fmla="*/ 580503 w 2854743"/>
              <a:gd name="connsiteY5" fmla="*/ 995737 h 1072605"/>
              <a:gd name="connsiteX6" fmla="*/ 918704 w 2854743"/>
              <a:gd name="connsiteY6" fmla="*/ 1029072 h 1072605"/>
              <a:gd name="connsiteX7" fmla="*/ 1221947 w 2854743"/>
              <a:gd name="connsiteY7" fmla="*/ 1031455 h 1072605"/>
              <a:gd name="connsiteX8" fmla="*/ 1630442 w 2854743"/>
              <a:gd name="connsiteY8" fmla="*/ 1055269 h 1072605"/>
              <a:gd name="connsiteX9" fmla="*/ 1868654 w 2854743"/>
              <a:gd name="connsiteY9" fmla="*/ 1062411 h 1072605"/>
              <a:gd name="connsiteX10" fmla="*/ 2056495 w 2854743"/>
              <a:gd name="connsiteY10" fmla="*/ 1035520 h 1072605"/>
              <a:gd name="connsiteX11" fmla="*/ 2273879 w 2854743"/>
              <a:gd name="connsiteY11" fmla="*/ 1062412 h 1072605"/>
              <a:gd name="connsiteX12" fmla="*/ 2428984 w 2854743"/>
              <a:gd name="connsiteY12" fmla="*/ 1069554 h 1072605"/>
              <a:gd name="connsiteX13" fmla="*/ 2549148 w 2854743"/>
              <a:gd name="connsiteY13" fmla="*/ 1014787 h 1072605"/>
              <a:gd name="connsiteX14" fmla="*/ 2695292 w 2854743"/>
              <a:gd name="connsiteY14" fmla="*/ 564730 h 1072605"/>
              <a:gd name="connsiteX15" fmla="*/ 2755450 w 2854743"/>
              <a:gd name="connsiteY15" fmla="*/ 407568 h 1072605"/>
              <a:gd name="connsiteX16" fmla="*/ 2845937 w 2854743"/>
              <a:gd name="connsiteY16" fmla="*/ 226593 h 1072605"/>
              <a:gd name="connsiteX17" fmla="*/ 2841175 w 2854743"/>
              <a:gd name="connsiteY17" fmla="*/ 136106 h 1072605"/>
              <a:gd name="connsiteX18" fmla="*/ 2763372 w 2854743"/>
              <a:gd name="connsiteY18" fmla="*/ 74193 h 1072605"/>
              <a:gd name="connsiteX19" fmla="*/ 2523319 w 2854743"/>
              <a:gd name="connsiteY19" fmla="*/ 40855 h 1072605"/>
              <a:gd name="connsiteX20" fmla="*/ 2041568 w 2854743"/>
              <a:gd name="connsiteY20" fmla="*/ 40856 h 1072605"/>
              <a:gd name="connsiteX21" fmla="*/ 1709685 w 2854743"/>
              <a:gd name="connsiteY21" fmla="*/ 43236 h 1072605"/>
              <a:gd name="connsiteX22" fmla="*/ 1204509 w 2854743"/>
              <a:gd name="connsiteY22" fmla="*/ 45618 h 1072605"/>
              <a:gd name="connsiteX23" fmla="*/ 880377 w 2854743"/>
              <a:gd name="connsiteY23" fmla="*/ 12280 h 1072605"/>
              <a:gd name="connsiteX24" fmla="*/ 592611 w 2854743"/>
              <a:gd name="connsiteY24" fmla="*/ 21805 h 1072605"/>
              <a:gd name="connsiteX25" fmla="*/ 326970 w 2854743"/>
              <a:gd name="connsiteY25" fmla="*/ 7518 h 1072605"/>
              <a:gd name="connsiteX26" fmla="*/ 50350 w 2854743"/>
              <a:gd name="connsiteY26" fmla="*/ 21805 h 1072605"/>
              <a:gd name="connsiteX0" fmla="*/ 50350 w 2854743"/>
              <a:gd name="connsiteY0" fmla="*/ 21805 h 1072605"/>
              <a:gd name="connsiteX1" fmla="*/ 2725 w 2854743"/>
              <a:gd name="connsiteY1" fmla="*/ 193255 h 1072605"/>
              <a:gd name="connsiteX2" fmla="*/ 86848 w 2854743"/>
              <a:gd name="connsiteY2" fmla="*/ 424237 h 1072605"/>
              <a:gd name="connsiteX3" fmla="*/ 154863 w 2854743"/>
              <a:gd name="connsiteY3" fmla="*/ 664743 h 1072605"/>
              <a:gd name="connsiteX4" fmla="*/ 92646 w 2854743"/>
              <a:gd name="connsiteY4" fmla="*/ 1033836 h 1072605"/>
              <a:gd name="connsiteX5" fmla="*/ 580503 w 2854743"/>
              <a:gd name="connsiteY5" fmla="*/ 995737 h 1072605"/>
              <a:gd name="connsiteX6" fmla="*/ 918704 w 2854743"/>
              <a:gd name="connsiteY6" fmla="*/ 1029072 h 1072605"/>
              <a:gd name="connsiteX7" fmla="*/ 1221947 w 2854743"/>
              <a:gd name="connsiteY7" fmla="*/ 1031455 h 1072605"/>
              <a:gd name="connsiteX8" fmla="*/ 1630442 w 2854743"/>
              <a:gd name="connsiteY8" fmla="*/ 1055269 h 1072605"/>
              <a:gd name="connsiteX9" fmla="*/ 1868654 w 2854743"/>
              <a:gd name="connsiteY9" fmla="*/ 1062411 h 1072605"/>
              <a:gd name="connsiteX10" fmla="*/ 2056495 w 2854743"/>
              <a:gd name="connsiteY10" fmla="*/ 1035520 h 1072605"/>
              <a:gd name="connsiteX11" fmla="*/ 2273879 w 2854743"/>
              <a:gd name="connsiteY11" fmla="*/ 1062412 h 1072605"/>
              <a:gd name="connsiteX12" fmla="*/ 2428984 w 2854743"/>
              <a:gd name="connsiteY12" fmla="*/ 1069554 h 1072605"/>
              <a:gd name="connsiteX13" fmla="*/ 2549148 w 2854743"/>
              <a:gd name="connsiteY13" fmla="*/ 1014787 h 1072605"/>
              <a:gd name="connsiteX14" fmla="*/ 2695292 w 2854743"/>
              <a:gd name="connsiteY14" fmla="*/ 564730 h 1072605"/>
              <a:gd name="connsiteX15" fmla="*/ 2755450 w 2854743"/>
              <a:gd name="connsiteY15" fmla="*/ 407568 h 1072605"/>
              <a:gd name="connsiteX16" fmla="*/ 2845937 w 2854743"/>
              <a:gd name="connsiteY16" fmla="*/ 226593 h 1072605"/>
              <a:gd name="connsiteX17" fmla="*/ 2841175 w 2854743"/>
              <a:gd name="connsiteY17" fmla="*/ 136106 h 1072605"/>
              <a:gd name="connsiteX18" fmla="*/ 2763372 w 2854743"/>
              <a:gd name="connsiteY18" fmla="*/ 74193 h 1072605"/>
              <a:gd name="connsiteX19" fmla="*/ 2523319 w 2854743"/>
              <a:gd name="connsiteY19" fmla="*/ 40855 h 1072605"/>
              <a:gd name="connsiteX20" fmla="*/ 2041568 w 2854743"/>
              <a:gd name="connsiteY20" fmla="*/ 40856 h 1072605"/>
              <a:gd name="connsiteX21" fmla="*/ 1709685 w 2854743"/>
              <a:gd name="connsiteY21" fmla="*/ 43236 h 1072605"/>
              <a:gd name="connsiteX22" fmla="*/ 1204509 w 2854743"/>
              <a:gd name="connsiteY22" fmla="*/ 45618 h 1072605"/>
              <a:gd name="connsiteX23" fmla="*/ 880377 w 2854743"/>
              <a:gd name="connsiteY23" fmla="*/ 12280 h 1072605"/>
              <a:gd name="connsiteX24" fmla="*/ 592611 w 2854743"/>
              <a:gd name="connsiteY24" fmla="*/ 21805 h 1072605"/>
              <a:gd name="connsiteX25" fmla="*/ 326970 w 2854743"/>
              <a:gd name="connsiteY25" fmla="*/ 7518 h 1072605"/>
              <a:gd name="connsiteX26" fmla="*/ 50350 w 2854743"/>
              <a:gd name="connsiteY26" fmla="*/ 21805 h 1072605"/>
              <a:gd name="connsiteX0" fmla="*/ 50350 w 2854743"/>
              <a:gd name="connsiteY0" fmla="*/ 21805 h 1072605"/>
              <a:gd name="connsiteX1" fmla="*/ 2725 w 2854743"/>
              <a:gd name="connsiteY1" fmla="*/ 193255 h 1072605"/>
              <a:gd name="connsiteX2" fmla="*/ 86848 w 2854743"/>
              <a:gd name="connsiteY2" fmla="*/ 424237 h 1072605"/>
              <a:gd name="connsiteX3" fmla="*/ 24389 w 2854743"/>
              <a:gd name="connsiteY3" fmla="*/ 640931 h 1072605"/>
              <a:gd name="connsiteX4" fmla="*/ 92646 w 2854743"/>
              <a:gd name="connsiteY4" fmla="*/ 1033836 h 1072605"/>
              <a:gd name="connsiteX5" fmla="*/ 580503 w 2854743"/>
              <a:gd name="connsiteY5" fmla="*/ 995737 h 1072605"/>
              <a:gd name="connsiteX6" fmla="*/ 918704 w 2854743"/>
              <a:gd name="connsiteY6" fmla="*/ 1029072 h 1072605"/>
              <a:gd name="connsiteX7" fmla="*/ 1221947 w 2854743"/>
              <a:gd name="connsiteY7" fmla="*/ 1031455 h 1072605"/>
              <a:gd name="connsiteX8" fmla="*/ 1630442 w 2854743"/>
              <a:gd name="connsiteY8" fmla="*/ 1055269 h 1072605"/>
              <a:gd name="connsiteX9" fmla="*/ 1868654 w 2854743"/>
              <a:gd name="connsiteY9" fmla="*/ 1062411 h 1072605"/>
              <a:gd name="connsiteX10" fmla="*/ 2056495 w 2854743"/>
              <a:gd name="connsiteY10" fmla="*/ 1035520 h 1072605"/>
              <a:gd name="connsiteX11" fmla="*/ 2273879 w 2854743"/>
              <a:gd name="connsiteY11" fmla="*/ 1062412 h 1072605"/>
              <a:gd name="connsiteX12" fmla="*/ 2428984 w 2854743"/>
              <a:gd name="connsiteY12" fmla="*/ 1069554 h 1072605"/>
              <a:gd name="connsiteX13" fmla="*/ 2549148 w 2854743"/>
              <a:gd name="connsiteY13" fmla="*/ 1014787 h 1072605"/>
              <a:gd name="connsiteX14" fmla="*/ 2695292 w 2854743"/>
              <a:gd name="connsiteY14" fmla="*/ 564730 h 1072605"/>
              <a:gd name="connsiteX15" fmla="*/ 2755450 w 2854743"/>
              <a:gd name="connsiteY15" fmla="*/ 407568 h 1072605"/>
              <a:gd name="connsiteX16" fmla="*/ 2845937 w 2854743"/>
              <a:gd name="connsiteY16" fmla="*/ 226593 h 1072605"/>
              <a:gd name="connsiteX17" fmla="*/ 2841175 w 2854743"/>
              <a:gd name="connsiteY17" fmla="*/ 136106 h 1072605"/>
              <a:gd name="connsiteX18" fmla="*/ 2763372 w 2854743"/>
              <a:gd name="connsiteY18" fmla="*/ 74193 h 1072605"/>
              <a:gd name="connsiteX19" fmla="*/ 2523319 w 2854743"/>
              <a:gd name="connsiteY19" fmla="*/ 40855 h 1072605"/>
              <a:gd name="connsiteX20" fmla="*/ 2041568 w 2854743"/>
              <a:gd name="connsiteY20" fmla="*/ 40856 h 1072605"/>
              <a:gd name="connsiteX21" fmla="*/ 1709685 w 2854743"/>
              <a:gd name="connsiteY21" fmla="*/ 43236 h 1072605"/>
              <a:gd name="connsiteX22" fmla="*/ 1204509 w 2854743"/>
              <a:gd name="connsiteY22" fmla="*/ 45618 h 1072605"/>
              <a:gd name="connsiteX23" fmla="*/ 880377 w 2854743"/>
              <a:gd name="connsiteY23" fmla="*/ 12280 h 1072605"/>
              <a:gd name="connsiteX24" fmla="*/ 592611 w 2854743"/>
              <a:gd name="connsiteY24" fmla="*/ 21805 h 1072605"/>
              <a:gd name="connsiteX25" fmla="*/ 326970 w 2854743"/>
              <a:gd name="connsiteY25" fmla="*/ 7518 h 1072605"/>
              <a:gd name="connsiteX26" fmla="*/ 50350 w 2854743"/>
              <a:gd name="connsiteY26" fmla="*/ 21805 h 1072605"/>
              <a:gd name="connsiteX0" fmla="*/ 56849 w 2861242"/>
              <a:gd name="connsiteY0" fmla="*/ 21805 h 1072605"/>
              <a:gd name="connsiteX1" fmla="*/ 9224 w 2861242"/>
              <a:gd name="connsiteY1" fmla="*/ 193255 h 1072605"/>
              <a:gd name="connsiteX2" fmla="*/ 16972 w 2861242"/>
              <a:gd name="connsiteY2" fmla="*/ 424237 h 1072605"/>
              <a:gd name="connsiteX3" fmla="*/ 30888 w 2861242"/>
              <a:gd name="connsiteY3" fmla="*/ 640931 h 1072605"/>
              <a:gd name="connsiteX4" fmla="*/ 99145 w 2861242"/>
              <a:gd name="connsiteY4" fmla="*/ 1033836 h 1072605"/>
              <a:gd name="connsiteX5" fmla="*/ 587002 w 2861242"/>
              <a:gd name="connsiteY5" fmla="*/ 995737 h 1072605"/>
              <a:gd name="connsiteX6" fmla="*/ 925203 w 2861242"/>
              <a:gd name="connsiteY6" fmla="*/ 1029072 h 1072605"/>
              <a:gd name="connsiteX7" fmla="*/ 1228446 w 2861242"/>
              <a:gd name="connsiteY7" fmla="*/ 1031455 h 1072605"/>
              <a:gd name="connsiteX8" fmla="*/ 1636941 w 2861242"/>
              <a:gd name="connsiteY8" fmla="*/ 1055269 h 1072605"/>
              <a:gd name="connsiteX9" fmla="*/ 1875153 w 2861242"/>
              <a:gd name="connsiteY9" fmla="*/ 1062411 h 1072605"/>
              <a:gd name="connsiteX10" fmla="*/ 2062994 w 2861242"/>
              <a:gd name="connsiteY10" fmla="*/ 1035520 h 1072605"/>
              <a:gd name="connsiteX11" fmla="*/ 2280378 w 2861242"/>
              <a:gd name="connsiteY11" fmla="*/ 1062412 h 1072605"/>
              <a:gd name="connsiteX12" fmla="*/ 2435483 w 2861242"/>
              <a:gd name="connsiteY12" fmla="*/ 1069554 h 1072605"/>
              <a:gd name="connsiteX13" fmla="*/ 2555647 w 2861242"/>
              <a:gd name="connsiteY13" fmla="*/ 1014787 h 1072605"/>
              <a:gd name="connsiteX14" fmla="*/ 2701791 w 2861242"/>
              <a:gd name="connsiteY14" fmla="*/ 564730 h 1072605"/>
              <a:gd name="connsiteX15" fmla="*/ 2761949 w 2861242"/>
              <a:gd name="connsiteY15" fmla="*/ 407568 h 1072605"/>
              <a:gd name="connsiteX16" fmla="*/ 2852436 w 2861242"/>
              <a:gd name="connsiteY16" fmla="*/ 226593 h 1072605"/>
              <a:gd name="connsiteX17" fmla="*/ 2847674 w 2861242"/>
              <a:gd name="connsiteY17" fmla="*/ 136106 h 1072605"/>
              <a:gd name="connsiteX18" fmla="*/ 2769871 w 2861242"/>
              <a:gd name="connsiteY18" fmla="*/ 74193 h 1072605"/>
              <a:gd name="connsiteX19" fmla="*/ 2529818 w 2861242"/>
              <a:gd name="connsiteY19" fmla="*/ 40855 h 1072605"/>
              <a:gd name="connsiteX20" fmla="*/ 2048067 w 2861242"/>
              <a:gd name="connsiteY20" fmla="*/ 40856 h 1072605"/>
              <a:gd name="connsiteX21" fmla="*/ 1716184 w 2861242"/>
              <a:gd name="connsiteY21" fmla="*/ 43236 h 1072605"/>
              <a:gd name="connsiteX22" fmla="*/ 1211008 w 2861242"/>
              <a:gd name="connsiteY22" fmla="*/ 45618 h 1072605"/>
              <a:gd name="connsiteX23" fmla="*/ 886876 w 2861242"/>
              <a:gd name="connsiteY23" fmla="*/ 12280 h 1072605"/>
              <a:gd name="connsiteX24" fmla="*/ 599110 w 2861242"/>
              <a:gd name="connsiteY24" fmla="*/ 21805 h 1072605"/>
              <a:gd name="connsiteX25" fmla="*/ 333469 w 2861242"/>
              <a:gd name="connsiteY25" fmla="*/ 7518 h 1072605"/>
              <a:gd name="connsiteX26" fmla="*/ 56849 w 2861242"/>
              <a:gd name="connsiteY26" fmla="*/ 21805 h 1072605"/>
              <a:gd name="connsiteX0" fmla="*/ 60966 w 2865359"/>
              <a:gd name="connsiteY0" fmla="*/ 21805 h 1072605"/>
              <a:gd name="connsiteX1" fmla="*/ 13341 w 2865359"/>
              <a:gd name="connsiteY1" fmla="*/ 193255 h 1072605"/>
              <a:gd name="connsiteX2" fmla="*/ 21089 w 2865359"/>
              <a:gd name="connsiteY2" fmla="*/ 424237 h 1072605"/>
              <a:gd name="connsiteX3" fmla="*/ 0 w 2865359"/>
              <a:gd name="connsiteY3" fmla="*/ 638550 h 1072605"/>
              <a:gd name="connsiteX4" fmla="*/ 103262 w 2865359"/>
              <a:gd name="connsiteY4" fmla="*/ 1033836 h 1072605"/>
              <a:gd name="connsiteX5" fmla="*/ 591119 w 2865359"/>
              <a:gd name="connsiteY5" fmla="*/ 995737 h 1072605"/>
              <a:gd name="connsiteX6" fmla="*/ 929320 w 2865359"/>
              <a:gd name="connsiteY6" fmla="*/ 1029072 h 1072605"/>
              <a:gd name="connsiteX7" fmla="*/ 1232563 w 2865359"/>
              <a:gd name="connsiteY7" fmla="*/ 1031455 h 1072605"/>
              <a:gd name="connsiteX8" fmla="*/ 1641058 w 2865359"/>
              <a:gd name="connsiteY8" fmla="*/ 1055269 h 1072605"/>
              <a:gd name="connsiteX9" fmla="*/ 1879270 w 2865359"/>
              <a:gd name="connsiteY9" fmla="*/ 1062411 h 1072605"/>
              <a:gd name="connsiteX10" fmla="*/ 2067111 w 2865359"/>
              <a:gd name="connsiteY10" fmla="*/ 1035520 h 1072605"/>
              <a:gd name="connsiteX11" fmla="*/ 2284495 w 2865359"/>
              <a:gd name="connsiteY11" fmla="*/ 1062412 h 1072605"/>
              <a:gd name="connsiteX12" fmla="*/ 2439600 w 2865359"/>
              <a:gd name="connsiteY12" fmla="*/ 1069554 h 1072605"/>
              <a:gd name="connsiteX13" fmla="*/ 2559764 w 2865359"/>
              <a:gd name="connsiteY13" fmla="*/ 1014787 h 1072605"/>
              <a:gd name="connsiteX14" fmla="*/ 2705908 w 2865359"/>
              <a:gd name="connsiteY14" fmla="*/ 564730 h 1072605"/>
              <a:gd name="connsiteX15" fmla="*/ 2766066 w 2865359"/>
              <a:gd name="connsiteY15" fmla="*/ 407568 h 1072605"/>
              <a:gd name="connsiteX16" fmla="*/ 2856553 w 2865359"/>
              <a:gd name="connsiteY16" fmla="*/ 226593 h 1072605"/>
              <a:gd name="connsiteX17" fmla="*/ 2851791 w 2865359"/>
              <a:gd name="connsiteY17" fmla="*/ 136106 h 1072605"/>
              <a:gd name="connsiteX18" fmla="*/ 2773988 w 2865359"/>
              <a:gd name="connsiteY18" fmla="*/ 74193 h 1072605"/>
              <a:gd name="connsiteX19" fmla="*/ 2533935 w 2865359"/>
              <a:gd name="connsiteY19" fmla="*/ 40855 h 1072605"/>
              <a:gd name="connsiteX20" fmla="*/ 2052184 w 2865359"/>
              <a:gd name="connsiteY20" fmla="*/ 40856 h 1072605"/>
              <a:gd name="connsiteX21" fmla="*/ 1720301 w 2865359"/>
              <a:gd name="connsiteY21" fmla="*/ 43236 h 1072605"/>
              <a:gd name="connsiteX22" fmla="*/ 1215125 w 2865359"/>
              <a:gd name="connsiteY22" fmla="*/ 45618 h 1072605"/>
              <a:gd name="connsiteX23" fmla="*/ 890993 w 2865359"/>
              <a:gd name="connsiteY23" fmla="*/ 12280 h 1072605"/>
              <a:gd name="connsiteX24" fmla="*/ 603227 w 2865359"/>
              <a:gd name="connsiteY24" fmla="*/ 21805 h 1072605"/>
              <a:gd name="connsiteX25" fmla="*/ 337586 w 2865359"/>
              <a:gd name="connsiteY25" fmla="*/ 7518 h 1072605"/>
              <a:gd name="connsiteX26" fmla="*/ 60966 w 2865359"/>
              <a:gd name="connsiteY26" fmla="*/ 21805 h 1072605"/>
              <a:gd name="connsiteX0" fmla="*/ 60966 w 2865359"/>
              <a:gd name="connsiteY0" fmla="*/ 21805 h 1079556"/>
              <a:gd name="connsiteX1" fmla="*/ 13341 w 2865359"/>
              <a:gd name="connsiteY1" fmla="*/ 193255 h 1079556"/>
              <a:gd name="connsiteX2" fmla="*/ 21089 w 2865359"/>
              <a:gd name="connsiteY2" fmla="*/ 424237 h 1079556"/>
              <a:gd name="connsiteX3" fmla="*/ 0 w 2865359"/>
              <a:gd name="connsiteY3" fmla="*/ 638550 h 1079556"/>
              <a:gd name="connsiteX4" fmla="*/ 103262 w 2865359"/>
              <a:gd name="connsiteY4" fmla="*/ 1033836 h 1079556"/>
              <a:gd name="connsiteX5" fmla="*/ 489287 w 2865359"/>
              <a:gd name="connsiteY5" fmla="*/ 1048124 h 1079556"/>
              <a:gd name="connsiteX6" fmla="*/ 929320 w 2865359"/>
              <a:gd name="connsiteY6" fmla="*/ 1029072 h 1079556"/>
              <a:gd name="connsiteX7" fmla="*/ 1232563 w 2865359"/>
              <a:gd name="connsiteY7" fmla="*/ 1031455 h 1079556"/>
              <a:gd name="connsiteX8" fmla="*/ 1641058 w 2865359"/>
              <a:gd name="connsiteY8" fmla="*/ 1055269 h 1079556"/>
              <a:gd name="connsiteX9" fmla="*/ 1879270 w 2865359"/>
              <a:gd name="connsiteY9" fmla="*/ 1062411 h 1079556"/>
              <a:gd name="connsiteX10" fmla="*/ 2067111 w 2865359"/>
              <a:gd name="connsiteY10" fmla="*/ 1035520 h 1079556"/>
              <a:gd name="connsiteX11" fmla="*/ 2284495 w 2865359"/>
              <a:gd name="connsiteY11" fmla="*/ 1062412 h 1079556"/>
              <a:gd name="connsiteX12" fmla="*/ 2439600 w 2865359"/>
              <a:gd name="connsiteY12" fmla="*/ 1069554 h 1079556"/>
              <a:gd name="connsiteX13" fmla="*/ 2559764 w 2865359"/>
              <a:gd name="connsiteY13" fmla="*/ 1014787 h 1079556"/>
              <a:gd name="connsiteX14" fmla="*/ 2705908 w 2865359"/>
              <a:gd name="connsiteY14" fmla="*/ 564730 h 1079556"/>
              <a:gd name="connsiteX15" fmla="*/ 2766066 w 2865359"/>
              <a:gd name="connsiteY15" fmla="*/ 407568 h 1079556"/>
              <a:gd name="connsiteX16" fmla="*/ 2856553 w 2865359"/>
              <a:gd name="connsiteY16" fmla="*/ 226593 h 1079556"/>
              <a:gd name="connsiteX17" fmla="*/ 2851791 w 2865359"/>
              <a:gd name="connsiteY17" fmla="*/ 136106 h 1079556"/>
              <a:gd name="connsiteX18" fmla="*/ 2773988 w 2865359"/>
              <a:gd name="connsiteY18" fmla="*/ 74193 h 1079556"/>
              <a:gd name="connsiteX19" fmla="*/ 2533935 w 2865359"/>
              <a:gd name="connsiteY19" fmla="*/ 40855 h 1079556"/>
              <a:gd name="connsiteX20" fmla="*/ 2052184 w 2865359"/>
              <a:gd name="connsiteY20" fmla="*/ 40856 h 1079556"/>
              <a:gd name="connsiteX21" fmla="*/ 1720301 w 2865359"/>
              <a:gd name="connsiteY21" fmla="*/ 43236 h 1079556"/>
              <a:gd name="connsiteX22" fmla="*/ 1215125 w 2865359"/>
              <a:gd name="connsiteY22" fmla="*/ 45618 h 1079556"/>
              <a:gd name="connsiteX23" fmla="*/ 890993 w 2865359"/>
              <a:gd name="connsiteY23" fmla="*/ 12280 h 1079556"/>
              <a:gd name="connsiteX24" fmla="*/ 603227 w 2865359"/>
              <a:gd name="connsiteY24" fmla="*/ 21805 h 1079556"/>
              <a:gd name="connsiteX25" fmla="*/ 337586 w 2865359"/>
              <a:gd name="connsiteY25" fmla="*/ 7518 h 1079556"/>
              <a:gd name="connsiteX26" fmla="*/ 60966 w 2865359"/>
              <a:gd name="connsiteY26" fmla="*/ 21805 h 1079556"/>
              <a:gd name="connsiteX0" fmla="*/ 60966 w 2865359"/>
              <a:gd name="connsiteY0" fmla="*/ 21805 h 1079556"/>
              <a:gd name="connsiteX1" fmla="*/ 13341 w 2865359"/>
              <a:gd name="connsiteY1" fmla="*/ 193255 h 1079556"/>
              <a:gd name="connsiteX2" fmla="*/ 21089 w 2865359"/>
              <a:gd name="connsiteY2" fmla="*/ 424237 h 1079556"/>
              <a:gd name="connsiteX3" fmla="*/ 0 w 2865359"/>
              <a:gd name="connsiteY3" fmla="*/ 638550 h 1079556"/>
              <a:gd name="connsiteX4" fmla="*/ 103262 w 2865359"/>
              <a:gd name="connsiteY4" fmla="*/ 1033836 h 1079556"/>
              <a:gd name="connsiteX5" fmla="*/ 489287 w 2865359"/>
              <a:gd name="connsiteY5" fmla="*/ 1048124 h 1079556"/>
              <a:gd name="connsiteX6" fmla="*/ 929320 w 2865359"/>
              <a:gd name="connsiteY6" fmla="*/ 1029072 h 1079556"/>
              <a:gd name="connsiteX7" fmla="*/ 1232563 w 2865359"/>
              <a:gd name="connsiteY7" fmla="*/ 1031455 h 1079556"/>
              <a:gd name="connsiteX8" fmla="*/ 1641058 w 2865359"/>
              <a:gd name="connsiteY8" fmla="*/ 1055269 h 1079556"/>
              <a:gd name="connsiteX9" fmla="*/ 1879270 w 2865359"/>
              <a:gd name="connsiteY9" fmla="*/ 1062411 h 1079556"/>
              <a:gd name="connsiteX10" fmla="*/ 2067111 w 2865359"/>
              <a:gd name="connsiteY10" fmla="*/ 1035520 h 1079556"/>
              <a:gd name="connsiteX11" fmla="*/ 2284495 w 2865359"/>
              <a:gd name="connsiteY11" fmla="*/ 1062412 h 1079556"/>
              <a:gd name="connsiteX12" fmla="*/ 2439600 w 2865359"/>
              <a:gd name="connsiteY12" fmla="*/ 1069554 h 1079556"/>
              <a:gd name="connsiteX13" fmla="*/ 2559764 w 2865359"/>
              <a:gd name="connsiteY13" fmla="*/ 1014787 h 1079556"/>
              <a:gd name="connsiteX14" fmla="*/ 2705908 w 2865359"/>
              <a:gd name="connsiteY14" fmla="*/ 564730 h 1079556"/>
              <a:gd name="connsiteX15" fmla="*/ 2766066 w 2865359"/>
              <a:gd name="connsiteY15" fmla="*/ 407568 h 1079556"/>
              <a:gd name="connsiteX16" fmla="*/ 2856553 w 2865359"/>
              <a:gd name="connsiteY16" fmla="*/ 226593 h 1079556"/>
              <a:gd name="connsiteX17" fmla="*/ 2851791 w 2865359"/>
              <a:gd name="connsiteY17" fmla="*/ 136106 h 1079556"/>
              <a:gd name="connsiteX18" fmla="*/ 2773988 w 2865359"/>
              <a:gd name="connsiteY18" fmla="*/ 74193 h 1079556"/>
              <a:gd name="connsiteX19" fmla="*/ 2533935 w 2865359"/>
              <a:gd name="connsiteY19" fmla="*/ 40855 h 1079556"/>
              <a:gd name="connsiteX20" fmla="*/ 2052184 w 2865359"/>
              <a:gd name="connsiteY20" fmla="*/ 40856 h 1079556"/>
              <a:gd name="connsiteX21" fmla="*/ 1720301 w 2865359"/>
              <a:gd name="connsiteY21" fmla="*/ 43236 h 1079556"/>
              <a:gd name="connsiteX22" fmla="*/ 1215125 w 2865359"/>
              <a:gd name="connsiteY22" fmla="*/ 45618 h 1079556"/>
              <a:gd name="connsiteX23" fmla="*/ 890993 w 2865359"/>
              <a:gd name="connsiteY23" fmla="*/ 12280 h 1079556"/>
              <a:gd name="connsiteX24" fmla="*/ 603227 w 2865359"/>
              <a:gd name="connsiteY24" fmla="*/ 21805 h 1079556"/>
              <a:gd name="connsiteX25" fmla="*/ 337586 w 2865359"/>
              <a:gd name="connsiteY25" fmla="*/ 7518 h 1079556"/>
              <a:gd name="connsiteX26" fmla="*/ 60966 w 2865359"/>
              <a:gd name="connsiteY26" fmla="*/ 21805 h 1079556"/>
              <a:gd name="connsiteX0" fmla="*/ 60966 w 2865359"/>
              <a:gd name="connsiteY0" fmla="*/ 21805 h 1072605"/>
              <a:gd name="connsiteX1" fmla="*/ 13341 w 2865359"/>
              <a:gd name="connsiteY1" fmla="*/ 193255 h 1072605"/>
              <a:gd name="connsiteX2" fmla="*/ 21089 w 2865359"/>
              <a:gd name="connsiteY2" fmla="*/ 424237 h 1072605"/>
              <a:gd name="connsiteX3" fmla="*/ 0 w 2865359"/>
              <a:gd name="connsiteY3" fmla="*/ 638550 h 1072605"/>
              <a:gd name="connsiteX4" fmla="*/ 103262 w 2865359"/>
              <a:gd name="connsiteY4" fmla="*/ 1033836 h 1072605"/>
              <a:gd name="connsiteX5" fmla="*/ 489287 w 2865359"/>
              <a:gd name="connsiteY5" fmla="*/ 1048124 h 1072605"/>
              <a:gd name="connsiteX6" fmla="*/ 929320 w 2865359"/>
              <a:gd name="connsiteY6" fmla="*/ 1029072 h 1072605"/>
              <a:gd name="connsiteX7" fmla="*/ 1232563 w 2865359"/>
              <a:gd name="connsiteY7" fmla="*/ 1031455 h 1072605"/>
              <a:gd name="connsiteX8" fmla="*/ 1641058 w 2865359"/>
              <a:gd name="connsiteY8" fmla="*/ 1055269 h 1072605"/>
              <a:gd name="connsiteX9" fmla="*/ 1879270 w 2865359"/>
              <a:gd name="connsiteY9" fmla="*/ 1062411 h 1072605"/>
              <a:gd name="connsiteX10" fmla="*/ 2067111 w 2865359"/>
              <a:gd name="connsiteY10" fmla="*/ 1035520 h 1072605"/>
              <a:gd name="connsiteX11" fmla="*/ 2284495 w 2865359"/>
              <a:gd name="connsiteY11" fmla="*/ 1062412 h 1072605"/>
              <a:gd name="connsiteX12" fmla="*/ 2439600 w 2865359"/>
              <a:gd name="connsiteY12" fmla="*/ 1069554 h 1072605"/>
              <a:gd name="connsiteX13" fmla="*/ 2559764 w 2865359"/>
              <a:gd name="connsiteY13" fmla="*/ 1014787 h 1072605"/>
              <a:gd name="connsiteX14" fmla="*/ 2705908 w 2865359"/>
              <a:gd name="connsiteY14" fmla="*/ 564730 h 1072605"/>
              <a:gd name="connsiteX15" fmla="*/ 2766066 w 2865359"/>
              <a:gd name="connsiteY15" fmla="*/ 407568 h 1072605"/>
              <a:gd name="connsiteX16" fmla="*/ 2856553 w 2865359"/>
              <a:gd name="connsiteY16" fmla="*/ 226593 h 1072605"/>
              <a:gd name="connsiteX17" fmla="*/ 2851791 w 2865359"/>
              <a:gd name="connsiteY17" fmla="*/ 136106 h 1072605"/>
              <a:gd name="connsiteX18" fmla="*/ 2773988 w 2865359"/>
              <a:gd name="connsiteY18" fmla="*/ 74193 h 1072605"/>
              <a:gd name="connsiteX19" fmla="*/ 2533935 w 2865359"/>
              <a:gd name="connsiteY19" fmla="*/ 40855 h 1072605"/>
              <a:gd name="connsiteX20" fmla="*/ 2052184 w 2865359"/>
              <a:gd name="connsiteY20" fmla="*/ 40856 h 1072605"/>
              <a:gd name="connsiteX21" fmla="*/ 1720301 w 2865359"/>
              <a:gd name="connsiteY21" fmla="*/ 43236 h 1072605"/>
              <a:gd name="connsiteX22" fmla="*/ 1215125 w 2865359"/>
              <a:gd name="connsiteY22" fmla="*/ 45618 h 1072605"/>
              <a:gd name="connsiteX23" fmla="*/ 890993 w 2865359"/>
              <a:gd name="connsiteY23" fmla="*/ 12280 h 1072605"/>
              <a:gd name="connsiteX24" fmla="*/ 603227 w 2865359"/>
              <a:gd name="connsiteY24" fmla="*/ 21805 h 1072605"/>
              <a:gd name="connsiteX25" fmla="*/ 337586 w 2865359"/>
              <a:gd name="connsiteY25" fmla="*/ 7518 h 1072605"/>
              <a:gd name="connsiteX26" fmla="*/ 60966 w 2865359"/>
              <a:gd name="connsiteY26" fmla="*/ 21805 h 1072605"/>
              <a:gd name="connsiteX0" fmla="*/ 60966 w 2865359"/>
              <a:gd name="connsiteY0" fmla="*/ 21805 h 1072605"/>
              <a:gd name="connsiteX1" fmla="*/ 13341 w 2865359"/>
              <a:gd name="connsiteY1" fmla="*/ 193255 h 1072605"/>
              <a:gd name="connsiteX2" fmla="*/ 21089 w 2865359"/>
              <a:gd name="connsiteY2" fmla="*/ 424237 h 1072605"/>
              <a:gd name="connsiteX3" fmla="*/ 0 w 2865359"/>
              <a:gd name="connsiteY3" fmla="*/ 638550 h 1072605"/>
              <a:gd name="connsiteX4" fmla="*/ 103262 w 2865359"/>
              <a:gd name="connsiteY4" fmla="*/ 1033836 h 1072605"/>
              <a:gd name="connsiteX5" fmla="*/ 498834 w 2865359"/>
              <a:gd name="connsiteY5" fmla="*/ 1055267 h 1072605"/>
              <a:gd name="connsiteX6" fmla="*/ 929320 w 2865359"/>
              <a:gd name="connsiteY6" fmla="*/ 1029072 h 1072605"/>
              <a:gd name="connsiteX7" fmla="*/ 1232563 w 2865359"/>
              <a:gd name="connsiteY7" fmla="*/ 1031455 h 1072605"/>
              <a:gd name="connsiteX8" fmla="*/ 1641058 w 2865359"/>
              <a:gd name="connsiteY8" fmla="*/ 1055269 h 1072605"/>
              <a:gd name="connsiteX9" fmla="*/ 1879270 w 2865359"/>
              <a:gd name="connsiteY9" fmla="*/ 1062411 h 1072605"/>
              <a:gd name="connsiteX10" fmla="*/ 2067111 w 2865359"/>
              <a:gd name="connsiteY10" fmla="*/ 1035520 h 1072605"/>
              <a:gd name="connsiteX11" fmla="*/ 2284495 w 2865359"/>
              <a:gd name="connsiteY11" fmla="*/ 1062412 h 1072605"/>
              <a:gd name="connsiteX12" fmla="*/ 2439600 w 2865359"/>
              <a:gd name="connsiteY12" fmla="*/ 1069554 h 1072605"/>
              <a:gd name="connsiteX13" fmla="*/ 2559764 w 2865359"/>
              <a:gd name="connsiteY13" fmla="*/ 1014787 h 1072605"/>
              <a:gd name="connsiteX14" fmla="*/ 2705908 w 2865359"/>
              <a:gd name="connsiteY14" fmla="*/ 564730 h 1072605"/>
              <a:gd name="connsiteX15" fmla="*/ 2766066 w 2865359"/>
              <a:gd name="connsiteY15" fmla="*/ 407568 h 1072605"/>
              <a:gd name="connsiteX16" fmla="*/ 2856553 w 2865359"/>
              <a:gd name="connsiteY16" fmla="*/ 226593 h 1072605"/>
              <a:gd name="connsiteX17" fmla="*/ 2851791 w 2865359"/>
              <a:gd name="connsiteY17" fmla="*/ 136106 h 1072605"/>
              <a:gd name="connsiteX18" fmla="*/ 2773988 w 2865359"/>
              <a:gd name="connsiteY18" fmla="*/ 74193 h 1072605"/>
              <a:gd name="connsiteX19" fmla="*/ 2533935 w 2865359"/>
              <a:gd name="connsiteY19" fmla="*/ 40855 h 1072605"/>
              <a:gd name="connsiteX20" fmla="*/ 2052184 w 2865359"/>
              <a:gd name="connsiteY20" fmla="*/ 40856 h 1072605"/>
              <a:gd name="connsiteX21" fmla="*/ 1720301 w 2865359"/>
              <a:gd name="connsiteY21" fmla="*/ 43236 h 1072605"/>
              <a:gd name="connsiteX22" fmla="*/ 1215125 w 2865359"/>
              <a:gd name="connsiteY22" fmla="*/ 45618 h 1072605"/>
              <a:gd name="connsiteX23" fmla="*/ 890993 w 2865359"/>
              <a:gd name="connsiteY23" fmla="*/ 12280 h 1072605"/>
              <a:gd name="connsiteX24" fmla="*/ 603227 w 2865359"/>
              <a:gd name="connsiteY24" fmla="*/ 21805 h 1072605"/>
              <a:gd name="connsiteX25" fmla="*/ 337586 w 2865359"/>
              <a:gd name="connsiteY25" fmla="*/ 7518 h 1072605"/>
              <a:gd name="connsiteX26" fmla="*/ 60966 w 2865359"/>
              <a:gd name="connsiteY26" fmla="*/ 21805 h 1072605"/>
              <a:gd name="connsiteX0" fmla="*/ 60966 w 2865359"/>
              <a:gd name="connsiteY0" fmla="*/ 21805 h 1072605"/>
              <a:gd name="connsiteX1" fmla="*/ 13341 w 2865359"/>
              <a:gd name="connsiteY1" fmla="*/ 193255 h 1072605"/>
              <a:gd name="connsiteX2" fmla="*/ 21089 w 2865359"/>
              <a:gd name="connsiteY2" fmla="*/ 424237 h 1072605"/>
              <a:gd name="connsiteX3" fmla="*/ 0 w 2865359"/>
              <a:gd name="connsiteY3" fmla="*/ 638550 h 1072605"/>
              <a:gd name="connsiteX4" fmla="*/ 103262 w 2865359"/>
              <a:gd name="connsiteY4" fmla="*/ 1033836 h 1072605"/>
              <a:gd name="connsiteX5" fmla="*/ 498834 w 2865359"/>
              <a:gd name="connsiteY5" fmla="*/ 1055267 h 1072605"/>
              <a:gd name="connsiteX6" fmla="*/ 951597 w 2865359"/>
              <a:gd name="connsiteY6" fmla="*/ 1052884 h 1072605"/>
              <a:gd name="connsiteX7" fmla="*/ 1232563 w 2865359"/>
              <a:gd name="connsiteY7" fmla="*/ 1031455 h 1072605"/>
              <a:gd name="connsiteX8" fmla="*/ 1641058 w 2865359"/>
              <a:gd name="connsiteY8" fmla="*/ 1055269 h 1072605"/>
              <a:gd name="connsiteX9" fmla="*/ 1879270 w 2865359"/>
              <a:gd name="connsiteY9" fmla="*/ 1062411 h 1072605"/>
              <a:gd name="connsiteX10" fmla="*/ 2067111 w 2865359"/>
              <a:gd name="connsiteY10" fmla="*/ 1035520 h 1072605"/>
              <a:gd name="connsiteX11" fmla="*/ 2284495 w 2865359"/>
              <a:gd name="connsiteY11" fmla="*/ 1062412 h 1072605"/>
              <a:gd name="connsiteX12" fmla="*/ 2439600 w 2865359"/>
              <a:gd name="connsiteY12" fmla="*/ 1069554 h 1072605"/>
              <a:gd name="connsiteX13" fmla="*/ 2559764 w 2865359"/>
              <a:gd name="connsiteY13" fmla="*/ 1014787 h 1072605"/>
              <a:gd name="connsiteX14" fmla="*/ 2705908 w 2865359"/>
              <a:gd name="connsiteY14" fmla="*/ 564730 h 1072605"/>
              <a:gd name="connsiteX15" fmla="*/ 2766066 w 2865359"/>
              <a:gd name="connsiteY15" fmla="*/ 407568 h 1072605"/>
              <a:gd name="connsiteX16" fmla="*/ 2856553 w 2865359"/>
              <a:gd name="connsiteY16" fmla="*/ 226593 h 1072605"/>
              <a:gd name="connsiteX17" fmla="*/ 2851791 w 2865359"/>
              <a:gd name="connsiteY17" fmla="*/ 136106 h 1072605"/>
              <a:gd name="connsiteX18" fmla="*/ 2773988 w 2865359"/>
              <a:gd name="connsiteY18" fmla="*/ 74193 h 1072605"/>
              <a:gd name="connsiteX19" fmla="*/ 2533935 w 2865359"/>
              <a:gd name="connsiteY19" fmla="*/ 40855 h 1072605"/>
              <a:gd name="connsiteX20" fmla="*/ 2052184 w 2865359"/>
              <a:gd name="connsiteY20" fmla="*/ 40856 h 1072605"/>
              <a:gd name="connsiteX21" fmla="*/ 1720301 w 2865359"/>
              <a:gd name="connsiteY21" fmla="*/ 43236 h 1072605"/>
              <a:gd name="connsiteX22" fmla="*/ 1215125 w 2865359"/>
              <a:gd name="connsiteY22" fmla="*/ 45618 h 1072605"/>
              <a:gd name="connsiteX23" fmla="*/ 890993 w 2865359"/>
              <a:gd name="connsiteY23" fmla="*/ 12280 h 1072605"/>
              <a:gd name="connsiteX24" fmla="*/ 603227 w 2865359"/>
              <a:gd name="connsiteY24" fmla="*/ 21805 h 1072605"/>
              <a:gd name="connsiteX25" fmla="*/ 337586 w 2865359"/>
              <a:gd name="connsiteY25" fmla="*/ 7518 h 1072605"/>
              <a:gd name="connsiteX26" fmla="*/ 60966 w 2865359"/>
              <a:gd name="connsiteY26" fmla="*/ 21805 h 1072605"/>
              <a:gd name="connsiteX0" fmla="*/ 60966 w 2932369"/>
              <a:gd name="connsiteY0" fmla="*/ 21805 h 1075536"/>
              <a:gd name="connsiteX1" fmla="*/ 13341 w 2932369"/>
              <a:gd name="connsiteY1" fmla="*/ 193255 h 1075536"/>
              <a:gd name="connsiteX2" fmla="*/ 21089 w 2932369"/>
              <a:gd name="connsiteY2" fmla="*/ 424237 h 1075536"/>
              <a:gd name="connsiteX3" fmla="*/ 0 w 2932369"/>
              <a:gd name="connsiteY3" fmla="*/ 638550 h 1075536"/>
              <a:gd name="connsiteX4" fmla="*/ 103262 w 2932369"/>
              <a:gd name="connsiteY4" fmla="*/ 1033836 h 1075536"/>
              <a:gd name="connsiteX5" fmla="*/ 498834 w 2932369"/>
              <a:gd name="connsiteY5" fmla="*/ 1055267 h 1075536"/>
              <a:gd name="connsiteX6" fmla="*/ 951597 w 2932369"/>
              <a:gd name="connsiteY6" fmla="*/ 1052884 h 1075536"/>
              <a:gd name="connsiteX7" fmla="*/ 1232563 w 2932369"/>
              <a:gd name="connsiteY7" fmla="*/ 1031455 h 1075536"/>
              <a:gd name="connsiteX8" fmla="*/ 1641058 w 2932369"/>
              <a:gd name="connsiteY8" fmla="*/ 1055269 h 1075536"/>
              <a:gd name="connsiteX9" fmla="*/ 1879270 w 2932369"/>
              <a:gd name="connsiteY9" fmla="*/ 1062411 h 1075536"/>
              <a:gd name="connsiteX10" fmla="*/ 2067111 w 2932369"/>
              <a:gd name="connsiteY10" fmla="*/ 1035520 h 1075536"/>
              <a:gd name="connsiteX11" fmla="*/ 2284495 w 2932369"/>
              <a:gd name="connsiteY11" fmla="*/ 1062412 h 1075536"/>
              <a:gd name="connsiteX12" fmla="*/ 2439600 w 2932369"/>
              <a:gd name="connsiteY12" fmla="*/ 1069554 h 1075536"/>
              <a:gd name="connsiteX13" fmla="*/ 2926880 w 2932369"/>
              <a:gd name="connsiteY13" fmla="*/ 974616 h 1075536"/>
              <a:gd name="connsiteX14" fmla="*/ 2705908 w 2932369"/>
              <a:gd name="connsiteY14" fmla="*/ 564730 h 1075536"/>
              <a:gd name="connsiteX15" fmla="*/ 2766066 w 2932369"/>
              <a:gd name="connsiteY15" fmla="*/ 407568 h 1075536"/>
              <a:gd name="connsiteX16" fmla="*/ 2856553 w 2932369"/>
              <a:gd name="connsiteY16" fmla="*/ 226593 h 1075536"/>
              <a:gd name="connsiteX17" fmla="*/ 2851791 w 2932369"/>
              <a:gd name="connsiteY17" fmla="*/ 136106 h 1075536"/>
              <a:gd name="connsiteX18" fmla="*/ 2773988 w 2932369"/>
              <a:gd name="connsiteY18" fmla="*/ 74193 h 1075536"/>
              <a:gd name="connsiteX19" fmla="*/ 2533935 w 2932369"/>
              <a:gd name="connsiteY19" fmla="*/ 40855 h 1075536"/>
              <a:gd name="connsiteX20" fmla="*/ 2052184 w 2932369"/>
              <a:gd name="connsiteY20" fmla="*/ 40856 h 1075536"/>
              <a:gd name="connsiteX21" fmla="*/ 1720301 w 2932369"/>
              <a:gd name="connsiteY21" fmla="*/ 43236 h 1075536"/>
              <a:gd name="connsiteX22" fmla="*/ 1215125 w 2932369"/>
              <a:gd name="connsiteY22" fmla="*/ 45618 h 1075536"/>
              <a:gd name="connsiteX23" fmla="*/ 890993 w 2932369"/>
              <a:gd name="connsiteY23" fmla="*/ 12280 h 1075536"/>
              <a:gd name="connsiteX24" fmla="*/ 603227 w 2932369"/>
              <a:gd name="connsiteY24" fmla="*/ 21805 h 1075536"/>
              <a:gd name="connsiteX25" fmla="*/ 337586 w 2932369"/>
              <a:gd name="connsiteY25" fmla="*/ 7518 h 1075536"/>
              <a:gd name="connsiteX26" fmla="*/ 60966 w 2932369"/>
              <a:gd name="connsiteY26" fmla="*/ 21805 h 1075536"/>
              <a:gd name="connsiteX0" fmla="*/ 60966 w 2974004"/>
              <a:gd name="connsiteY0" fmla="*/ 21805 h 1075536"/>
              <a:gd name="connsiteX1" fmla="*/ 13341 w 2974004"/>
              <a:gd name="connsiteY1" fmla="*/ 193255 h 1075536"/>
              <a:gd name="connsiteX2" fmla="*/ 21089 w 2974004"/>
              <a:gd name="connsiteY2" fmla="*/ 424237 h 1075536"/>
              <a:gd name="connsiteX3" fmla="*/ 0 w 2974004"/>
              <a:gd name="connsiteY3" fmla="*/ 638550 h 1075536"/>
              <a:gd name="connsiteX4" fmla="*/ 103262 w 2974004"/>
              <a:gd name="connsiteY4" fmla="*/ 1033836 h 1075536"/>
              <a:gd name="connsiteX5" fmla="*/ 498834 w 2974004"/>
              <a:gd name="connsiteY5" fmla="*/ 1055267 h 1075536"/>
              <a:gd name="connsiteX6" fmla="*/ 951597 w 2974004"/>
              <a:gd name="connsiteY6" fmla="*/ 1052884 h 1075536"/>
              <a:gd name="connsiteX7" fmla="*/ 1232563 w 2974004"/>
              <a:gd name="connsiteY7" fmla="*/ 1031455 h 1075536"/>
              <a:gd name="connsiteX8" fmla="*/ 1641058 w 2974004"/>
              <a:gd name="connsiteY8" fmla="*/ 1055269 h 1075536"/>
              <a:gd name="connsiteX9" fmla="*/ 1879270 w 2974004"/>
              <a:gd name="connsiteY9" fmla="*/ 1062411 h 1075536"/>
              <a:gd name="connsiteX10" fmla="*/ 2067111 w 2974004"/>
              <a:gd name="connsiteY10" fmla="*/ 1035520 h 1075536"/>
              <a:gd name="connsiteX11" fmla="*/ 2284495 w 2974004"/>
              <a:gd name="connsiteY11" fmla="*/ 1062412 h 1075536"/>
              <a:gd name="connsiteX12" fmla="*/ 2439600 w 2974004"/>
              <a:gd name="connsiteY12" fmla="*/ 1069554 h 1075536"/>
              <a:gd name="connsiteX13" fmla="*/ 2926880 w 2974004"/>
              <a:gd name="connsiteY13" fmla="*/ 974616 h 1075536"/>
              <a:gd name="connsiteX14" fmla="*/ 2936775 w 2974004"/>
              <a:gd name="connsiteY14" fmla="*/ 557427 h 1075536"/>
              <a:gd name="connsiteX15" fmla="*/ 2766066 w 2974004"/>
              <a:gd name="connsiteY15" fmla="*/ 407568 h 1075536"/>
              <a:gd name="connsiteX16" fmla="*/ 2856553 w 2974004"/>
              <a:gd name="connsiteY16" fmla="*/ 226593 h 1075536"/>
              <a:gd name="connsiteX17" fmla="*/ 2851791 w 2974004"/>
              <a:gd name="connsiteY17" fmla="*/ 136106 h 1075536"/>
              <a:gd name="connsiteX18" fmla="*/ 2773988 w 2974004"/>
              <a:gd name="connsiteY18" fmla="*/ 74193 h 1075536"/>
              <a:gd name="connsiteX19" fmla="*/ 2533935 w 2974004"/>
              <a:gd name="connsiteY19" fmla="*/ 40855 h 1075536"/>
              <a:gd name="connsiteX20" fmla="*/ 2052184 w 2974004"/>
              <a:gd name="connsiteY20" fmla="*/ 40856 h 1075536"/>
              <a:gd name="connsiteX21" fmla="*/ 1720301 w 2974004"/>
              <a:gd name="connsiteY21" fmla="*/ 43236 h 1075536"/>
              <a:gd name="connsiteX22" fmla="*/ 1215125 w 2974004"/>
              <a:gd name="connsiteY22" fmla="*/ 45618 h 1075536"/>
              <a:gd name="connsiteX23" fmla="*/ 890993 w 2974004"/>
              <a:gd name="connsiteY23" fmla="*/ 12280 h 1075536"/>
              <a:gd name="connsiteX24" fmla="*/ 603227 w 2974004"/>
              <a:gd name="connsiteY24" fmla="*/ 21805 h 1075536"/>
              <a:gd name="connsiteX25" fmla="*/ 337586 w 2974004"/>
              <a:gd name="connsiteY25" fmla="*/ 7518 h 1075536"/>
              <a:gd name="connsiteX26" fmla="*/ 60966 w 2974004"/>
              <a:gd name="connsiteY26" fmla="*/ 21805 h 1075536"/>
              <a:gd name="connsiteX0" fmla="*/ 60966 w 2965297"/>
              <a:gd name="connsiteY0" fmla="*/ 21805 h 1075536"/>
              <a:gd name="connsiteX1" fmla="*/ 13341 w 2965297"/>
              <a:gd name="connsiteY1" fmla="*/ 193255 h 1075536"/>
              <a:gd name="connsiteX2" fmla="*/ 21089 w 2965297"/>
              <a:gd name="connsiteY2" fmla="*/ 424237 h 1075536"/>
              <a:gd name="connsiteX3" fmla="*/ 0 w 2965297"/>
              <a:gd name="connsiteY3" fmla="*/ 638550 h 1075536"/>
              <a:gd name="connsiteX4" fmla="*/ 103262 w 2965297"/>
              <a:gd name="connsiteY4" fmla="*/ 1033836 h 1075536"/>
              <a:gd name="connsiteX5" fmla="*/ 498834 w 2965297"/>
              <a:gd name="connsiteY5" fmla="*/ 1055267 h 1075536"/>
              <a:gd name="connsiteX6" fmla="*/ 951597 w 2965297"/>
              <a:gd name="connsiteY6" fmla="*/ 1052884 h 1075536"/>
              <a:gd name="connsiteX7" fmla="*/ 1232563 w 2965297"/>
              <a:gd name="connsiteY7" fmla="*/ 1031455 h 1075536"/>
              <a:gd name="connsiteX8" fmla="*/ 1641058 w 2965297"/>
              <a:gd name="connsiteY8" fmla="*/ 1055269 h 1075536"/>
              <a:gd name="connsiteX9" fmla="*/ 1879270 w 2965297"/>
              <a:gd name="connsiteY9" fmla="*/ 1062411 h 1075536"/>
              <a:gd name="connsiteX10" fmla="*/ 2067111 w 2965297"/>
              <a:gd name="connsiteY10" fmla="*/ 1035520 h 1075536"/>
              <a:gd name="connsiteX11" fmla="*/ 2284495 w 2965297"/>
              <a:gd name="connsiteY11" fmla="*/ 1062412 h 1075536"/>
              <a:gd name="connsiteX12" fmla="*/ 2439600 w 2965297"/>
              <a:gd name="connsiteY12" fmla="*/ 1069554 h 1075536"/>
              <a:gd name="connsiteX13" fmla="*/ 2926880 w 2965297"/>
              <a:gd name="connsiteY13" fmla="*/ 974616 h 1075536"/>
              <a:gd name="connsiteX14" fmla="*/ 2936775 w 2965297"/>
              <a:gd name="connsiteY14" fmla="*/ 557427 h 1075536"/>
              <a:gd name="connsiteX15" fmla="*/ 2955301 w 2965297"/>
              <a:gd name="connsiteY15" fmla="*/ 371049 h 1075536"/>
              <a:gd name="connsiteX16" fmla="*/ 2856553 w 2965297"/>
              <a:gd name="connsiteY16" fmla="*/ 226593 h 1075536"/>
              <a:gd name="connsiteX17" fmla="*/ 2851791 w 2965297"/>
              <a:gd name="connsiteY17" fmla="*/ 136106 h 1075536"/>
              <a:gd name="connsiteX18" fmla="*/ 2773988 w 2965297"/>
              <a:gd name="connsiteY18" fmla="*/ 74193 h 1075536"/>
              <a:gd name="connsiteX19" fmla="*/ 2533935 w 2965297"/>
              <a:gd name="connsiteY19" fmla="*/ 40855 h 1075536"/>
              <a:gd name="connsiteX20" fmla="*/ 2052184 w 2965297"/>
              <a:gd name="connsiteY20" fmla="*/ 40856 h 1075536"/>
              <a:gd name="connsiteX21" fmla="*/ 1720301 w 2965297"/>
              <a:gd name="connsiteY21" fmla="*/ 43236 h 1075536"/>
              <a:gd name="connsiteX22" fmla="*/ 1215125 w 2965297"/>
              <a:gd name="connsiteY22" fmla="*/ 45618 h 1075536"/>
              <a:gd name="connsiteX23" fmla="*/ 890993 w 2965297"/>
              <a:gd name="connsiteY23" fmla="*/ 12280 h 1075536"/>
              <a:gd name="connsiteX24" fmla="*/ 603227 w 2965297"/>
              <a:gd name="connsiteY24" fmla="*/ 21805 h 1075536"/>
              <a:gd name="connsiteX25" fmla="*/ 337586 w 2965297"/>
              <a:gd name="connsiteY25" fmla="*/ 7518 h 1075536"/>
              <a:gd name="connsiteX26" fmla="*/ 60966 w 2965297"/>
              <a:gd name="connsiteY26" fmla="*/ 21805 h 1075536"/>
              <a:gd name="connsiteX0" fmla="*/ 60966 w 2982416"/>
              <a:gd name="connsiteY0" fmla="*/ 21805 h 1075536"/>
              <a:gd name="connsiteX1" fmla="*/ 13341 w 2982416"/>
              <a:gd name="connsiteY1" fmla="*/ 193255 h 1075536"/>
              <a:gd name="connsiteX2" fmla="*/ 21089 w 2982416"/>
              <a:gd name="connsiteY2" fmla="*/ 424237 h 1075536"/>
              <a:gd name="connsiteX3" fmla="*/ 0 w 2982416"/>
              <a:gd name="connsiteY3" fmla="*/ 638550 h 1075536"/>
              <a:gd name="connsiteX4" fmla="*/ 103262 w 2982416"/>
              <a:gd name="connsiteY4" fmla="*/ 1033836 h 1075536"/>
              <a:gd name="connsiteX5" fmla="*/ 498834 w 2982416"/>
              <a:gd name="connsiteY5" fmla="*/ 1055267 h 1075536"/>
              <a:gd name="connsiteX6" fmla="*/ 951597 w 2982416"/>
              <a:gd name="connsiteY6" fmla="*/ 1052884 h 1075536"/>
              <a:gd name="connsiteX7" fmla="*/ 1232563 w 2982416"/>
              <a:gd name="connsiteY7" fmla="*/ 1031455 h 1075536"/>
              <a:gd name="connsiteX8" fmla="*/ 1641058 w 2982416"/>
              <a:gd name="connsiteY8" fmla="*/ 1055269 h 1075536"/>
              <a:gd name="connsiteX9" fmla="*/ 1879270 w 2982416"/>
              <a:gd name="connsiteY9" fmla="*/ 1062411 h 1075536"/>
              <a:gd name="connsiteX10" fmla="*/ 2067111 w 2982416"/>
              <a:gd name="connsiteY10" fmla="*/ 1035520 h 1075536"/>
              <a:gd name="connsiteX11" fmla="*/ 2284495 w 2982416"/>
              <a:gd name="connsiteY11" fmla="*/ 1062412 h 1075536"/>
              <a:gd name="connsiteX12" fmla="*/ 2439600 w 2982416"/>
              <a:gd name="connsiteY12" fmla="*/ 1069554 h 1075536"/>
              <a:gd name="connsiteX13" fmla="*/ 2926880 w 2982416"/>
              <a:gd name="connsiteY13" fmla="*/ 974616 h 1075536"/>
              <a:gd name="connsiteX14" fmla="*/ 2974622 w 2982416"/>
              <a:gd name="connsiteY14" fmla="*/ 557427 h 1075536"/>
              <a:gd name="connsiteX15" fmla="*/ 2955301 w 2982416"/>
              <a:gd name="connsiteY15" fmla="*/ 371049 h 1075536"/>
              <a:gd name="connsiteX16" fmla="*/ 2856553 w 2982416"/>
              <a:gd name="connsiteY16" fmla="*/ 226593 h 1075536"/>
              <a:gd name="connsiteX17" fmla="*/ 2851791 w 2982416"/>
              <a:gd name="connsiteY17" fmla="*/ 136106 h 1075536"/>
              <a:gd name="connsiteX18" fmla="*/ 2773988 w 2982416"/>
              <a:gd name="connsiteY18" fmla="*/ 74193 h 1075536"/>
              <a:gd name="connsiteX19" fmla="*/ 2533935 w 2982416"/>
              <a:gd name="connsiteY19" fmla="*/ 40855 h 1075536"/>
              <a:gd name="connsiteX20" fmla="*/ 2052184 w 2982416"/>
              <a:gd name="connsiteY20" fmla="*/ 40856 h 1075536"/>
              <a:gd name="connsiteX21" fmla="*/ 1720301 w 2982416"/>
              <a:gd name="connsiteY21" fmla="*/ 43236 h 1075536"/>
              <a:gd name="connsiteX22" fmla="*/ 1215125 w 2982416"/>
              <a:gd name="connsiteY22" fmla="*/ 45618 h 1075536"/>
              <a:gd name="connsiteX23" fmla="*/ 890993 w 2982416"/>
              <a:gd name="connsiteY23" fmla="*/ 12280 h 1075536"/>
              <a:gd name="connsiteX24" fmla="*/ 603227 w 2982416"/>
              <a:gd name="connsiteY24" fmla="*/ 21805 h 1075536"/>
              <a:gd name="connsiteX25" fmla="*/ 337586 w 2982416"/>
              <a:gd name="connsiteY25" fmla="*/ 7518 h 1075536"/>
              <a:gd name="connsiteX26" fmla="*/ 60966 w 2982416"/>
              <a:gd name="connsiteY26" fmla="*/ 21805 h 1075536"/>
              <a:gd name="connsiteX0" fmla="*/ 83399 w 3004849"/>
              <a:gd name="connsiteY0" fmla="*/ 21805 h 1075536"/>
              <a:gd name="connsiteX1" fmla="*/ 35774 w 3004849"/>
              <a:gd name="connsiteY1" fmla="*/ 193255 h 1075536"/>
              <a:gd name="connsiteX2" fmla="*/ 9460 w 3004849"/>
              <a:gd name="connsiteY2" fmla="*/ 395022 h 1075536"/>
              <a:gd name="connsiteX3" fmla="*/ 22433 w 3004849"/>
              <a:gd name="connsiteY3" fmla="*/ 638550 h 1075536"/>
              <a:gd name="connsiteX4" fmla="*/ 125695 w 3004849"/>
              <a:gd name="connsiteY4" fmla="*/ 1033836 h 1075536"/>
              <a:gd name="connsiteX5" fmla="*/ 521267 w 3004849"/>
              <a:gd name="connsiteY5" fmla="*/ 1055267 h 1075536"/>
              <a:gd name="connsiteX6" fmla="*/ 974030 w 3004849"/>
              <a:gd name="connsiteY6" fmla="*/ 1052884 h 1075536"/>
              <a:gd name="connsiteX7" fmla="*/ 1254996 w 3004849"/>
              <a:gd name="connsiteY7" fmla="*/ 1031455 h 1075536"/>
              <a:gd name="connsiteX8" fmla="*/ 1663491 w 3004849"/>
              <a:gd name="connsiteY8" fmla="*/ 1055269 h 1075536"/>
              <a:gd name="connsiteX9" fmla="*/ 1901703 w 3004849"/>
              <a:gd name="connsiteY9" fmla="*/ 1062411 h 1075536"/>
              <a:gd name="connsiteX10" fmla="*/ 2089544 w 3004849"/>
              <a:gd name="connsiteY10" fmla="*/ 1035520 h 1075536"/>
              <a:gd name="connsiteX11" fmla="*/ 2306928 w 3004849"/>
              <a:gd name="connsiteY11" fmla="*/ 1062412 h 1075536"/>
              <a:gd name="connsiteX12" fmla="*/ 2462033 w 3004849"/>
              <a:gd name="connsiteY12" fmla="*/ 1069554 h 1075536"/>
              <a:gd name="connsiteX13" fmla="*/ 2949313 w 3004849"/>
              <a:gd name="connsiteY13" fmla="*/ 974616 h 1075536"/>
              <a:gd name="connsiteX14" fmla="*/ 2997055 w 3004849"/>
              <a:gd name="connsiteY14" fmla="*/ 557427 h 1075536"/>
              <a:gd name="connsiteX15" fmla="*/ 2977734 w 3004849"/>
              <a:gd name="connsiteY15" fmla="*/ 371049 h 1075536"/>
              <a:gd name="connsiteX16" fmla="*/ 2878986 w 3004849"/>
              <a:gd name="connsiteY16" fmla="*/ 226593 h 1075536"/>
              <a:gd name="connsiteX17" fmla="*/ 2874224 w 3004849"/>
              <a:gd name="connsiteY17" fmla="*/ 136106 h 1075536"/>
              <a:gd name="connsiteX18" fmla="*/ 2796421 w 3004849"/>
              <a:gd name="connsiteY18" fmla="*/ 74193 h 1075536"/>
              <a:gd name="connsiteX19" fmla="*/ 2556368 w 3004849"/>
              <a:gd name="connsiteY19" fmla="*/ 40855 h 1075536"/>
              <a:gd name="connsiteX20" fmla="*/ 2074617 w 3004849"/>
              <a:gd name="connsiteY20" fmla="*/ 40856 h 1075536"/>
              <a:gd name="connsiteX21" fmla="*/ 1742734 w 3004849"/>
              <a:gd name="connsiteY21" fmla="*/ 43236 h 1075536"/>
              <a:gd name="connsiteX22" fmla="*/ 1237558 w 3004849"/>
              <a:gd name="connsiteY22" fmla="*/ 45618 h 1075536"/>
              <a:gd name="connsiteX23" fmla="*/ 913426 w 3004849"/>
              <a:gd name="connsiteY23" fmla="*/ 12280 h 1075536"/>
              <a:gd name="connsiteX24" fmla="*/ 625660 w 3004849"/>
              <a:gd name="connsiteY24" fmla="*/ 21805 h 1075536"/>
              <a:gd name="connsiteX25" fmla="*/ 360019 w 3004849"/>
              <a:gd name="connsiteY25" fmla="*/ 7518 h 1075536"/>
              <a:gd name="connsiteX26" fmla="*/ 83399 w 3004849"/>
              <a:gd name="connsiteY26" fmla="*/ 21805 h 1075536"/>
              <a:gd name="connsiteX0" fmla="*/ 83399 w 3004849"/>
              <a:gd name="connsiteY0" fmla="*/ 21805 h 1323584"/>
              <a:gd name="connsiteX1" fmla="*/ 35774 w 3004849"/>
              <a:gd name="connsiteY1" fmla="*/ 193255 h 1323584"/>
              <a:gd name="connsiteX2" fmla="*/ 9460 w 3004849"/>
              <a:gd name="connsiteY2" fmla="*/ 395022 h 1323584"/>
              <a:gd name="connsiteX3" fmla="*/ 22433 w 3004849"/>
              <a:gd name="connsiteY3" fmla="*/ 638550 h 1323584"/>
              <a:gd name="connsiteX4" fmla="*/ 125695 w 3004849"/>
              <a:gd name="connsiteY4" fmla="*/ 1033836 h 1323584"/>
              <a:gd name="connsiteX5" fmla="*/ 668870 w 3004849"/>
              <a:gd name="connsiteY5" fmla="*/ 1321854 h 1323584"/>
              <a:gd name="connsiteX6" fmla="*/ 974030 w 3004849"/>
              <a:gd name="connsiteY6" fmla="*/ 1052884 h 1323584"/>
              <a:gd name="connsiteX7" fmla="*/ 1254996 w 3004849"/>
              <a:gd name="connsiteY7" fmla="*/ 1031455 h 1323584"/>
              <a:gd name="connsiteX8" fmla="*/ 1663491 w 3004849"/>
              <a:gd name="connsiteY8" fmla="*/ 1055269 h 1323584"/>
              <a:gd name="connsiteX9" fmla="*/ 1901703 w 3004849"/>
              <a:gd name="connsiteY9" fmla="*/ 1062411 h 1323584"/>
              <a:gd name="connsiteX10" fmla="*/ 2089544 w 3004849"/>
              <a:gd name="connsiteY10" fmla="*/ 1035520 h 1323584"/>
              <a:gd name="connsiteX11" fmla="*/ 2306928 w 3004849"/>
              <a:gd name="connsiteY11" fmla="*/ 1062412 h 1323584"/>
              <a:gd name="connsiteX12" fmla="*/ 2462033 w 3004849"/>
              <a:gd name="connsiteY12" fmla="*/ 1069554 h 1323584"/>
              <a:gd name="connsiteX13" fmla="*/ 2949313 w 3004849"/>
              <a:gd name="connsiteY13" fmla="*/ 974616 h 1323584"/>
              <a:gd name="connsiteX14" fmla="*/ 2997055 w 3004849"/>
              <a:gd name="connsiteY14" fmla="*/ 557427 h 1323584"/>
              <a:gd name="connsiteX15" fmla="*/ 2977734 w 3004849"/>
              <a:gd name="connsiteY15" fmla="*/ 371049 h 1323584"/>
              <a:gd name="connsiteX16" fmla="*/ 2878986 w 3004849"/>
              <a:gd name="connsiteY16" fmla="*/ 226593 h 1323584"/>
              <a:gd name="connsiteX17" fmla="*/ 2874224 w 3004849"/>
              <a:gd name="connsiteY17" fmla="*/ 136106 h 1323584"/>
              <a:gd name="connsiteX18" fmla="*/ 2796421 w 3004849"/>
              <a:gd name="connsiteY18" fmla="*/ 74193 h 1323584"/>
              <a:gd name="connsiteX19" fmla="*/ 2556368 w 3004849"/>
              <a:gd name="connsiteY19" fmla="*/ 40855 h 1323584"/>
              <a:gd name="connsiteX20" fmla="*/ 2074617 w 3004849"/>
              <a:gd name="connsiteY20" fmla="*/ 40856 h 1323584"/>
              <a:gd name="connsiteX21" fmla="*/ 1742734 w 3004849"/>
              <a:gd name="connsiteY21" fmla="*/ 43236 h 1323584"/>
              <a:gd name="connsiteX22" fmla="*/ 1237558 w 3004849"/>
              <a:gd name="connsiteY22" fmla="*/ 45618 h 1323584"/>
              <a:gd name="connsiteX23" fmla="*/ 913426 w 3004849"/>
              <a:gd name="connsiteY23" fmla="*/ 12280 h 1323584"/>
              <a:gd name="connsiteX24" fmla="*/ 625660 w 3004849"/>
              <a:gd name="connsiteY24" fmla="*/ 21805 h 1323584"/>
              <a:gd name="connsiteX25" fmla="*/ 360019 w 3004849"/>
              <a:gd name="connsiteY25" fmla="*/ 7518 h 1323584"/>
              <a:gd name="connsiteX26" fmla="*/ 83399 w 3004849"/>
              <a:gd name="connsiteY26" fmla="*/ 21805 h 1323584"/>
              <a:gd name="connsiteX0" fmla="*/ 83399 w 3004849"/>
              <a:gd name="connsiteY0" fmla="*/ 21805 h 1337888"/>
              <a:gd name="connsiteX1" fmla="*/ 35774 w 3004849"/>
              <a:gd name="connsiteY1" fmla="*/ 193255 h 1337888"/>
              <a:gd name="connsiteX2" fmla="*/ 9460 w 3004849"/>
              <a:gd name="connsiteY2" fmla="*/ 395022 h 1337888"/>
              <a:gd name="connsiteX3" fmla="*/ 22433 w 3004849"/>
              <a:gd name="connsiteY3" fmla="*/ 638550 h 1337888"/>
              <a:gd name="connsiteX4" fmla="*/ 125695 w 3004849"/>
              <a:gd name="connsiteY4" fmla="*/ 1033836 h 1337888"/>
              <a:gd name="connsiteX5" fmla="*/ 668870 w 3004849"/>
              <a:gd name="connsiteY5" fmla="*/ 1321854 h 1337888"/>
              <a:gd name="connsiteX6" fmla="*/ 1136772 w 3004849"/>
              <a:gd name="connsiteY6" fmla="*/ 1297560 h 1337888"/>
              <a:gd name="connsiteX7" fmla="*/ 1254996 w 3004849"/>
              <a:gd name="connsiteY7" fmla="*/ 1031455 h 1337888"/>
              <a:gd name="connsiteX8" fmla="*/ 1663491 w 3004849"/>
              <a:gd name="connsiteY8" fmla="*/ 1055269 h 1337888"/>
              <a:gd name="connsiteX9" fmla="*/ 1901703 w 3004849"/>
              <a:gd name="connsiteY9" fmla="*/ 1062411 h 1337888"/>
              <a:gd name="connsiteX10" fmla="*/ 2089544 w 3004849"/>
              <a:gd name="connsiteY10" fmla="*/ 1035520 h 1337888"/>
              <a:gd name="connsiteX11" fmla="*/ 2306928 w 3004849"/>
              <a:gd name="connsiteY11" fmla="*/ 1062412 h 1337888"/>
              <a:gd name="connsiteX12" fmla="*/ 2462033 w 3004849"/>
              <a:gd name="connsiteY12" fmla="*/ 1069554 h 1337888"/>
              <a:gd name="connsiteX13" fmla="*/ 2949313 w 3004849"/>
              <a:gd name="connsiteY13" fmla="*/ 974616 h 1337888"/>
              <a:gd name="connsiteX14" fmla="*/ 2997055 w 3004849"/>
              <a:gd name="connsiteY14" fmla="*/ 557427 h 1337888"/>
              <a:gd name="connsiteX15" fmla="*/ 2977734 w 3004849"/>
              <a:gd name="connsiteY15" fmla="*/ 371049 h 1337888"/>
              <a:gd name="connsiteX16" fmla="*/ 2878986 w 3004849"/>
              <a:gd name="connsiteY16" fmla="*/ 226593 h 1337888"/>
              <a:gd name="connsiteX17" fmla="*/ 2874224 w 3004849"/>
              <a:gd name="connsiteY17" fmla="*/ 136106 h 1337888"/>
              <a:gd name="connsiteX18" fmla="*/ 2796421 w 3004849"/>
              <a:gd name="connsiteY18" fmla="*/ 74193 h 1337888"/>
              <a:gd name="connsiteX19" fmla="*/ 2556368 w 3004849"/>
              <a:gd name="connsiteY19" fmla="*/ 40855 h 1337888"/>
              <a:gd name="connsiteX20" fmla="*/ 2074617 w 3004849"/>
              <a:gd name="connsiteY20" fmla="*/ 40856 h 1337888"/>
              <a:gd name="connsiteX21" fmla="*/ 1742734 w 3004849"/>
              <a:gd name="connsiteY21" fmla="*/ 43236 h 1337888"/>
              <a:gd name="connsiteX22" fmla="*/ 1237558 w 3004849"/>
              <a:gd name="connsiteY22" fmla="*/ 45618 h 1337888"/>
              <a:gd name="connsiteX23" fmla="*/ 913426 w 3004849"/>
              <a:gd name="connsiteY23" fmla="*/ 12280 h 1337888"/>
              <a:gd name="connsiteX24" fmla="*/ 625660 w 3004849"/>
              <a:gd name="connsiteY24" fmla="*/ 21805 h 1337888"/>
              <a:gd name="connsiteX25" fmla="*/ 360019 w 3004849"/>
              <a:gd name="connsiteY25" fmla="*/ 7518 h 1337888"/>
              <a:gd name="connsiteX26" fmla="*/ 83399 w 3004849"/>
              <a:gd name="connsiteY26" fmla="*/ 21805 h 1337888"/>
              <a:gd name="connsiteX0" fmla="*/ 83399 w 3004849"/>
              <a:gd name="connsiteY0" fmla="*/ 21805 h 1329519"/>
              <a:gd name="connsiteX1" fmla="*/ 35774 w 3004849"/>
              <a:gd name="connsiteY1" fmla="*/ 193255 h 1329519"/>
              <a:gd name="connsiteX2" fmla="*/ 9460 w 3004849"/>
              <a:gd name="connsiteY2" fmla="*/ 395022 h 1329519"/>
              <a:gd name="connsiteX3" fmla="*/ 22433 w 3004849"/>
              <a:gd name="connsiteY3" fmla="*/ 638550 h 1329519"/>
              <a:gd name="connsiteX4" fmla="*/ 125695 w 3004849"/>
              <a:gd name="connsiteY4" fmla="*/ 1033836 h 1329519"/>
              <a:gd name="connsiteX5" fmla="*/ 668870 w 3004849"/>
              <a:gd name="connsiteY5" fmla="*/ 1321854 h 1329519"/>
              <a:gd name="connsiteX6" fmla="*/ 1136772 w 3004849"/>
              <a:gd name="connsiteY6" fmla="*/ 1297560 h 1329519"/>
              <a:gd name="connsiteX7" fmla="*/ 1391246 w 3004849"/>
              <a:gd name="connsiteY7" fmla="*/ 1279782 h 1329519"/>
              <a:gd name="connsiteX8" fmla="*/ 1663491 w 3004849"/>
              <a:gd name="connsiteY8" fmla="*/ 1055269 h 1329519"/>
              <a:gd name="connsiteX9" fmla="*/ 1901703 w 3004849"/>
              <a:gd name="connsiteY9" fmla="*/ 1062411 h 1329519"/>
              <a:gd name="connsiteX10" fmla="*/ 2089544 w 3004849"/>
              <a:gd name="connsiteY10" fmla="*/ 1035520 h 1329519"/>
              <a:gd name="connsiteX11" fmla="*/ 2306928 w 3004849"/>
              <a:gd name="connsiteY11" fmla="*/ 1062412 h 1329519"/>
              <a:gd name="connsiteX12" fmla="*/ 2462033 w 3004849"/>
              <a:gd name="connsiteY12" fmla="*/ 1069554 h 1329519"/>
              <a:gd name="connsiteX13" fmla="*/ 2949313 w 3004849"/>
              <a:gd name="connsiteY13" fmla="*/ 974616 h 1329519"/>
              <a:gd name="connsiteX14" fmla="*/ 2997055 w 3004849"/>
              <a:gd name="connsiteY14" fmla="*/ 557427 h 1329519"/>
              <a:gd name="connsiteX15" fmla="*/ 2977734 w 3004849"/>
              <a:gd name="connsiteY15" fmla="*/ 371049 h 1329519"/>
              <a:gd name="connsiteX16" fmla="*/ 2878986 w 3004849"/>
              <a:gd name="connsiteY16" fmla="*/ 226593 h 1329519"/>
              <a:gd name="connsiteX17" fmla="*/ 2874224 w 3004849"/>
              <a:gd name="connsiteY17" fmla="*/ 136106 h 1329519"/>
              <a:gd name="connsiteX18" fmla="*/ 2796421 w 3004849"/>
              <a:gd name="connsiteY18" fmla="*/ 74193 h 1329519"/>
              <a:gd name="connsiteX19" fmla="*/ 2556368 w 3004849"/>
              <a:gd name="connsiteY19" fmla="*/ 40855 h 1329519"/>
              <a:gd name="connsiteX20" fmla="*/ 2074617 w 3004849"/>
              <a:gd name="connsiteY20" fmla="*/ 40856 h 1329519"/>
              <a:gd name="connsiteX21" fmla="*/ 1742734 w 3004849"/>
              <a:gd name="connsiteY21" fmla="*/ 43236 h 1329519"/>
              <a:gd name="connsiteX22" fmla="*/ 1237558 w 3004849"/>
              <a:gd name="connsiteY22" fmla="*/ 45618 h 1329519"/>
              <a:gd name="connsiteX23" fmla="*/ 913426 w 3004849"/>
              <a:gd name="connsiteY23" fmla="*/ 12280 h 1329519"/>
              <a:gd name="connsiteX24" fmla="*/ 625660 w 3004849"/>
              <a:gd name="connsiteY24" fmla="*/ 21805 h 1329519"/>
              <a:gd name="connsiteX25" fmla="*/ 360019 w 3004849"/>
              <a:gd name="connsiteY25" fmla="*/ 7518 h 1329519"/>
              <a:gd name="connsiteX26" fmla="*/ 83399 w 3004849"/>
              <a:gd name="connsiteY26" fmla="*/ 21805 h 1329519"/>
              <a:gd name="connsiteX0" fmla="*/ 83399 w 3004849"/>
              <a:gd name="connsiteY0" fmla="*/ 21805 h 1404575"/>
              <a:gd name="connsiteX1" fmla="*/ 35774 w 3004849"/>
              <a:gd name="connsiteY1" fmla="*/ 193255 h 1404575"/>
              <a:gd name="connsiteX2" fmla="*/ 9460 w 3004849"/>
              <a:gd name="connsiteY2" fmla="*/ 395022 h 1404575"/>
              <a:gd name="connsiteX3" fmla="*/ 22433 w 3004849"/>
              <a:gd name="connsiteY3" fmla="*/ 638550 h 1404575"/>
              <a:gd name="connsiteX4" fmla="*/ 125695 w 3004849"/>
              <a:gd name="connsiteY4" fmla="*/ 1033836 h 1404575"/>
              <a:gd name="connsiteX5" fmla="*/ 668870 w 3004849"/>
              <a:gd name="connsiteY5" fmla="*/ 1321854 h 1404575"/>
              <a:gd name="connsiteX6" fmla="*/ 1136772 w 3004849"/>
              <a:gd name="connsiteY6" fmla="*/ 1297560 h 1404575"/>
              <a:gd name="connsiteX7" fmla="*/ 1391246 w 3004849"/>
              <a:gd name="connsiteY7" fmla="*/ 1279782 h 1404575"/>
              <a:gd name="connsiteX8" fmla="*/ 1750539 w 3004849"/>
              <a:gd name="connsiteY8" fmla="*/ 1398546 h 1404575"/>
              <a:gd name="connsiteX9" fmla="*/ 1901703 w 3004849"/>
              <a:gd name="connsiteY9" fmla="*/ 1062411 h 1404575"/>
              <a:gd name="connsiteX10" fmla="*/ 2089544 w 3004849"/>
              <a:gd name="connsiteY10" fmla="*/ 1035520 h 1404575"/>
              <a:gd name="connsiteX11" fmla="*/ 2306928 w 3004849"/>
              <a:gd name="connsiteY11" fmla="*/ 1062412 h 1404575"/>
              <a:gd name="connsiteX12" fmla="*/ 2462033 w 3004849"/>
              <a:gd name="connsiteY12" fmla="*/ 1069554 h 1404575"/>
              <a:gd name="connsiteX13" fmla="*/ 2949313 w 3004849"/>
              <a:gd name="connsiteY13" fmla="*/ 974616 h 1404575"/>
              <a:gd name="connsiteX14" fmla="*/ 2997055 w 3004849"/>
              <a:gd name="connsiteY14" fmla="*/ 557427 h 1404575"/>
              <a:gd name="connsiteX15" fmla="*/ 2977734 w 3004849"/>
              <a:gd name="connsiteY15" fmla="*/ 371049 h 1404575"/>
              <a:gd name="connsiteX16" fmla="*/ 2878986 w 3004849"/>
              <a:gd name="connsiteY16" fmla="*/ 226593 h 1404575"/>
              <a:gd name="connsiteX17" fmla="*/ 2874224 w 3004849"/>
              <a:gd name="connsiteY17" fmla="*/ 136106 h 1404575"/>
              <a:gd name="connsiteX18" fmla="*/ 2796421 w 3004849"/>
              <a:gd name="connsiteY18" fmla="*/ 74193 h 1404575"/>
              <a:gd name="connsiteX19" fmla="*/ 2556368 w 3004849"/>
              <a:gd name="connsiteY19" fmla="*/ 40855 h 1404575"/>
              <a:gd name="connsiteX20" fmla="*/ 2074617 w 3004849"/>
              <a:gd name="connsiteY20" fmla="*/ 40856 h 1404575"/>
              <a:gd name="connsiteX21" fmla="*/ 1742734 w 3004849"/>
              <a:gd name="connsiteY21" fmla="*/ 43236 h 1404575"/>
              <a:gd name="connsiteX22" fmla="*/ 1237558 w 3004849"/>
              <a:gd name="connsiteY22" fmla="*/ 45618 h 1404575"/>
              <a:gd name="connsiteX23" fmla="*/ 913426 w 3004849"/>
              <a:gd name="connsiteY23" fmla="*/ 12280 h 1404575"/>
              <a:gd name="connsiteX24" fmla="*/ 625660 w 3004849"/>
              <a:gd name="connsiteY24" fmla="*/ 21805 h 1404575"/>
              <a:gd name="connsiteX25" fmla="*/ 360019 w 3004849"/>
              <a:gd name="connsiteY25" fmla="*/ 7518 h 1404575"/>
              <a:gd name="connsiteX26" fmla="*/ 83399 w 3004849"/>
              <a:gd name="connsiteY26" fmla="*/ 21805 h 1404575"/>
              <a:gd name="connsiteX0" fmla="*/ 83399 w 3004849"/>
              <a:gd name="connsiteY0" fmla="*/ 21805 h 1540603"/>
              <a:gd name="connsiteX1" fmla="*/ 35774 w 3004849"/>
              <a:gd name="connsiteY1" fmla="*/ 193255 h 1540603"/>
              <a:gd name="connsiteX2" fmla="*/ 9460 w 3004849"/>
              <a:gd name="connsiteY2" fmla="*/ 395022 h 1540603"/>
              <a:gd name="connsiteX3" fmla="*/ 22433 w 3004849"/>
              <a:gd name="connsiteY3" fmla="*/ 638550 h 1540603"/>
              <a:gd name="connsiteX4" fmla="*/ 125695 w 3004849"/>
              <a:gd name="connsiteY4" fmla="*/ 1033836 h 1540603"/>
              <a:gd name="connsiteX5" fmla="*/ 668870 w 3004849"/>
              <a:gd name="connsiteY5" fmla="*/ 1321854 h 1540603"/>
              <a:gd name="connsiteX6" fmla="*/ 1136772 w 3004849"/>
              <a:gd name="connsiteY6" fmla="*/ 1297560 h 1540603"/>
              <a:gd name="connsiteX7" fmla="*/ 1391246 w 3004849"/>
              <a:gd name="connsiteY7" fmla="*/ 1279782 h 1540603"/>
              <a:gd name="connsiteX8" fmla="*/ 1750539 w 3004849"/>
              <a:gd name="connsiteY8" fmla="*/ 1398546 h 1540603"/>
              <a:gd name="connsiteX9" fmla="*/ 2030383 w 3004849"/>
              <a:gd name="connsiteY9" fmla="*/ 1526199 h 1540603"/>
              <a:gd name="connsiteX10" fmla="*/ 2089544 w 3004849"/>
              <a:gd name="connsiteY10" fmla="*/ 1035520 h 1540603"/>
              <a:gd name="connsiteX11" fmla="*/ 2306928 w 3004849"/>
              <a:gd name="connsiteY11" fmla="*/ 1062412 h 1540603"/>
              <a:gd name="connsiteX12" fmla="*/ 2462033 w 3004849"/>
              <a:gd name="connsiteY12" fmla="*/ 1069554 h 1540603"/>
              <a:gd name="connsiteX13" fmla="*/ 2949313 w 3004849"/>
              <a:gd name="connsiteY13" fmla="*/ 974616 h 1540603"/>
              <a:gd name="connsiteX14" fmla="*/ 2997055 w 3004849"/>
              <a:gd name="connsiteY14" fmla="*/ 557427 h 1540603"/>
              <a:gd name="connsiteX15" fmla="*/ 2977734 w 3004849"/>
              <a:gd name="connsiteY15" fmla="*/ 371049 h 1540603"/>
              <a:gd name="connsiteX16" fmla="*/ 2878986 w 3004849"/>
              <a:gd name="connsiteY16" fmla="*/ 226593 h 1540603"/>
              <a:gd name="connsiteX17" fmla="*/ 2874224 w 3004849"/>
              <a:gd name="connsiteY17" fmla="*/ 136106 h 1540603"/>
              <a:gd name="connsiteX18" fmla="*/ 2796421 w 3004849"/>
              <a:gd name="connsiteY18" fmla="*/ 74193 h 1540603"/>
              <a:gd name="connsiteX19" fmla="*/ 2556368 w 3004849"/>
              <a:gd name="connsiteY19" fmla="*/ 40855 h 1540603"/>
              <a:gd name="connsiteX20" fmla="*/ 2074617 w 3004849"/>
              <a:gd name="connsiteY20" fmla="*/ 40856 h 1540603"/>
              <a:gd name="connsiteX21" fmla="*/ 1742734 w 3004849"/>
              <a:gd name="connsiteY21" fmla="*/ 43236 h 1540603"/>
              <a:gd name="connsiteX22" fmla="*/ 1237558 w 3004849"/>
              <a:gd name="connsiteY22" fmla="*/ 45618 h 1540603"/>
              <a:gd name="connsiteX23" fmla="*/ 913426 w 3004849"/>
              <a:gd name="connsiteY23" fmla="*/ 12280 h 1540603"/>
              <a:gd name="connsiteX24" fmla="*/ 625660 w 3004849"/>
              <a:gd name="connsiteY24" fmla="*/ 21805 h 1540603"/>
              <a:gd name="connsiteX25" fmla="*/ 360019 w 3004849"/>
              <a:gd name="connsiteY25" fmla="*/ 7518 h 1540603"/>
              <a:gd name="connsiteX26" fmla="*/ 83399 w 3004849"/>
              <a:gd name="connsiteY26" fmla="*/ 21805 h 1540603"/>
              <a:gd name="connsiteX0" fmla="*/ 83399 w 3004849"/>
              <a:gd name="connsiteY0" fmla="*/ 21805 h 1526287"/>
              <a:gd name="connsiteX1" fmla="*/ 35774 w 3004849"/>
              <a:gd name="connsiteY1" fmla="*/ 193255 h 1526287"/>
              <a:gd name="connsiteX2" fmla="*/ 9460 w 3004849"/>
              <a:gd name="connsiteY2" fmla="*/ 395022 h 1526287"/>
              <a:gd name="connsiteX3" fmla="*/ 22433 w 3004849"/>
              <a:gd name="connsiteY3" fmla="*/ 638550 h 1526287"/>
              <a:gd name="connsiteX4" fmla="*/ 125695 w 3004849"/>
              <a:gd name="connsiteY4" fmla="*/ 1033836 h 1526287"/>
              <a:gd name="connsiteX5" fmla="*/ 668870 w 3004849"/>
              <a:gd name="connsiteY5" fmla="*/ 1321854 h 1526287"/>
              <a:gd name="connsiteX6" fmla="*/ 1136772 w 3004849"/>
              <a:gd name="connsiteY6" fmla="*/ 1297560 h 1526287"/>
              <a:gd name="connsiteX7" fmla="*/ 1391246 w 3004849"/>
              <a:gd name="connsiteY7" fmla="*/ 1279782 h 1526287"/>
              <a:gd name="connsiteX8" fmla="*/ 1750539 w 3004849"/>
              <a:gd name="connsiteY8" fmla="*/ 1398546 h 1526287"/>
              <a:gd name="connsiteX9" fmla="*/ 2030383 w 3004849"/>
              <a:gd name="connsiteY9" fmla="*/ 1526199 h 1526287"/>
              <a:gd name="connsiteX10" fmla="*/ 2278779 w 3004849"/>
              <a:gd name="connsiteY10" fmla="*/ 1378796 h 1526287"/>
              <a:gd name="connsiteX11" fmla="*/ 2306928 w 3004849"/>
              <a:gd name="connsiteY11" fmla="*/ 1062412 h 1526287"/>
              <a:gd name="connsiteX12" fmla="*/ 2462033 w 3004849"/>
              <a:gd name="connsiteY12" fmla="*/ 1069554 h 1526287"/>
              <a:gd name="connsiteX13" fmla="*/ 2949313 w 3004849"/>
              <a:gd name="connsiteY13" fmla="*/ 974616 h 1526287"/>
              <a:gd name="connsiteX14" fmla="*/ 2997055 w 3004849"/>
              <a:gd name="connsiteY14" fmla="*/ 557427 h 1526287"/>
              <a:gd name="connsiteX15" fmla="*/ 2977734 w 3004849"/>
              <a:gd name="connsiteY15" fmla="*/ 371049 h 1526287"/>
              <a:gd name="connsiteX16" fmla="*/ 2878986 w 3004849"/>
              <a:gd name="connsiteY16" fmla="*/ 226593 h 1526287"/>
              <a:gd name="connsiteX17" fmla="*/ 2874224 w 3004849"/>
              <a:gd name="connsiteY17" fmla="*/ 136106 h 1526287"/>
              <a:gd name="connsiteX18" fmla="*/ 2796421 w 3004849"/>
              <a:gd name="connsiteY18" fmla="*/ 74193 h 1526287"/>
              <a:gd name="connsiteX19" fmla="*/ 2556368 w 3004849"/>
              <a:gd name="connsiteY19" fmla="*/ 40855 h 1526287"/>
              <a:gd name="connsiteX20" fmla="*/ 2074617 w 3004849"/>
              <a:gd name="connsiteY20" fmla="*/ 40856 h 1526287"/>
              <a:gd name="connsiteX21" fmla="*/ 1742734 w 3004849"/>
              <a:gd name="connsiteY21" fmla="*/ 43236 h 1526287"/>
              <a:gd name="connsiteX22" fmla="*/ 1237558 w 3004849"/>
              <a:gd name="connsiteY22" fmla="*/ 45618 h 1526287"/>
              <a:gd name="connsiteX23" fmla="*/ 913426 w 3004849"/>
              <a:gd name="connsiteY23" fmla="*/ 12280 h 1526287"/>
              <a:gd name="connsiteX24" fmla="*/ 625660 w 3004849"/>
              <a:gd name="connsiteY24" fmla="*/ 21805 h 1526287"/>
              <a:gd name="connsiteX25" fmla="*/ 360019 w 3004849"/>
              <a:gd name="connsiteY25" fmla="*/ 7518 h 1526287"/>
              <a:gd name="connsiteX26" fmla="*/ 83399 w 3004849"/>
              <a:gd name="connsiteY26" fmla="*/ 21805 h 1526287"/>
              <a:gd name="connsiteX0" fmla="*/ 83399 w 3004849"/>
              <a:gd name="connsiteY0" fmla="*/ 21805 h 1526287"/>
              <a:gd name="connsiteX1" fmla="*/ 35774 w 3004849"/>
              <a:gd name="connsiteY1" fmla="*/ 193255 h 1526287"/>
              <a:gd name="connsiteX2" fmla="*/ 9460 w 3004849"/>
              <a:gd name="connsiteY2" fmla="*/ 395022 h 1526287"/>
              <a:gd name="connsiteX3" fmla="*/ 22433 w 3004849"/>
              <a:gd name="connsiteY3" fmla="*/ 638550 h 1526287"/>
              <a:gd name="connsiteX4" fmla="*/ 125695 w 3004849"/>
              <a:gd name="connsiteY4" fmla="*/ 1033836 h 1526287"/>
              <a:gd name="connsiteX5" fmla="*/ 668870 w 3004849"/>
              <a:gd name="connsiteY5" fmla="*/ 1321854 h 1526287"/>
              <a:gd name="connsiteX6" fmla="*/ 1136772 w 3004849"/>
              <a:gd name="connsiteY6" fmla="*/ 1297560 h 1526287"/>
              <a:gd name="connsiteX7" fmla="*/ 1391246 w 3004849"/>
              <a:gd name="connsiteY7" fmla="*/ 1279782 h 1526287"/>
              <a:gd name="connsiteX8" fmla="*/ 1750539 w 3004849"/>
              <a:gd name="connsiteY8" fmla="*/ 1398546 h 1526287"/>
              <a:gd name="connsiteX9" fmla="*/ 2030383 w 3004849"/>
              <a:gd name="connsiteY9" fmla="*/ 1526199 h 1526287"/>
              <a:gd name="connsiteX10" fmla="*/ 2278779 w 3004849"/>
              <a:gd name="connsiteY10" fmla="*/ 1378796 h 1526287"/>
              <a:gd name="connsiteX11" fmla="*/ 2454531 w 3004849"/>
              <a:gd name="connsiteY11" fmla="*/ 1358213 h 1526287"/>
              <a:gd name="connsiteX12" fmla="*/ 2462033 w 3004849"/>
              <a:gd name="connsiteY12" fmla="*/ 1069554 h 1526287"/>
              <a:gd name="connsiteX13" fmla="*/ 2949313 w 3004849"/>
              <a:gd name="connsiteY13" fmla="*/ 974616 h 1526287"/>
              <a:gd name="connsiteX14" fmla="*/ 2997055 w 3004849"/>
              <a:gd name="connsiteY14" fmla="*/ 557427 h 1526287"/>
              <a:gd name="connsiteX15" fmla="*/ 2977734 w 3004849"/>
              <a:gd name="connsiteY15" fmla="*/ 371049 h 1526287"/>
              <a:gd name="connsiteX16" fmla="*/ 2878986 w 3004849"/>
              <a:gd name="connsiteY16" fmla="*/ 226593 h 1526287"/>
              <a:gd name="connsiteX17" fmla="*/ 2874224 w 3004849"/>
              <a:gd name="connsiteY17" fmla="*/ 136106 h 1526287"/>
              <a:gd name="connsiteX18" fmla="*/ 2796421 w 3004849"/>
              <a:gd name="connsiteY18" fmla="*/ 74193 h 1526287"/>
              <a:gd name="connsiteX19" fmla="*/ 2556368 w 3004849"/>
              <a:gd name="connsiteY19" fmla="*/ 40855 h 1526287"/>
              <a:gd name="connsiteX20" fmla="*/ 2074617 w 3004849"/>
              <a:gd name="connsiteY20" fmla="*/ 40856 h 1526287"/>
              <a:gd name="connsiteX21" fmla="*/ 1742734 w 3004849"/>
              <a:gd name="connsiteY21" fmla="*/ 43236 h 1526287"/>
              <a:gd name="connsiteX22" fmla="*/ 1237558 w 3004849"/>
              <a:gd name="connsiteY22" fmla="*/ 45618 h 1526287"/>
              <a:gd name="connsiteX23" fmla="*/ 913426 w 3004849"/>
              <a:gd name="connsiteY23" fmla="*/ 12280 h 1526287"/>
              <a:gd name="connsiteX24" fmla="*/ 625660 w 3004849"/>
              <a:gd name="connsiteY24" fmla="*/ 21805 h 1526287"/>
              <a:gd name="connsiteX25" fmla="*/ 360019 w 3004849"/>
              <a:gd name="connsiteY25" fmla="*/ 7518 h 1526287"/>
              <a:gd name="connsiteX26" fmla="*/ 83399 w 3004849"/>
              <a:gd name="connsiteY26" fmla="*/ 21805 h 1526287"/>
              <a:gd name="connsiteX0" fmla="*/ 83399 w 2998804"/>
              <a:gd name="connsiteY0" fmla="*/ 21805 h 1526287"/>
              <a:gd name="connsiteX1" fmla="*/ 35774 w 2998804"/>
              <a:gd name="connsiteY1" fmla="*/ 193255 h 1526287"/>
              <a:gd name="connsiteX2" fmla="*/ 9460 w 2998804"/>
              <a:gd name="connsiteY2" fmla="*/ 395022 h 1526287"/>
              <a:gd name="connsiteX3" fmla="*/ 22433 w 2998804"/>
              <a:gd name="connsiteY3" fmla="*/ 638550 h 1526287"/>
              <a:gd name="connsiteX4" fmla="*/ 125695 w 2998804"/>
              <a:gd name="connsiteY4" fmla="*/ 1033836 h 1526287"/>
              <a:gd name="connsiteX5" fmla="*/ 668870 w 2998804"/>
              <a:gd name="connsiteY5" fmla="*/ 1321854 h 1526287"/>
              <a:gd name="connsiteX6" fmla="*/ 1136772 w 2998804"/>
              <a:gd name="connsiteY6" fmla="*/ 1297560 h 1526287"/>
              <a:gd name="connsiteX7" fmla="*/ 1391246 w 2998804"/>
              <a:gd name="connsiteY7" fmla="*/ 1279782 h 1526287"/>
              <a:gd name="connsiteX8" fmla="*/ 1750539 w 2998804"/>
              <a:gd name="connsiteY8" fmla="*/ 1398546 h 1526287"/>
              <a:gd name="connsiteX9" fmla="*/ 2030383 w 2998804"/>
              <a:gd name="connsiteY9" fmla="*/ 1526199 h 1526287"/>
              <a:gd name="connsiteX10" fmla="*/ 2278779 w 2998804"/>
              <a:gd name="connsiteY10" fmla="*/ 1378796 h 1526287"/>
              <a:gd name="connsiteX11" fmla="*/ 2454531 w 2998804"/>
              <a:gd name="connsiteY11" fmla="*/ 1358213 h 1526287"/>
              <a:gd name="connsiteX12" fmla="*/ 2655052 w 2998804"/>
              <a:gd name="connsiteY12" fmla="*/ 1233889 h 1526287"/>
              <a:gd name="connsiteX13" fmla="*/ 2949313 w 2998804"/>
              <a:gd name="connsiteY13" fmla="*/ 974616 h 1526287"/>
              <a:gd name="connsiteX14" fmla="*/ 2997055 w 2998804"/>
              <a:gd name="connsiteY14" fmla="*/ 557427 h 1526287"/>
              <a:gd name="connsiteX15" fmla="*/ 2977734 w 2998804"/>
              <a:gd name="connsiteY15" fmla="*/ 371049 h 1526287"/>
              <a:gd name="connsiteX16" fmla="*/ 2878986 w 2998804"/>
              <a:gd name="connsiteY16" fmla="*/ 226593 h 1526287"/>
              <a:gd name="connsiteX17" fmla="*/ 2874224 w 2998804"/>
              <a:gd name="connsiteY17" fmla="*/ 136106 h 1526287"/>
              <a:gd name="connsiteX18" fmla="*/ 2796421 w 2998804"/>
              <a:gd name="connsiteY18" fmla="*/ 74193 h 1526287"/>
              <a:gd name="connsiteX19" fmla="*/ 2556368 w 2998804"/>
              <a:gd name="connsiteY19" fmla="*/ 40855 h 1526287"/>
              <a:gd name="connsiteX20" fmla="*/ 2074617 w 2998804"/>
              <a:gd name="connsiteY20" fmla="*/ 40856 h 1526287"/>
              <a:gd name="connsiteX21" fmla="*/ 1742734 w 2998804"/>
              <a:gd name="connsiteY21" fmla="*/ 43236 h 1526287"/>
              <a:gd name="connsiteX22" fmla="*/ 1237558 w 2998804"/>
              <a:gd name="connsiteY22" fmla="*/ 45618 h 1526287"/>
              <a:gd name="connsiteX23" fmla="*/ 913426 w 2998804"/>
              <a:gd name="connsiteY23" fmla="*/ 12280 h 1526287"/>
              <a:gd name="connsiteX24" fmla="*/ 625660 w 2998804"/>
              <a:gd name="connsiteY24" fmla="*/ 21805 h 1526287"/>
              <a:gd name="connsiteX25" fmla="*/ 360019 w 2998804"/>
              <a:gd name="connsiteY25" fmla="*/ 7518 h 1526287"/>
              <a:gd name="connsiteX26" fmla="*/ 83399 w 2998804"/>
              <a:gd name="connsiteY26" fmla="*/ 21805 h 1526287"/>
              <a:gd name="connsiteX0" fmla="*/ 83399 w 2998804"/>
              <a:gd name="connsiteY0" fmla="*/ 21805 h 1526287"/>
              <a:gd name="connsiteX1" fmla="*/ 35774 w 2998804"/>
              <a:gd name="connsiteY1" fmla="*/ 193255 h 1526287"/>
              <a:gd name="connsiteX2" fmla="*/ 9460 w 2998804"/>
              <a:gd name="connsiteY2" fmla="*/ 395022 h 1526287"/>
              <a:gd name="connsiteX3" fmla="*/ 22433 w 2998804"/>
              <a:gd name="connsiteY3" fmla="*/ 638550 h 1526287"/>
              <a:gd name="connsiteX4" fmla="*/ 201389 w 2998804"/>
              <a:gd name="connsiteY4" fmla="*/ 953495 h 1526287"/>
              <a:gd name="connsiteX5" fmla="*/ 668870 w 2998804"/>
              <a:gd name="connsiteY5" fmla="*/ 1321854 h 1526287"/>
              <a:gd name="connsiteX6" fmla="*/ 1136772 w 2998804"/>
              <a:gd name="connsiteY6" fmla="*/ 1297560 h 1526287"/>
              <a:gd name="connsiteX7" fmla="*/ 1391246 w 2998804"/>
              <a:gd name="connsiteY7" fmla="*/ 1279782 h 1526287"/>
              <a:gd name="connsiteX8" fmla="*/ 1750539 w 2998804"/>
              <a:gd name="connsiteY8" fmla="*/ 1398546 h 1526287"/>
              <a:gd name="connsiteX9" fmla="*/ 2030383 w 2998804"/>
              <a:gd name="connsiteY9" fmla="*/ 1526199 h 1526287"/>
              <a:gd name="connsiteX10" fmla="*/ 2278779 w 2998804"/>
              <a:gd name="connsiteY10" fmla="*/ 1378796 h 1526287"/>
              <a:gd name="connsiteX11" fmla="*/ 2454531 w 2998804"/>
              <a:gd name="connsiteY11" fmla="*/ 1358213 h 1526287"/>
              <a:gd name="connsiteX12" fmla="*/ 2655052 w 2998804"/>
              <a:gd name="connsiteY12" fmla="*/ 1233889 h 1526287"/>
              <a:gd name="connsiteX13" fmla="*/ 2949313 w 2998804"/>
              <a:gd name="connsiteY13" fmla="*/ 974616 h 1526287"/>
              <a:gd name="connsiteX14" fmla="*/ 2997055 w 2998804"/>
              <a:gd name="connsiteY14" fmla="*/ 557427 h 1526287"/>
              <a:gd name="connsiteX15" fmla="*/ 2977734 w 2998804"/>
              <a:gd name="connsiteY15" fmla="*/ 371049 h 1526287"/>
              <a:gd name="connsiteX16" fmla="*/ 2878986 w 2998804"/>
              <a:gd name="connsiteY16" fmla="*/ 226593 h 1526287"/>
              <a:gd name="connsiteX17" fmla="*/ 2874224 w 2998804"/>
              <a:gd name="connsiteY17" fmla="*/ 136106 h 1526287"/>
              <a:gd name="connsiteX18" fmla="*/ 2796421 w 2998804"/>
              <a:gd name="connsiteY18" fmla="*/ 74193 h 1526287"/>
              <a:gd name="connsiteX19" fmla="*/ 2556368 w 2998804"/>
              <a:gd name="connsiteY19" fmla="*/ 40855 h 1526287"/>
              <a:gd name="connsiteX20" fmla="*/ 2074617 w 2998804"/>
              <a:gd name="connsiteY20" fmla="*/ 40856 h 1526287"/>
              <a:gd name="connsiteX21" fmla="*/ 1742734 w 2998804"/>
              <a:gd name="connsiteY21" fmla="*/ 43236 h 1526287"/>
              <a:gd name="connsiteX22" fmla="*/ 1237558 w 2998804"/>
              <a:gd name="connsiteY22" fmla="*/ 45618 h 1526287"/>
              <a:gd name="connsiteX23" fmla="*/ 913426 w 2998804"/>
              <a:gd name="connsiteY23" fmla="*/ 12280 h 1526287"/>
              <a:gd name="connsiteX24" fmla="*/ 625660 w 2998804"/>
              <a:gd name="connsiteY24" fmla="*/ 21805 h 1526287"/>
              <a:gd name="connsiteX25" fmla="*/ 360019 w 2998804"/>
              <a:gd name="connsiteY25" fmla="*/ 7518 h 1526287"/>
              <a:gd name="connsiteX26" fmla="*/ 83399 w 2998804"/>
              <a:gd name="connsiteY26" fmla="*/ 21805 h 1526287"/>
              <a:gd name="connsiteX0" fmla="*/ 83399 w 2998804"/>
              <a:gd name="connsiteY0" fmla="*/ 21805 h 1526287"/>
              <a:gd name="connsiteX1" fmla="*/ 35774 w 2998804"/>
              <a:gd name="connsiteY1" fmla="*/ 193255 h 1526287"/>
              <a:gd name="connsiteX2" fmla="*/ 9460 w 2998804"/>
              <a:gd name="connsiteY2" fmla="*/ 395022 h 1526287"/>
              <a:gd name="connsiteX3" fmla="*/ 22433 w 2998804"/>
              <a:gd name="connsiteY3" fmla="*/ 623943 h 1526287"/>
              <a:gd name="connsiteX4" fmla="*/ 201389 w 2998804"/>
              <a:gd name="connsiteY4" fmla="*/ 953495 h 1526287"/>
              <a:gd name="connsiteX5" fmla="*/ 668870 w 2998804"/>
              <a:gd name="connsiteY5" fmla="*/ 1321854 h 1526287"/>
              <a:gd name="connsiteX6" fmla="*/ 1136772 w 2998804"/>
              <a:gd name="connsiteY6" fmla="*/ 1297560 h 1526287"/>
              <a:gd name="connsiteX7" fmla="*/ 1391246 w 2998804"/>
              <a:gd name="connsiteY7" fmla="*/ 1279782 h 1526287"/>
              <a:gd name="connsiteX8" fmla="*/ 1750539 w 2998804"/>
              <a:gd name="connsiteY8" fmla="*/ 1398546 h 1526287"/>
              <a:gd name="connsiteX9" fmla="*/ 2030383 w 2998804"/>
              <a:gd name="connsiteY9" fmla="*/ 1526199 h 1526287"/>
              <a:gd name="connsiteX10" fmla="*/ 2278779 w 2998804"/>
              <a:gd name="connsiteY10" fmla="*/ 1378796 h 1526287"/>
              <a:gd name="connsiteX11" fmla="*/ 2454531 w 2998804"/>
              <a:gd name="connsiteY11" fmla="*/ 1358213 h 1526287"/>
              <a:gd name="connsiteX12" fmla="*/ 2655052 w 2998804"/>
              <a:gd name="connsiteY12" fmla="*/ 1233889 h 1526287"/>
              <a:gd name="connsiteX13" fmla="*/ 2949313 w 2998804"/>
              <a:gd name="connsiteY13" fmla="*/ 974616 h 1526287"/>
              <a:gd name="connsiteX14" fmla="*/ 2997055 w 2998804"/>
              <a:gd name="connsiteY14" fmla="*/ 557427 h 1526287"/>
              <a:gd name="connsiteX15" fmla="*/ 2977734 w 2998804"/>
              <a:gd name="connsiteY15" fmla="*/ 371049 h 1526287"/>
              <a:gd name="connsiteX16" fmla="*/ 2878986 w 2998804"/>
              <a:gd name="connsiteY16" fmla="*/ 226593 h 1526287"/>
              <a:gd name="connsiteX17" fmla="*/ 2874224 w 2998804"/>
              <a:gd name="connsiteY17" fmla="*/ 136106 h 1526287"/>
              <a:gd name="connsiteX18" fmla="*/ 2796421 w 2998804"/>
              <a:gd name="connsiteY18" fmla="*/ 74193 h 1526287"/>
              <a:gd name="connsiteX19" fmla="*/ 2556368 w 2998804"/>
              <a:gd name="connsiteY19" fmla="*/ 40855 h 1526287"/>
              <a:gd name="connsiteX20" fmla="*/ 2074617 w 2998804"/>
              <a:gd name="connsiteY20" fmla="*/ 40856 h 1526287"/>
              <a:gd name="connsiteX21" fmla="*/ 1742734 w 2998804"/>
              <a:gd name="connsiteY21" fmla="*/ 43236 h 1526287"/>
              <a:gd name="connsiteX22" fmla="*/ 1237558 w 2998804"/>
              <a:gd name="connsiteY22" fmla="*/ 45618 h 1526287"/>
              <a:gd name="connsiteX23" fmla="*/ 913426 w 2998804"/>
              <a:gd name="connsiteY23" fmla="*/ 12280 h 1526287"/>
              <a:gd name="connsiteX24" fmla="*/ 625660 w 2998804"/>
              <a:gd name="connsiteY24" fmla="*/ 21805 h 1526287"/>
              <a:gd name="connsiteX25" fmla="*/ 360019 w 2998804"/>
              <a:gd name="connsiteY25" fmla="*/ 7518 h 1526287"/>
              <a:gd name="connsiteX26" fmla="*/ 83399 w 2998804"/>
              <a:gd name="connsiteY26" fmla="*/ 21805 h 1526287"/>
              <a:gd name="connsiteX0" fmla="*/ 83399 w 2998804"/>
              <a:gd name="connsiteY0" fmla="*/ 21805 h 1526287"/>
              <a:gd name="connsiteX1" fmla="*/ 35774 w 2998804"/>
              <a:gd name="connsiteY1" fmla="*/ 193255 h 1526287"/>
              <a:gd name="connsiteX2" fmla="*/ 9460 w 2998804"/>
              <a:gd name="connsiteY2" fmla="*/ 395022 h 1526287"/>
              <a:gd name="connsiteX3" fmla="*/ 45141 w 2998804"/>
              <a:gd name="connsiteY3" fmla="*/ 623943 h 1526287"/>
              <a:gd name="connsiteX4" fmla="*/ 201389 w 2998804"/>
              <a:gd name="connsiteY4" fmla="*/ 953495 h 1526287"/>
              <a:gd name="connsiteX5" fmla="*/ 668870 w 2998804"/>
              <a:gd name="connsiteY5" fmla="*/ 1321854 h 1526287"/>
              <a:gd name="connsiteX6" fmla="*/ 1136772 w 2998804"/>
              <a:gd name="connsiteY6" fmla="*/ 1297560 h 1526287"/>
              <a:gd name="connsiteX7" fmla="*/ 1391246 w 2998804"/>
              <a:gd name="connsiteY7" fmla="*/ 1279782 h 1526287"/>
              <a:gd name="connsiteX8" fmla="*/ 1750539 w 2998804"/>
              <a:gd name="connsiteY8" fmla="*/ 1398546 h 1526287"/>
              <a:gd name="connsiteX9" fmla="*/ 2030383 w 2998804"/>
              <a:gd name="connsiteY9" fmla="*/ 1526199 h 1526287"/>
              <a:gd name="connsiteX10" fmla="*/ 2278779 w 2998804"/>
              <a:gd name="connsiteY10" fmla="*/ 1378796 h 1526287"/>
              <a:gd name="connsiteX11" fmla="*/ 2454531 w 2998804"/>
              <a:gd name="connsiteY11" fmla="*/ 1358213 h 1526287"/>
              <a:gd name="connsiteX12" fmla="*/ 2655052 w 2998804"/>
              <a:gd name="connsiteY12" fmla="*/ 1233889 h 1526287"/>
              <a:gd name="connsiteX13" fmla="*/ 2949313 w 2998804"/>
              <a:gd name="connsiteY13" fmla="*/ 974616 h 1526287"/>
              <a:gd name="connsiteX14" fmla="*/ 2997055 w 2998804"/>
              <a:gd name="connsiteY14" fmla="*/ 557427 h 1526287"/>
              <a:gd name="connsiteX15" fmla="*/ 2977734 w 2998804"/>
              <a:gd name="connsiteY15" fmla="*/ 371049 h 1526287"/>
              <a:gd name="connsiteX16" fmla="*/ 2878986 w 2998804"/>
              <a:gd name="connsiteY16" fmla="*/ 226593 h 1526287"/>
              <a:gd name="connsiteX17" fmla="*/ 2874224 w 2998804"/>
              <a:gd name="connsiteY17" fmla="*/ 136106 h 1526287"/>
              <a:gd name="connsiteX18" fmla="*/ 2796421 w 2998804"/>
              <a:gd name="connsiteY18" fmla="*/ 74193 h 1526287"/>
              <a:gd name="connsiteX19" fmla="*/ 2556368 w 2998804"/>
              <a:gd name="connsiteY19" fmla="*/ 40855 h 1526287"/>
              <a:gd name="connsiteX20" fmla="*/ 2074617 w 2998804"/>
              <a:gd name="connsiteY20" fmla="*/ 40856 h 1526287"/>
              <a:gd name="connsiteX21" fmla="*/ 1742734 w 2998804"/>
              <a:gd name="connsiteY21" fmla="*/ 43236 h 1526287"/>
              <a:gd name="connsiteX22" fmla="*/ 1237558 w 2998804"/>
              <a:gd name="connsiteY22" fmla="*/ 45618 h 1526287"/>
              <a:gd name="connsiteX23" fmla="*/ 913426 w 2998804"/>
              <a:gd name="connsiteY23" fmla="*/ 12280 h 1526287"/>
              <a:gd name="connsiteX24" fmla="*/ 625660 w 2998804"/>
              <a:gd name="connsiteY24" fmla="*/ 21805 h 1526287"/>
              <a:gd name="connsiteX25" fmla="*/ 360019 w 2998804"/>
              <a:gd name="connsiteY25" fmla="*/ 7518 h 1526287"/>
              <a:gd name="connsiteX26" fmla="*/ 83399 w 2998804"/>
              <a:gd name="connsiteY26" fmla="*/ 21805 h 1526287"/>
              <a:gd name="connsiteX0" fmla="*/ 83399 w 2998804"/>
              <a:gd name="connsiteY0" fmla="*/ 21805 h 1526287"/>
              <a:gd name="connsiteX1" fmla="*/ 35774 w 2998804"/>
              <a:gd name="connsiteY1" fmla="*/ 193255 h 1526287"/>
              <a:gd name="connsiteX2" fmla="*/ 9460 w 2998804"/>
              <a:gd name="connsiteY2" fmla="*/ 395022 h 1526287"/>
              <a:gd name="connsiteX3" fmla="*/ 45141 w 2998804"/>
              <a:gd name="connsiteY3" fmla="*/ 623943 h 1526287"/>
              <a:gd name="connsiteX4" fmla="*/ 144618 w 2998804"/>
              <a:gd name="connsiteY4" fmla="*/ 880457 h 1526287"/>
              <a:gd name="connsiteX5" fmla="*/ 668870 w 2998804"/>
              <a:gd name="connsiteY5" fmla="*/ 1321854 h 1526287"/>
              <a:gd name="connsiteX6" fmla="*/ 1136772 w 2998804"/>
              <a:gd name="connsiteY6" fmla="*/ 1297560 h 1526287"/>
              <a:gd name="connsiteX7" fmla="*/ 1391246 w 2998804"/>
              <a:gd name="connsiteY7" fmla="*/ 1279782 h 1526287"/>
              <a:gd name="connsiteX8" fmla="*/ 1750539 w 2998804"/>
              <a:gd name="connsiteY8" fmla="*/ 1398546 h 1526287"/>
              <a:gd name="connsiteX9" fmla="*/ 2030383 w 2998804"/>
              <a:gd name="connsiteY9" fmla="*/ 1526199 h 1526287"/>
              <a:gd name="connsiteX10" fmla="*/ 2278779 w 2998804"/>
              <a:gd name="connsiteY10" fmla="*/ 1378796 h 1526287"/>
              <a:gd name="connsiteX11" fmla="*/ 2454531 w 2998804"/>
              <a:gd name="connsiteY11" fmla="*/ 1358213 h 1526287"/>
              <a:gd name="connsiteX12" fmla="*/ 2655052 w 2998804"/>
              <a:gd name="connsiteY12" fmla="*/ 1233889 h 1526287"/>
              <a:gd name="connsiteX13" fmla="*/ 2949313 w 2998804"/>
              <a:gd name="connsiteY13" fmla="*/ 974616 h 1526287"/>
              <a:gd name="connsiteX14" fmla="*/ 2997055 w 2998804"/>
              <a:gd name="connsiteY14" fmla="*/ 557427 h 1526287"/>
              <a:gd name="connsiteX15" fmla="*/ 2977734 w 2998804"/>
              <a:gd name="connsiteY15" fmla="*/ 371049 h 1526287"/>
              <a:gd name="connsiteX16" fmla="*/ 2878986 w 2998804"/>
              <a:gd name="connsiteY16" fmla="*/ 226593 h 1526287"/>
              <a:gd name="connsiteX17" fmla="*/ 2874224 w 2998804"/>
              <a:gd name="connsiteY17" fmla="*/ 136106 h 1526287"/>
              <a:gd name="connsiteX18" fmla="*/ 2796421 w 2998804"/>
              <a:gd name="connsiteY18" fmla="*/ 74193 h 1526287"/>
              <a:gd name="connsiteX19" fmla="*/ 2556368 w 2998804"/>
              <a:gd name="connsiteY19" fmla="*/ 40855 h 1526287"/>
              <a:gd name="connsiteX20" fmla="*/ 2074617 w 2998804"/>
              <a:gd name="connsiteY20" fmla="*/ 40856 h 1526287"/>
              <a:gd name="connsiteX21" fmla="*/ 1742734 w 2998804"/>
              <a:gd name="connsiteY21" fmla="*/ 43236 h 1526287"/>
              <a:gd name="connsiteX22" fmla="*/ 1237558 w 2998804"/>
              <a:gd name="connsiteY22" fmla="*/ 45618 h 1526287"/>
              <a:gd name="connsiteX23" fmla="*/ 913426 w 2998804"/>
              <a:gd name="connsiteY23" fmla="*/ 12280 h 1526287"/>
              <a:gd name="connsiteX24" fmla="*/ 625660 w 2998804"/>
              <a:gd name="connsiteY24" fmla="*/ 21805 h 1526287"/>
              <a:gd name="connsiteX25" fmla="*/ 360019 w 2998804"/>
              <a:gd name="connsiteY25" fmla="*/ 7518 h 1526287"/>
              <a:gd name="connsiteX26" fmla="*/ 83399 w 2998804"/>
              <a:gd name="connsiteY26" fmla="*/ 21805 h 1526287"/>
              <a:gd name="connsiteX0" fmla="*/ 83399 w 3004535"/>
              <a:gd name="connsiteY0" fmla="*/ 21805 h 1526287"/>
              <a:gd name="connsiteX1" fmla="*/ 35774 w 3004535"/>
              <a:gd name="connsiteY1" fmla="*/ 193255 h 1526287"/>
              <a:gd name="connsiteX2" fmla="*/ 9460 w 3004535"/>
              <a:gd name="connsiteY2" fmla="*/ 395022 h 1526287"/>
              <a:gd name="connsiteX3" fmla="*/ 45141 w 3004535"/>
              <a:gd name="connsiteY3" fmla="*/ 623943 h 1526287"/>
              <a:gd name="connsiteX4" fmla="*/ 144618 w 3004535"/>
              <a:gd name="connsiteY4" fmla="*/ 880457 h 1526287"/>
              <a:gd name="connsiteX5" fmla="*/ 668870 w 3004535"/>
              <a:gd name="connsiteY5" fmla="*/ 1321854 h 1526287"/>
              <a:gd name="connsiteX6" fmla="*/ 1136772 w 3004535"/>
              <a:gd name="connsiteY6" fmla="*/ 1297560 h 1526287"/>
              <a:gd name="connsiteX7" fmla="*/ 1391246 w 3004535"/>
              <a:gd name="connsiteY7" fmla="*/ 1279782 h 1526287"/>
              <a:gd name="connsiteX8" fmla="*/ 1750539 w 3004535"/>
              <a:gd name="connsiteY8" fmla="*/ 1398546 h 1526287"/>
              <a:gd name="connsiteX9" fmla="*/ 2030383 w 3004535"/>
              <a:gd name="connsiteY9" fmla="*/ 1526199 h 1526287"/>
              <a:gd name="connsiteX10" fmla="*/ 2278779 w 3004535"/>
              <a:gd name="connsiteY10" fmla="*/ 1378796 h 1526287"/>
              <a:gd name="connsiteX11" fmla="*/ 2454531 w 3004535"/>
              <a:gd name="connsiteY11" fmla="*/ 1358213 h 1526287"/>
              <a:gd name="connsiteX12" fmla="*/ 2655052 w 3004535"/>
              <a:gd name="connsiteY12" fmla="*/ 1233889 h 1526287"/>
              <a:gd name="connsiteX13" fmla="*/ 2869835 w 3004535"/>
              <a:gd name="connsiteY13" fmla="*/ 919838 h 1526287"/>
              <a:gd name="connsiteX14" fmla="*/ 2997055 w 3004535"/>
              <a:gd name="connsiteY14" fmla="*/ 557427 h 1526287"/>
              <a:gd name="connsiteX15" fmla="*/ 2977734 w 3004535"/>
              <a:gd name="connsiteY15" fmla="*/ 371049 h 1526287"/>
              <a:gd name="connsiteX16" fmla="*/ 2878986 w 3004535"/>
              <a:gd name="connsiteY16" fmla="*/ 226593 h 1526287"/>
              <a:gd name="connsiteX17" fmla="*/ 2874224 w 3004535"/>
              <a:gd name="connsiteY17" fmla="*/ 136106 h 1526287"/>
              <a:gd name="connsiteX18" fmla="*/ 2796421 w 3004535"/>
              <a:gd name="connsiteY18" fmla="*/ 74193 h 1526287"/>
              <a:gd name="connsiteX19" fmla="*/ 2556368 w 3004535"/>
              <a:gd name="connsiteY19" fmla="*/ 40855 h 1526287"/>
              <a:gd name="connsiteX20" fmla="*/ 2074617 w 3004535"/>
              <a:gd name="connsiteY20" fmla="*/ 40856 h 1526287"/>
              <a:gd name="connsiteX21" fmla="*/ 1742734 w 3004535"/>
              <a:gd name="connsiteY21" fmla="*/ 43236 h 1526287"/>
              <a:gd name="connsiteX22" fmla="*/ 1237558 w 3004535"/>
              <a:gd name="connsiteY22" fmla="*/ 45618 h 1526287"/>
              <a:gd name="connsiteX23" fmla="*/ 913426 w 3004535"/>
              <a:gd name="connsiteY23" fmla="*/ 12280 h 1526287"/>
              <a:gd name="connsiteX24" fmla="*/ 625660 w 3004535"/>
              <a:gd name="connsiteY24" fmla="*/ 21805 h 1526287"/>
              <a:gd name="connsiteX25" fmla="*/ 360019 w 3004535"/>
              <a:gd name="connsiteY25" fmla="*/ 7518 h 1526287"/>
              <a:gd name="connsiteX26" fmla="*/ 83399 w 3004535"/>
              <a:gd name="connsiteY26" fmla="*/ 21805 h 1526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004535" h="1526287">
                <a:moveTo>
                  <a:pt x="83399" y="21805"/>
                </a:moveTo>
                <a:cubicBezTo>
                  <a:pt x="29358" y="52761"/>
                  <a:pt x="48097" y="131052"/>
                  <a:pt x="35774" y="193255"/>
                </a:cubicBezTo>
                <a:cubicBezTo>
                  <a:pt x="23451" y="255458"/>
                  <a:pt x="-18581" y="318028"/>
                  <a:pt x="9460" y="395022"/>
                </a:cubicBezTo>
                <a:lnTo>
                  <a:pt x="45141" y="623943"/>
                </a:lnTo>
                <a:cubicBezTo>
                  <a:pt x="79272" y="735862"/>
                  <a:pt x="40663" y="764139"/>
                  <a:pt x="144618" y="880457"/>
                </a:cubicBezTo>
                <a:cubicBezTo>
                  <a:pt x="248573" y="996775"/>
                  <a:pt x="426514" y="1318679"/>
                  <a:pt x="668870" y="1321854"/>
                </a:cubicBezTo>
                <a:cubicBezTo>
                  <a:pt x="1003512" y="1346461"/>
                  <a:pt x="1016376" y="1304572"/>
                  <a:pt x="1136772" y="1297560"/>
                </a:cubicBezTo>
                <a:cubicBezTo>
                  <a:pt x="1257168" y="1290548"/>
                  <a:pt x="1288952" y="1262951"/>
                  <a:pt x="1391246" y="1279782"/>
                </a:cubicBezTo>
                <a:cubicBezTo>
                  <a:pt x="1493541" y="1296613"/>
                  <a:pt x="1644016" y="1357477"/>
                  <a:pt x="1750539" y="1398546"/>
                </a:cubicBezTo>
                <a:cubicBezTo>
                  <a:pt x="1857062" y="1439616"/>
                  <a:pt x="1942343" y="1529491"/>
                  <a:pt x="2030383" y="1526199"/>
                </a:cubicBezTo>
                <a:cubicBezTo>
                  <a:pt x="2118423" y="1522907"/>
                  <a:pt x="2241473" y="1390702"/>
                  <a:pt x="2278779" y="1378796"/>
                </a:cubicBezTo>
                <a:cubicBezTo>
                  <a:pt x="2316085" y="1366890"/>
                  <a:pt x="2391819" y="1382364"/>
                  <a:pt x="2454531" y="1358213"/>
                </a:cubicBezTo>
                <a:cubicBezTo>
                  <a:pt x="2517243" y="1334062"/>
                  <a:pt x="2585835" y="1306951"/>
                  <a:pt x="2655052" y="1233889"/>
                </a:cubicBezTo>
                <a:cubicBezTo>
                  <a:pt x="2724269" y="1160827"/>
                  <a:pt x="2812835" y="1032582"/>
                  <a:pt x="2869835" y="919838"/>
                </a:cubicBezTo>
                <a:cubicBezTo>
                  <a:pt x="2926835" y="807094"/>
                  <a:pt x="2979072" y="648892"/>
                  <a:pt x="2997055" y="557427"/>
                </a:cubicBezTo>
                <a:cubicBezTo>
                  <a:pt x="3015038" y="465962"/>
                  <a:pt x="2997412" y="426188"/>
                  <a:pt x="2977734" y="371049"/>
                </a:cubicBezTo>
                <a:cubicBezTo>
                  <a:pt x="2958056" y="315910"/>
                  <a:pt x="2848824" y="286918"/>
                  <a:pt x="2878986" y="226593"/>
                </a:cubicBezTo>
                <a:cubicBezTo>
                  <a:pt x="2894067" y="178968"/>
                  <a:pt x="2887985" y="161506"/>
                  <a:pt x="2874224" y="136106"/>
                </a:cubicBezTo>
                <a:cubicBezTo>
                  <a:pt x="2860463" y="110706"/>
                  <a:pt x="2824202" y="46412"/>
                  <a:pt x="2796421" y="74193"/>
                </a:cubicBezTo>
                <a:lnTo>
                  <a:pt x="2556368" y="40855"/>
                </a:lnTo>
                <a:lnTo>
                  <a:pt x="2074617" y="40856"/>
                </a:lnTo>
                <a:cubicBezTo>
                  <a:pt x="1973017" y="48793"/>
                  <a:pt x="1882244" y="42442"/>
                  <a:pt x="1742734" y="43236"/>
                </a:cubicBezTo>
                <a:cubicBezTo>
                  <a:pt x="1603224" y="44030"/>
                  <a:pt x="1828108" y="82130"/>
                  <a:pt x="1237558" y="45618"/>
                </a:cubicBezTo>
                <a:lnTo>
                  <a:pt x="913426" y="12280"/>
                </a:lnTo>
                <a:lnTo>
                  <a:pt x="625660" y="21805"/>
                </a:lnTo>
                <a:cubicBezTo>
                  <a:pt x="533931" y="11486"/>
                  <a:pt x="474025" y="41650"/>
                  <a:pt x="360019" y="7518"/>
                </a:cubicBezTo>
                <a:cubicBezTo>
                  <a:pt x="286069" y="-420"/>
                  <a:pt x="137440" y="-9151"/>
                  <a:pt x="83399" y="21805"/>
                </a:cubicBezTo>
                <a:close/>
              </a:path>
            </a:pathLst>
          </a:custGeom>
          <a:solidFill>
            <a:srgbClr val="F2C875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675EA2B-423A-4B22-9BB4-A0DE0D7CD8E0}"/>
              </a:ext>
            </a:extLst>
          </p:cNvPr>
          <p:cNvSpPr/>
          <p:nvPr/>
        </p:nvSpPr>
        <p:spPr bwMode="auto">
          <a:xfrm>
            <a:off x="4037936" y="4673692"/>
            <a:ext cx="2018480" cy="1137974"/>
          </a:xfrm>
          <a:custGeom>
            <a:avLst/>
            <a:gdLst>
              <a:gd name="connsiteX0" fmla="*/ 47625 w 2843212"/>
              <a:gd name="connsiteY0" fmla="*/ 0 h 1638300"/>
              <a:gd name="connsiteX1" fmla="*/ 0 w 2843212"/>
              <a:gd name="connsiteY1" fmla="*/ 171450 h 1638300"/>
              <a:gd name="connsiteX2" fmla="*/ 90487 w 2843212"/>
              <a:gd name="connsiteY2" fmla="*/ 338138 h 1638300"/>
              <a:gd name="connsiteX3" fmla="*/ 304800 w 2843212"/>
              <a:gd name="connsiteY3" fmla="*/ 528638 h 1638300"/>
              <a:gd name="connsiteX4" fmla="*/ 295275 w 2843212"/>
              <a:gd name="connsiteY4" fmla="*/ 1009650 h 1638300"/>
              <a:gd name="connsiteX5" fmla="*/ 561975 w 2843212"/>
              <a:gd name="connsiteY5" fmla="*/ 1204913 h 1638300"/>
              <a:gd name="connsiteX6" fmla="*/ 1062037 w 2843212"/>
              <a:gd name="connsiteY6" fmla="*/ 1485900 h 1638300"/>
              <a:gd name="connsiteX7" fmla="*/ 1238250 w 2843212"/>
              <a:gd name="connsiteY7" fmla="*/ 1628775 h 1638300"/>
              <a:gd name="connsiteX8" fmla="*/ 1385887 w 2843212"/>
              <a:gd name="connsiteY8" fmla="*/ 1595438 h 1638300"/>
              <a:gd name="connsiteX9" fmla="*/ 1609725 w 2843212"/>
              <a:gd name="connsiteY9" fmla="*/ 1638300 h 1638300"/>
              <a:gd name="connsiteX10" fmla="*/ 1814512 w 2843212"/>
              <a:gd name="connsiteY10" fmla="*/ 1528763 h 1638300"/>
              <a:gd name="connsiteX11" fmla="*/ 2143125 w 2843212"/>
              <a:gd name="connsiteY11" fmla="*/ 1295400 h 1638300"/>
              <a:gd name="connsiteX12" fmla="*/ 2528887 w 2843212"/>
              <a:gd name="connsiteY12" fmla="*/ 1109663 h 1638300"/>
              <a:gd name="connsiteX13" fmla="*/ 2586037 w 2843212"/>
              <a:gd name="connsiteY13" fmla="*/ 504825 h 1638300"/>
              <a:gd name="connsiteX14" fmla="*/ 2757487 w 2843212"/>
              <a:gd name="connsiteY14" fmla="*/ 390525 h 1638300"/>
              <a:gd name="connsiteX15" fmla="*/ 2843212 w 2843212"/>
              <a:gd name="connsiteY15" fmla="*/ 204788 h 1638300"/>
              <a:gd name="connsiteX16" fmla="*/ 2843212 w 2843212"/>
              <a:gd name="connsiteY16" fmla="*/ 100013 h 1638300"/>
              <a:gd name="connsiteX17" fmla="*/ 2767012 w 2843212"/>
              <a:gd name="connsiteY17" fmla="*/ 100013 h 1638300"/>
              <a:gd name="connsiteX18" fmla="*/ 2719387 w 2843212"/>
              <a:gd name="connsiteY18" fmla="*/ 323850 h 1638300"/>
              <a:gd name="connsiteX19" fmla="*/ 2562225 w 2843212"/>
              <a:gd name="connsiteY19" fmla="*/ 452438 h 1638300"/>
              <a:gd name="connsiteX20" fmla="*/ 2257425 w 2843212"/>
              <a:gd name="connsiteY20" fmla="*/ 476250 h 1638300"/>
              <a:gd name="connsiteX21" fmla="*/ 395287 w 2843212"/>
              <a:gd name="connsiteY21" fmla="*/ 461963 h 1638300"/>
              <a:gd name="connsiteX22" fmla="*/ 214312 w 2843212"/>
              <a:gd name="connsiteY22" fmla="*/ 366713 h 1638300"/>
              <a:gd name="connsiteX23" fmla="*/ 147637 w 2843212"/>
              <a:gd name="connsiteY23" fmla="*/ 233363 h 1638300"/>
              <a:gd name="connsiteX24" fmla="*/ 133350 w 2843212"/>
              <a:gd name="connsiteY24" fmla="*/ 95250 h 1638300"/>
              <a:gd name="connsiteX25" fmla="*/ 47625 w 2843212"/>
              <a:gd name="connsiteY25" fmla="*/ 0 h 1638300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58429 w 2844216"/>
              <a:gd name="connsiteY20" fmla="*/ 477786 h 1639836"/>
              <a:gd name="connsiteX21" fmla="*/ 396291 w 2844216"/>
              <a:gd name="connsiteY21" fmla="*/ 463499 h 1639836"/>
              <a:gd name="connsiteX22" fmla="*/ 215316 w 2844216"/>
              <a:gd name="connsiteY22" fmla="*/ 368249 h 1639836"/>
              <a:gd name="connsiteX23" fmla="*/ 1486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58429 w 2844216"/>
              <a:gd name="connsiteY20" fmla="*/ 477786 h 1639836"/>
              <a:gd name="connsiteX21" fmla="*/ 396291 w 2844216"/>
              <a:gd name="connsiteY21" fmla="*/ 463499 h 1639836"/>
              <a:gd name="connsiteX22" fmla="*/ 215316 w 2844216"/>
              <a:gd name="connsiteY22" fmla="*/ 368249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58429 w 2844216"/>
              <a:gd name="connsiteY20" fmla="*/ 477786 h 1639836"/>
              <a:gd name="connsiteX21" fmla="*/ 396291 w 2844216"/>
              <a:gd name="connsiteY21" fmla="*/ 46349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58429 w 2844216"/>
              <a:gd name="connsiteY20" fmla="*/ 47778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63229 w 2844216"/>
              <a:gd name="connsiteY19" fmla="*/ 453974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720391 w 2844216"/>
              <a:gd name="connsiteY18" fmla="*/ 32538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39836"/>
              <a:gd name="connsiteX1" fmla="*/ 1004 w 2844216"/>
              <a:gd name="connsiteY1" fmla="*/ 172986 h 1639836"/>
              <a:gd name="connsiteX2" fmla="*/ 91491 w 2844216"/>
              <a:gd name="connsiteY2" fmla="*/ 339674 h 1639836"/>
              <a:gd name="connsiteX3" fmla="*/ 305804 w 2844216"/>
              <a:gd name="connsiteY3" fmla="*/ 530174 h 1639836"/>
              <a:gd name="connsiteX4" fmla="*/ 296279 w 2844216"/>
              <a:gd name="connsiteY4" fmla="*/ 1011186 h 1639836"/>
              <a:gd name="connsiteX5" fmla="*/ 562979 w 2844216"/>
              <a:gd name="connsiteY5" fmla="*/ 1206449 h 1639836"/>
              <a:gd name="connsiteX6" fmla="*/ 1063041 w 2844216"/>
              <a:gd name="connsiteY6" fmla="*/ 1487436 h 1639836"/>
              <a:gd name="connsiteX7" fmla="*/ 1239254 w 2844216"/>
              <a:gd name="connsiteY7" fmla="*/ 1630311 h 1639836"/>
              <a:gd name="connsiteX8" fmla="*/ 1386891 w 2844216"/>
              <a:gd name="connsiteY8" fmla="*/ 1596974 h 1639836"/>
              <a:gd name="connsiteX9" fmla="*/ 1610729 w 2844216"/>
              <a:gd name="connsiteY9" fmla="*/ 1639836 h 1639836"/>
              <a:gd name="connsiteX10" fmla="*/ 1815516 w 2844216"/>
              <a:gd name="connsiteY10" fmla="*/ 1530299 h 1639836"/>
              <a:gd name="connsiteX11" fmla="*/ 2144129 w 2844216"/>
              <a:gd name="connsiteY11" fmla="*/ 1296936 h 1639836"/>
              <a:gd name="connsiteX12" fmla="*/ 2529891 w 2844216"/>
              <a:gd name="connsiteY12" fmla="*/ 1111199 h 1639836"/>
              <a:gd name="connsiteX13" fmla="*/ 2587041 w 2844216"/>
              <a:gd name="connsiteY13" fmla="*/ 506361 h 1639836"/>
              <a:gd name="connsiteX14" fmla="*/ 2758491 w 2844216"/>
              <a:gd name="connsiteY14" fmla="*/ 392061 h 1639836"/>
              <a:gd name="connsiteX15" fmla="*/ 2844216 w 2844216"/>
              <a:gd name="connsiteY15" fmla="*/ 206324 h 1639836"/>
              <a:gd name="connsiteX16" fmla="*/ 2844216 w 2844216"/>
              <a:gd name="connsiteY16" fmla="*/ 101549 h 1639836"/>
              <a:gd name="connsiteX17" fmla="*/ 2768016 w 2844216"/>
              <a:gd name="connsiteY17" fmla="*/ 101549 h 1639836"/>
              <a:gd name="connsiteX18" fmla="*/ 2677528 w 2844216"/>
              <a:gd name="connsiteY18" fmla="*/ 268236 h 1639836"/>
              <a:gd name="connsiteX19" fmla="*/ 2520367 w 2844216"/>
              <a:gd name="connsiteY19" fmla="*/ 349199 h 1639836"/>
              <a:gd name="connsiteX20" fmla="*/ 2229854 w 2844216"/>
              <a:gd name="connsiteY20" fmla="*/ 382536 h 1639836"/>
              <a:gd name="connsiteX21" fmla="*/ 486779 w 2844216"/>
              <a:gd name="connsiteY21" fmla="*/ 368249 h 1639836"/>
              <a:gd name="connsiteX22" fmla="*/ 286754 w 2844216"/>
              <a:gd name="connsiteY22" fmla="*/ 325386 h 1639836"/>
              <a:gd name="connsiteX23" fmla="*/ 186741 w 2844216"/>
              <a:gd name="connsiteY23" fmla="*/ 234899 h 1639836"/>
              <a:gd name="connsiteX24" fmla="*/ 134354 w 2844216"/>
              <a:gd name="connsiteY24" fmla="*/ 96786 h 1639836"/>
              <a:gd name="connsiteX25" fmla="*/ 48629 w 2844216"/>
              <a:gd name="connsiteY25" fmla="*/ 1536 h 1639836"/>
              <a:gd name="connsiteX0" fmla="*/ 48629 w 2844216"/>
              <a:gd name="connsiteY0" fmla="*/ 1536 h 1641382"/>
              <a:gd name="connsiteX1" fmla="*/ 1004 w 2844216"/>
              <a:gd name="connsiteY1" fmla="*/ 172986 h 1641382"/>
              <a:gd name="connsiteX2" fmla="*/ 91491 w 2844216"/>
              <a:gd name="connsiteY2" fmla="*/ 339674 h 1641382"/>
              <a:gd name="connsiteX3" fmla="*/ 305804 w 2844216"/>
              <a:gd name="connsiteY3" fmla="*/ 530174 h 1641382"/>
              <a:gd name="connsiteX4" fmla="*/ 296279 w 2844216"/>
              <a:gd name="connsiteY4" fmla="*/ 1011186 h 1641382"/>
              <a:gd name="connsiteX5" fmla="*/ 562979 w 2844216"/>
              <a:gd name="connsiteY5" fmla="*/ 1206449 h 1641382"/>
              <a:gd name="connsiteX6" fmla="*/ 1063041 w 2844216"/>
              <a:gd name="connsiteY6" fmla="*/ 1487436 h 1641382"/>
              <a:gd name="connsiteX7" fmla="*/ 1239254 w 2844216"/>
              <a:gd name="connsiteY7" fmla="*/ 1630311 h 1641382"/>
              <a:gd name="connsiteX8" fmla="*/ 1386891 w 2844216"/>
              <a:gd name="connsiteY8" fmla="*/ 1596974 h 1641382"/>
              <a:gd name="connsiteX9" fmla="*/ 1610729 w 2844216"/>
              <a:gd name="connsiteY9" fmla="*/ 1639836 h 1641382"/>
              <a:gd name="connsiteX10" fmla="*/ 1815516 w 2844216"/>
              <a:gd name="connsiteY10" fmla="*/ 1530299 h 1641382"/>
              <a:gd name="connsiteX11" fmla="*/ 2144129 w 2844216"/>
              <a:gd name="connsiteY11" fmla="*/ 1296936 h 1641382"/>
              <a:gd name="connsiteX12" fmla="*/ 2529891 w 2844216"/>
              <a:gd name="connsiteY12" fmla="*/ 1111199 h 1641382"/>
              <a:gd name="connsiteX13" fmla="*/ 2587041 w 2844216"/>
              <a:gd name="connsiteY13" fmla="*/ 506361 h 1641382"/>
              <a:gd name="connsiteX14" fmla="*/ 2758491 w 2844216"/>
              <a:gd name="connsiteY14" fmla="*/ 392061 h 1641382"/>
              <a:gd name="connsiteX15" fmla="*/ 2844216 w 2844216"/>
              <a:gd name="connsiteY15" fmla="*/ 206324 h 1641382"/>
              <a:gd name="connsiteX16" fmla="*/ 2844216 w 2844216"/>
              <a:gd name="connsiteY16" fmla="*/ 101549 h 1641382"/>
              <a:gd name="connsiteX17" fmla="*/ 2768016 w 2844216"/>
              <a:gd name="connsiteY17" fmla="*/ 101549 h 1641382"/>
              <a:gd name="connsiteX18" fmla="*/ 2677528 w 2844216"/>
              <a:gd name="connsiteY18" fmla="*/ 268236 h 1641382"/>
              <a:gd name="connsiteX19" fmla="*/ 2520367 w 2844216"/>
              <a:gd name="connsiteY19" fmla="*/ 349199 h 1641382"/>
              <a:gd name="connsiteX20" fmla="*/ 2229854 w 2844216"/>
              <a:gd name="connsiteY20" fmla="*/ 382536 h 1641382"/>
              <a:gd name="connsiteX21" fmla="*/ 486779 w 2844216"/>
              <a:gd name="connsiteY21" fmla="*/ 368249 h 1641382"/>
              <a:gd name="connsiteX22" fmla="*/ 286754 w 2844216"/>
              <a:gd name="connsiteY22" fmla="*/ 325386 h 1641382"/>
              <a:gd name="connsiteX23" fmla="*/ 186741 w 2844216"/>
              <a:gd name="connsiteY23" fmla="*/ 234899 h 1641382"/>
              <a:gd name="connsiteX24" fmla="*/ 134354 w 2844216"/>
              <a:gd name="connsiteY24" fmla="*/ 96786 h 1641382"/>
              <a:gd name="connsiteX25" fmla="*/ 48629 w 2844216"/>
              <a:gd name="connsiteY25" fmla="*/ 1536 h 1641382"/>
              <a:gd name="connsiteX0" fmla="*/ 48629 w 2844216"/>
              <a:gd name="connsiteY0" fmla="*/ 1536 h 1641382"/>
              <a:gd name="connsiteX1" fmla="*/ 1004 w 2844216"/>
              <a:gd name="connsiteY1" fmla="*/ 172986 h 1641382"/>
              <a:gd name="connsiteX2" fmla="*/ 91491 w 2844216"/>
              <a:gd name="connsiteY2" fmla="*/ 339674 h 1641382"/>
              <a:gd name="connsiteX3" fmla="*/ 305804 w 2844216"/>
              <a:gd name="connsiteY3" fmla="*/ 530174 h 1641382"/>
              <a:gd name="connsiteX4" fmla="*/ 296279 w 2844216"/>
              <a:gd name="connsiteY4" fmla="*/ 1011186 h 1641382"/>
              <a:gd name="connsiteX5" fmla="*/ 562979 w 2844216"/>
              <a:gd name="connsiteY5" fmla="*/ 1206449 h 1641382"/>
              <a:gd name="connsiteX6" fmla="*/ 1063041 w 2844216"/>
              <a:gd name="connsiteY6" fmla="*/ 1487436 h 1641382"/>
              <a:gd name="connsiteX7" fmla="*/ 1239254 w 2844216"/>
              <a:gd name="connsiteY7" fmla="*/ 1630311 h 1641382"/>
              <a:gd name="connsiteX8" fmla="*/ 1386891 w 2844216"/>
              <a:gd name="connsiteY8" fmla="*/ 1596974 h 1641382"/>
              <a:gd name="connsiteX9" fmla="*/ 1610729 w 2844216"/>
              <a:gd name="connsiteY9" fmla="*/ 1639836 h 1641382"/>
              <a:gd name="connsiteX10" fmla="*/ 1815516 w 2844216"/>
              <a:gd name="connsiteY10" fmla="*/ 1530299 h 1641382"/>
              <a:gd name="connsiteX11" fmla="*/ 2144129 w 2844216"/>
              <a:gd name="connsiteY11" fmla="*/ 1296936 h 1641382"/>
              <a:gd name="connsiteX12" fmla="*/ 2529891 w 2844216"/>
              <a:gd name="connsiteY12" fmla="*/ 1111199 h 1641382"/>
              <a:gd name="connsiteX13" fmla="*/ 2587041 w 2844216"/>
              <a:gd name="connsiteY13" fmla="*/ 506361 h 1641382"/>
              <a:gd name="connsiteX14" fmla="*/ 2758491 w 2844216"/>
              <a:gd name="connsiteY14" fmla="*/ 392061 h 1641382"/>
              <a:gd name="connsiteX15" fmla="*/ 2844216 w 2844216"/>
              <a:gd name="connsiteY15" fmla="*/ 206324 h 1641382"/>
              <a:gd name="connsiteX16" fmla="*/ 2844216 w 2844216"/>
              <a:gd name="connsiteY16" fmla="*/ 101549 h 1641382"/>
              <a:gd name="connsiteX17" fmla="*/ 2768016 w 2844216"/>
              <a:gd name="connsiteY17" fmla="*/ 101549 h 1641382"/>
              <a:gd name="connsiteX18" fmla="*/ 2677528 w 2844216"/>
              <a:gd name="connsiteY18" fmla="*/ 268236 h 1641382"/>
              <a:gd name="connsiteX19" fmla="*/ 2520367 w 2844216"/>
              <a:gd name="connsiteY19" fmla="*/ 349199 h 1641382"/>
              <a:gd name="connsiteX20" fmla="*/ 2229854 w 2844216"/>
              <a:gd name="connsiteY20" fmla="*/ 382536 h 1641382"/>
              <a:gd name="connsiteX21" fmla="*/ 486779 w 2844216"/>
              <a:gd name="connsiteY21" fmla="*/ 368249 h 1641382"/>
              <a:gd name="connsiteX22" fmla="*/ 286754 w 2844216"/>
              <a:gd name="connsiteY22" fmla="*/ 325386 h 1641382"/>
              <a:gd name="connsiteX23" fmla="*/ 186741 w 2844216"/>
              <a:gd name="connsiteY23" fmla="*/ 234899 h 1641382"/>
              <a:gd name="connsiteX24" fmla="*/ 134354 w 2844216"/>
              <a:gd name="connsiteY24" fmla="*/ 96786 h 1641382"/>
              <a:gd name="connsiteX25" fmla="*/ 48629 w 2844216"/>
              <a:gd name="connsiteY25" fmla="*/ 1536 h 1641382"/>
              <a:gd name="connsiteX0" fmla="*/ 48629 w 2844216"/>
              <a:gd name="connsiteY0" fmla="*/ 1536 h 1641382"/>
              <a:gd name="connsiteX1" fmla="*/ 1004 w 2844216"/>
              <a:gd name="connsiteY1" fmla="*/ 172986 h 1641382"/>
              <a:gd name="connsiteX2" fmla="*/ 91491 w 2844216"/>
              <a:gd name="connsiteY2" fmla="*/ 339674 h 1641382"/>
              <a:gd name="connsiteX3" fmla="*/ 305804 w 2844216"/>
              <a:gd name="connsiteY3" fmla="*/ 530174 h 1641382"/>
              <a:gd name="connsiteX4" fmla="*/ 296279 w 2844216"/>
              <a:gd name="connsiteY4" fmla="*/ 1011186 h 1641382"/>
              <a:gd name="connsiteX5" fmla="*/ 562979 w 2844216"/>
              <a:gd name="connsiteY5" fmla="*/ 1206449 h 1641382"/>
              <a:gd name="connsiteX6" fmla="*/ 1063041 w 2844216"/>
              <a:gd name="connsiteY6" fmla="*/ 1487436 h 1641382"/>
              <a:gd name="connsiteX7" fmla="*/ 1239254 w 2844216"/>
              <a:gd name="connsiteY7" fmla="*/ 1630311 h 1641382"/>
              <a:gd name="connsiteX8" fmla="*/ 1386891 w 2844216"/>
              <a:gd name="connsiteY8" fmla="*/ 1596974 h 1641382"/>
              <a:gd name="connsiteX9" fmla="*/ 1610729 w 2844216"/>
              <a:gd name="connsiteY9" fmla="*/ 1639836 h 1641382"/>
              <a:gd name="connsiteX10" fmla="*/ 1815516 w 2844216"/>
              <a:gd name="connsiteY10" fmla="*/ 1530299 h 1641382"/>
              <a:gd name="connsiteX11" fmla="*/ 2144129 w 2844216"/>
              <a:gd name="connsiteY11" fmla="*/ 1296936 h 1641382"/>
              <a:gd name="connsiteX12" fmla="*/ 2529891 w 2844216"/>
              <a:gd name="connsiteY12" fmla="*/ 1111199 h 1641382"/>
              <a:gd name="connsiteX13" fmla="*/ 2587041 w 2844216"/>
              <a:gd name="connsiteY13" fmla="*/ 506361 h 1641382"/>
              <a:gd name="connsiteX14" fmla="*/ 2758491 w 2844216"/>
              <a:gd name="connsiteY14" fmla="*/ 392061 h 1641382"/>
              <a:gd name="connsiteX15" fmla="*/ 2844216 w 2844216"/>
              <a:gd name="connsiteY15" fmla="*/ 206324 h 1641382"/>
              <a:gd name="connsiteX16" fmla="*/ 2844216 w 2844216"/>
              <a:gd name="connsiteY16" fmla="*/ 101549 h 1641382"/>
              <a:gd name="connsiteX17" fmla="*/ 2768016 w 2844216"/>
              <a:gd name="connsiteY17" fmla="*/ 101549 h 1641382"/>
              <a:gd name="connsiteX18" fmla="*/ 2677528 w 2844216"/>
              <a:gd name="connsiteY18" fmla="*/ 268236 h 1641382"/>
              <a:gd name="connsiteX19" fmla="*/ 2520367 w 2844216"/>
              <a:gd name="connsiteY19" fmla="*/ 349199 h 1641382"/>
              <a:gd name="connsiteX20" fmla="*/ 2229854 w 2844216"/>
              <a:gd name="connsiteY20" fmla="*/ 382536 h 1641382"/>
              <a:gd name="connsiteX21" fmla="*/ 486779 w 2844216"/>
              <a:gd name="connsiteY21" fmla="*/ 368249 h 1641382"/>
              <a:gd name="connsiteX22" fmla="*/ 286754 w 2844216"/>
              <a:gd name="connsiteY22" fmla="*/ 325386 h 1641382"/>
              <a:gd name="connsiteX23" fmla="*/ 186741 w 2844216"/>
              <a:gd name="connsiteY23" fmla="*/ 234899 h 1641382"/>
              <a:gd name="connsiteX24" fmla="*/ 134354 w 2844216"/>
              <a:gd name="connsiteY24" fmla="*/ 96786 h 1641382"/>
              <a:gd name="connsiteX25" fmla="*/ 48629 w 2844216"/>
              <a:gd name="connsiteY25" fmla="*/ 1536 h 1641382"/>
              <a:gd name="connsiteX0" fmla="*/ 48629 w 2844216"/>
              <a:gd name="connsiteY0" fmla="*/ 1536 h 1641382"/>
              <a:gd name="connsiteX1" fmla="*/ 1004 w 2844216"/>
              <a:gd name="connsiteY1" fmla="*/ 172986 h 1641382"/>
              <a:gd name="connsiteX2" fmla="*/ 91491 w 2844216"/>
              <a:gd name="connsiteY2" fmla="*/ 339674 h 1641382"/>
              <a:gd name="connsiteX3" fmla="*/ 305804 w 2844216"/>
              <a:gd name="connsiteY3" fmla="*/ 530174 h 1641382"/>
              <a:gd name="connsiteX4" fmla="*/ 296279 w 2844216"/>
              <a:gd name="connsiteY4" fmla="*/ 1011186 h 1641382"/>
              <a:gd name="connsiteX5" fmla="*/ 562979 w 2844216"/>
              <a:gd name="connsiteY5" fmla="*/ 1206449 h 1641382"/>
              <a:gd name="connsiteX6" fmla="*/ 1063041 w 2844216"/>
              <a:gd name="connsiteY6" fmla="*/ 1487436 h 1641382"/>
              <a:gd name="connsiteX7" fmla="*/ 1239254 w 2844216"/>
              <a:gd name="connsiteY7" fmla="*/ 1630311 h 1641382"/>
              <a:gd name="connsiteX8" fmla="*/ 1386891 w 2844216"/>
              <a:gd name="connsiteY8" fmla="*/ 1596974 h 1641382"/>
              <a:gd name="connsiteX9" fmla="*/ 1610729 w 2844216"/>
              <a:gd name="connsiteY9" fmla="*/ 1639836 h 1641382"/>
              <a:gd name="connsiteX10" fmla="*/ 1815516 w 2844216"/>
              <a:gd name="connsiteY10" fmla="*/ 1530299 h 1641382"/>
              <a:gd name="connsiteX11" fmla="*/ 2144129 w 2844216"/>
              <a:gd name="connsiteY11" fmla="*/ 1296936 h 1641382"/>
              <a:gd name="connsiteX12" fmla="*/ 2529891 w 2844216"/>
              <a:gd name="connsiteY12" fmla="*/ 1111199 h 1641382"/>
              <a:gd name="connsiteX13" fmla="*/ 2587041 w 2844216"/>
              <a:gd name="connsiteY13" fmla="*/ 506361 h 1641382"/>
              <a:gd name="connsiteX14" fmla="*/ 2758491 w 2844216"/>
              <a:gd name="connsiteY14" fmla="*/ 392061 h 1641382"/>
              <a:gd name="connsiteX15" fmla="*/ 2844216 w 2844216"/>
              <a:gd name="connsiteY15" fmla="*/ 206324 h 1641382"/>
              <a:gd name="connsiteX16" fmla="*/ 2844216 w 2844216"/>
              <a:gd name="connsiteY16" fmla="*/ 101549 h 1641382"/>
              <a:gd name="connsiteX17" fmla="*/ 2768016 w 2844216"/>
              <a:gd name="connsiteY17" fmla="*/ 101549 h 1641382"/>
              <a:gd name="connsiteX18" fmla="*/ 2677528 w 2844216"/>
              <a:gd name="connsiteY18" fmla="*/ 268236 h 1641382"/>
              <a:gd name="connsiteX19" fmla="*/ 2520367 w 2844216"/>
              <a:gd name="connsiteY19" fmla="*/ 349199 h 1641382"/>
              <a:gd name="connsiteX20" fmla="*/ 2229854 w 2844216"/>
              <a:gd name="connsiteY20" fmla="*/ 382536 h 1641382"/>
              <a:gd name="connsiteX21" fmla="*/ 486779 w 2844216"/>
              <a:gd name="connsiteY21" fmla="*/ 368249 h 1641382"/>
              <a:gd name="connsiteX22" fmla="*/ 286754 w 2844216"/>
              <a:gd name="connsiteY22" fmla="*/ 325386 h 1641382"/>
              <a:gd name="connsiteX23" fmla="*/ 186741 w 2844216"/>
              <a:gd name="connsiteY23" fmla="*/ 234899 h 1641382"/>
              <a:gd name="connsiteX24" fmla="*/ 134354 w 2844216"/>
              <a:gd name="connsiteY24" fmla="*/ 96786 h 1641382"/>
              <a:gd name="connsiteX25" fmla="*/ 48629 w 2844216"/>
              <a:gd name="connsiteY25" fmla="*/ 1536 h 1641382"/>
              <a:gd name="connsiteX0" fmla="*/ 48629 w 2844216"/>
              <a:gd name="connsiteY0" fmla="*/ 1536 h 1641533"/>
              <a:gd name="connsiteX1" fmla="*/ 1004 w 2844216"/>
              <a:gd name="connsiteY1" fmla="*/ 172986 h 1641533"/>
              <a:gd name="connsiteX2" fmla="*/ 91491 w 2844216"/>
              <a:gd name="connsiteY2" fmla="*/ 339674 h 1641533"/>
              <a:gd name="connsiteX3" fmla="*/ 305804 w 2844216"/>
              <a:gd name="connsiteY3" fmla="*/ 530174 h 1641533"/>
              <a:gd name="connsiteX4" fmla="*/ 296279 w 2844216"/>
              <a:gd name="connsiteY4" fmla="*/ 1011186 h 1641533"/>
              <a:gd name="connsiteX5" fmla="*/ 562979 w 2844216"/>
              <a:gd name="connsiteY5" fmla="*/ 1206449 h 1641533"/>
              <a:gd name="connsiteX6" fmla="*/ 1063041 w 2844216"/>
              <a:gd name="connsiteY6" fmla="*/ 1487436 h 1641533"/>
              <a:gd name="connsiteX7" fmla="*/ 1296404 w 2844216"/>
              <a:gd name="connsiteY7" fmla="*/ 1596973 h 1641533"/>
              <a:gd name="connsiteX8" fmla="*/ 1386891 w 2844216"/>
              <a:gd name="connsiteY8" fmla="*/ 1596974 h 1641533"/>
              <a:gd name="connsiteX9" fmla="*/ 1610729 w 2844216"/>
              <a:gd name="connsiteY9" fmla="*/ 1639836 h 1641533"/>
              <a:gd name="connsiteX10" fmla="*/ 1815516 w 2844216"/>
              <a:gd name="connsiteY10" fmla="*/ 1530299 h 1641533"/>
              <a:gd name="connsiteX11" fmla="*/ 2144129 w 2844216"/>
              <a:gd name="connsiteY11" fmla="*/ 1296936 h 1641533"/>
              <a:gd name="connsiteX12" fmla="*/ 2529891 w 2844216"/>
              <a:gd name="connsiteY12" fmla="*/ 1111199 h 1641533"/>
              <a:gd name="connsiteX13" fmla="*/ 2587041 w 2844216"/>
              <a:gd name="connsiteY13" fmla="*/ 506361 h 1641533"/>
              <a:gd name="connsiteX14" fmla="*/ 2758491 w 2844216"/>
              <a:gd name="connsiteY14" fmla="*/ 392061 h 1641533"/>
              <a:gd name="connsiteX15" fmla="*/ 2844216 w 2844216"/>
              <a:gd name="connsiteY15" fmla="*/ 206324 h 1641533"/>
              <a:gd name="connsiteX16" fmla="*/ 2844216 w 2844216"/>
              <a:gd name="connsiteY16" fmla="*/ 101549 h 1641533"/>
              <a:gd name="connsiteX17" fmla="*/ 2768016 w 2844216"/>
              <a:gd name="connsiteY17" fmla="*/ 101549 h 1641533"/>
              <a:gd name="connsiteX18" fmla="*/ 2677528 w 2844216"/>
              <a:gd name="connsiteY18" fmla="*/ 268236 h 1641533"/>
              <a:gd name="connsiteX19" fmla="*/ 2520367 w 2844216"/>
              <a:gd name="connsiteY19" fmla="*/ 349199 h 1641533"/>
              <a:gd name="connsiteX20" fmla="*/ 2229854 w 2844216"/>
              <a:gd name="connsiteY20" fmla="*/ 382536 h 1641533"/>
              <a:gd name="connsiteX21" fmla="*/ 486779 w 2844216"/>
              <a:gd name="connsiteY21" fmla="*/ 368249 h 1641533"/>
              <a:gd name="connsiteX22" fmla="*/ 286754 w 2844216"/>
              <a:gd name="connsiteY22" fmla="*/ 325386 h 1641533"/>
              <a:gd name="connsiteX23" fmla="*/ 186741 w 2844216"/>
              <a:gd name="connsiteY23" fmla="*/ 234899 h 1641533"/>
              <a:gd name="connsiteX24" fmla="*/ 134354 w 2844216"/>
              <a:gd name="connsiteY24" fmla="*/ 96786 h 1641533"/>
              <a:gd name="connsiteX25" fmla="*/ 48629 w 2844216"/>
              <a:gd name="connsiteY25" fmla="*/ 1536 h 1641533"/>
              <a:gd name="connsiteX0" fmla="*/ 48629 w 2844216"/>
              <a:gd name="connsiteY0" fmla="*/ 1536 h 1641714"/>
              <a:gd name="connsiteX1" fmla="*/ 1004 w 2844216"/>
              <a:gd name="connsiteY1" fmla="*/ 172986 h 1641714"/>
              <a:gd name="connsiteX2" fmla="*/ 91491 w 2844216"/>
              <a:gd name="connsiteY2" fmla="*/ 339674 h 1641714"/>
              <a:gd name="connsiteX3" fmla="*/ 305804 w 2844216"/>
              <a:gd name="connsiteY3" fmla="*/ 530174 h 1641714"/>
              <a:gd name="connsiteX4" fmla="*/ 296279 w 2844216"/>
              <a:gd name="connsiteY4" fmla="*/ 1011186 h 1641714"/>
              <a:gd name="connsiteX5" fmla="*/ 562979 w 2844216"/>
              <a:gd name="connsiteY5" fmla="*/ 1206449 h 1641714"/>
              <a:gd name="connsiteX6" fmla="*/ 1063041 w 2844216"/>
              <a:gd name="connsiteY6" fmla="*/ 1487436 h 1641714"/>
              <a:gd name="connsiteX7" fmla="*/ 1282116 w 2844216"/>
              <a:gd name="connsiteY7" fmla="*/ 1563636 h 1641714"/>
              <a:gd name="connsiteX8" fmla="*/ 1386891 w 2844216"/>
              <a:gd name="connsiteY8" fmla="*/ 1596974 h 1641714"/>
              <a:gd name="connsiteX9" fmla="*/ 1610729 w 2844216"/>
              <a:gd name="connsiteY9" fmla="*/ 1639836 h 1641714"/>
              <a:gd name="connsiteX10" fmla="*/ 1815516 w 2844216"/>
              <a:gd name="connsiteY10" fmla="*/ 1530299 h 1641714"/>
              <a:gd name="connsiteX11" fmla="*/ 2144129 w 2844216"/>
              <a:gd name="connsiteY11" fmla="*/ 1296936 h 1641714"/>
              <a:gd name="connsiteX12" fmla="*/ 2529891 w 2844216"/>
              <a:gd name="connsiteY12" fmla="*/ 1111199 h 1641714"/>
              <a:gd name="connsiteX13" fmla="*/ 2587041 w 2844216"/>
              <a:gd name="connsiteY13" fmla="*/ 506361 h 1641714"/>
              <a:gd name="connsiteX14" fmla="*/ 2758491 w 2844216"/>
              <a:gd name="connsiteY14" fmla="*/ 392061 h 1641714"/>
              <a:gd name="connsiteX15" fmla="*/ 2844216 w 2844216"/>
              <a:gd name="connsiteY15" fmla="*/ 206324 h 1641714"/>
              <a:gd name="connsiteX16" fmla="*/ 2844216 w 2844216"/>
              <a:gd name="connsiteY16" fmla="*/ 101549 h 1641714"/>
              <a:gd name="connsiteX17" fmla="*/ 2768016 w 2844216"/>
              <a:gd name="connsiteY17" fmla="*/ 101549 h 1641714"/>
              <a:gd name="connsiteX18" fmla="*/ 2677528 w 2844216"/>
              <a:gd name="connsiteY18" fmla="*/ 268236 h 1641714"/>
              <a:gd name="connsiteX19" fmla="*/ 2520367 w 2844216"/>
              <a:gd name="connsiteY19" fmla="*/ 349199 h 1641714"/>
              <a:gd name="connsiteX20" fmla="*/ 2229854 w 2844216"/>
              <a:gd name="connsiteY20" fmla="*/ 382536 h 1641714"/>
              <a:gd name="connsiteX21" fmla="*/ 486779 w 2844216"/>
              <a:gd name="connsiteY21" fmla="*/ 368249 h 1641714"/>
              <a:gd name="connsiteX22" fmla="*/ 286754 w 2844216"/>
              <a:gd name="connsiteY22" fmla="*/ 325386 h 1641714"/>
              <a:gd name="connsiteX23" fmla="*/ 186741 w 2844216"/>
              <a:gd name="connsiteY23" fmla="*/ 234899 h 1641714"/>
              <a:gd name="connsiteX24" fmla="*/ 134354 w 2844216"/>
              <a:gd name="connsiteY24" fmla="*/ 96786 h 1641714"/>
              <a:gd name="connsiteX25" fmla="*/ 48629 w 2844216"/>
              <a:gd name="connsiteY25" fmla="*/ 1536 h 1641714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15516 w 2844216"/>
              <a:gd name="connsiteY10" fmla="*/ 1530299 h 1600606"/>
              <a:gd name="connsiteX11" fmla="*/ 2144129 w 2844216"/>
              <a:gd name="connsiteY11" fmla="*/ 1296936 h 1600606"/>
              <a:gd name="connsiteX12" fmla="*/ 2529891 w 2844216"/>
              <a:gd name="connsiteY12" fmla="*/ 1111199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44129 w 2844216"/>
              <a:gd name="connsiteY11" fmla="*/ 1296936 h 1600606"/>
              <a:gd name="connsiteX12" fmla="*/ 2529891 w 2844216"/>
              <a:gd name="connsiteY12" fmla="*/ 1111199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44129 w 2844216"/>
              <a:gd name="connsiteY11" fmla="*/ 1296936 h 1600606"/>
              <a:gd name="connsiteX12" fmla="*/ 2529891 w 2844216"/>
              <a:gd name="connsiteY12" fmla="*/ 1111199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9891 w 2844216"/>
              <a:gd name="connsiteY12" fmla="*/ 1111199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482266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62979 w 2844216"/>
              <a:gd name="connsiteY5" fmla="*/ 12064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96316 w 2844216"/>
              <a:gd name="connsiteY5" fmla="*/ 1130249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591554 w 2844216"/>
              <a:gd name="connsiteY5" fmla="*/ 1192162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662992 w 2844216"/>
              <a:gd name="connsiteY5" fmla="*/ 1258837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296279 w 2844216"/>
              <a:gd name="connsiteY4" fmla="*/ 1011186 h 1600606"/>
              <a:gd name="connsiteX5" fmla="*/ 672517 w 2844216"/>
              <a:gd name="connsiteY5" fmla="*/ 1277887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1063041 w 2844216"/>
              <a:gd name="connsiteY6" fmla="*/ 1487436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1010654 w 2844216"/>
              <a:gd name="connsiteY6" fmla="*/ 1458861 h 1600606"/>
              <a:gd name="connsiteX7" fmla="*/ 128211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1010654 w 2844216"/>
              <a:gd name="connsiteY6" fmla="*/ 1458861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967792 w 2844216"/>
              <a:gd name="connsiteY6" fmla="*/ 1463623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58416 w 2844216"/>
              <a:gd name="connsiteY11" fmla="*/ 1311223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967792 w 2844216"/>
              <a:gd name="connsiteY6" fmla="*/ 1463623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20366 w 2844216"/>
              <a:gd name="connsiteY12" fmla="*/ 109691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967792 w 2844216"/>
              <a:gd name="connsiteY6" fmla="*/ 1463623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496554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72517 w 2844216"/>
              <a:gd name="connsiteY5" fmla="*/ 127788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496554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05842 w 2844216"/>
              <a:gd name="connsiteY5" fmla="*/ 1301700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496554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39180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496554 w 2844216"/>
              <a:gd name="connsiteY12" fmla="*/ 1077862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53429 w 2844216"/>
              <a:gd name="connsiteY4" fmla="*/ 1011186 h 1600606"/>
              <a:gd name="connsiteX5" fmla="*/ 639180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15604 w 2844216"/>
              <a:gd name="connsiteY12" fmla="*/ 1049287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48666 w 2844216"/>
              <a:gd name="connsiteY4" fmla="*/ 996899 h 1600606"/>
              <a:gd name="connsiteX5" fmla="*/ 639180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15604 w 2844216"/>
              <a:gd name="connsiteY12" fmla="*/ 1049287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48666 w 2844216"/>
              <a:gd name="connsiteY4" fmla="*/ 996899 h 1600606"/>
              <a:gd name="connsiteX5" fmla="*/ 610605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15604 w 2844216"/>
              <a:gd name="connsiteY12" fmla="*/ 1049287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600606"/>
              <a:gd name="connsiteX1" fmla="*/ 1004 w 2844216"/>
              <a:gd name="connsiteY1" fmla="*/ 172986 h 1600606"/>
              <a:gd name="connsiteX2" fmla="*/ 91491 w 2844216"/>
              <a:gd name="connsiteY2" fmla="*/ 339674 h 1600606"/>
              <a:gd name="connsiteX3" fmla="*/ 305804 w 2844216"/>
              <a:gd name="connsiteY3" fmla="*/ 530174 h 1600606"/>
              <a:gd name="connsiteX4" fmla="*/ 348666 w 2844216"/>
              <a:gd name="connsiteY4" fmla="*/ 996899 h 1600606"/>
              <a:gd name="connsiteX5" fmla="*/ 610605 w 2844216"/>
              <a:gd name="connsiteY5" fmla="*/ 1296937 h 1600606"/>
              <a:gd name="connsiteX6" fmla="*/ 920167 w 2844216"/>
              <a:gd name="connsiteY6" fmla="*/ 1468385 h 1600606"/>
              <a:gd name="connsiteX7" fmla="*/ 1224966 w 2844216"/>
              <a:gd name="connsiteY7" fmla="*/ 1563636 h 1600606"/>
              <a:gd name="connsiteX8" fmla="*/ 1386891 w 2844216"/>
              <a:gd name="connsiteY8" fmla="*/ 1596974 h 1600606"/>
              <a:gd name="connsiteX9" fmla="*/ 1582154 w 2844216"/>
              <a:gd name="connsiteY9" fmla="*/ 1592211 h 1600606"/>
              <a:gd name="connsiteX10" fmla="*/ 1820278 w 2844216"/>
              <a:gd name="connsiteY10" fmla="*/ 1530299 h 1600606"/>
              <a:gd name="connsiteX11" fmla="*/ 2172704 w 2844216"/>
              <a:gd name="connsiteY11" fmla="*/ 1335035 h 1600606"/>
              <a:gd name="connsiteX12" fmla="*/ 2515604 w 2844216"/>
              <a:gd name="connsiteY12" fmla="*/ 1049287 h 1600606"/>
              <a:gd name="connsiteX13" fmla="*/ 2587041 w 2844216"/>
              <a:gd name="connsiteY13" fmla="*/ 506361 h 1600606"/>
              <a:gd name="connsiteX14" fmla="*/ 2758491 w 2844216"/>
              <a:gd name="connsiteY14" fmla="*/ 392061 h 1600606"/>
              <a:gd name="connsiteX15" fmla="*/ 2844216 w 2844216"/>
              <a:gd name="connsiteY15" fmla="*/ 206324 h 1600606"/>
              <a:gd name="connsiteX16" fmla="*/ 2844216 w 2844216"/>
              <a:gd name="connsiteY16" fmla="*/ 101549 h 1600606"/>
              <a:gd name="connsiteX17" fmla="*/ 2768016 w 2844216"/>
              <a:gd name="connsiteY17" fmla="*/ 101549 h 1600606"/>
              <a:gd name="connsiteX18" fmla="*/ 2677528 w 2844216"/>
              <a:gd name="connsiteY18" fmla="*/ 268236 h 1600606"/>
              <a:gd name="connsiteX19" fmla="*/ 2520367 w 2844216"/>
              <a:gd name="connsiteY19" fmla="*/ 349199 h 1600606"/>
              <a:gd name="connsiteX20" fmla="*/ 2229854 w 2844216"/>
              <a:gd name="connsiteY20" fmla="*/ 382536 h 1600606"/>
              <a:gd name="connsiteX21" fmla="*/ 486779 w 2844216"/>
              <a:gd name="connsiteY21" fmla="*/ 368249 h 1600606"/>
              <a:gd name="connsiteX22" fmla="*/ 286754 w 2844216"/>
              <a:gd name="connsiteY22" fmla="*/ 325386 h 1600606"/>
              <a:gd name="connsiteX23" fmla="*/ 186741 w 2844216"/>
              <a:gd name="connsiteY23" fmla="*/ 234899 h 1600606"/>
              <a:gd name="connsiteX24" fmla="*/ 134354 w 2844216"/>
              <a:gd name="connsiteY24" fmla="*/ 96786 h 1600606"/>
              <a:gd name="connsiteX25" fmla="*/ 48629 w 2844216"/>
              <a:gd name="connsiteY25" fmla="*/ 1536 h 1600606"/>
              <a:gd name="connsiteX0" fmla="*/ 48629 w 2844216"/>
              <a:gd name="connsiteY0" fmla="*/ 1536 h 1599993"/>
              <a:gd name="connsiteX1" fmla="*/ 1004 w 2844216"/>
              <a:gd name="connsiteY1" fmla="*/ 172986 h 1599993"/>
              <a:gd name="connsiteX2" fmla="*/ 91491 w 2844216"/>
              <a:gd name="connsiteY2" fmla="*/ 339674 h 1599993"/>
              <a:gd name="connsiteX3" fmla="*/ 305804 w 2844216"/>
              <a:gd name="connsiteY3" fmla="*/ 530174 h 1599993"/>
              <a:gd name="connsiteX4" fmla="*/ 348666 w 2844216"/>
              <a:gd name="connsiteY4" fmla="*/ 996899 h 1599993"/>
              <a:gd name="connsiteX5" fmla="*/ 610605 w 2844216"/>
              <a:gd name="connsiteY5" fmla="*/ 1296937 h 1599993"/>
              <a:gd name="connsiteX6" fmla="*/ 920167 w 2844216"/>
              <a:gd name="connsiteY6" fmla="*/ 1468385 h 1599993"/>
              <a:gd name="connsiteX7" fmla="*/ 1210678 w 2844216"/>
              <a:gd name="connsiteY7" fmla="*/ 1587448 h 1599993"/>
              <a:gd name="connsiteX8" fmla="*/ 1386891 w 2844216"/>
              <a:gd name="connsiteY8" fmla="*/ 1596974 h 1599993"/>
              <a:gd name="connsiteX9" fmla="*/ 1582154 w 2844216"/>
              <a:gd name="connsiteY9" fmla="*/ 1592211 h 1599993"/>
              <a:gd name="connsiteX10" fmla="*/ 1820278 w 2844216"/>
              <a:gd name="connsiteY10" fmla="*/ 1530299 h 1599993"/>
              <a:gd name="connsiteX11" fmla="*/ 2172704 w 2844216"/>
              <a:gd name="connsiteY11" fmla="*/ 1335035 h 1599993"/>
              <a:gd name="connsiteX12" fmla="*/ 2515604 w 2844216"/>
              <a:gd name="connsiteY12" fmla="*/ 1049287 h 1599993"/>
              <a:gd name="connsiteX13" fmla="*/ 2587041 w 2844216"/>
              <a:gd name="connsiteY13" fmla="*/ 506361 h 1599993"/>
              <a:gd name="connsiteX14" fmla="*/ 2758491 w 2844216"/>
              <a:gd name="connsiteY14" fmla="*/ 392061 h 1599993"/>
              <a:gd name="connsiteX15" fmla="*/ 2844216 w 2844216"/>
              <a:gd name="connsiteY15" fmla="*/ 206324 h 1599993"/>
              <a:gd name="connsiteX16" fmla="*/ 2844216 w 2844216"/>
              <a:gd name="connsiteY16" fmla="*/ 101549 h 1599993"/>
              <a:gd name="connsiteX17" fmla="*/ 2768016 w 2844216"/>
              <a:gd name="connsiteY17" fmla="*/ 101549 h 1599993"/>
              <a:gd name="connsiteX18" fmla="*/ 2677528 w 2844216"/>
              <a:gd name="connsiteY18" fmla="*/ 268236 h 1599993"/>
              <a:gd name="connsiteX19" fmla="*/ 2520367 w 2844216"/>
              <a:gd name="connsiteY19" fmla="*/ 349199 h 1599993"/>
              <a:gd name="connsiteX20" fmla="*/ 2229854 w 2844216"/>
              <a:gd name="connsiteY20" fmla="*/ 382536 h 1599993"/>
              <a:gd name="connsiteX21" fmla="*/ 486779 w 2844216"/>
              <a:gd name="connsiteY21" fmla="*/ 368249 h 1599993"/>
              <a:gd name="connsiteX22" fmla="*/ 286754 w 2844216"/>
              <a:gd name="connsiteY22" fmla="*/ 325386 h 1599993"/>
              <a:gd name="connsiteX23" fmla="*/ 186741 w 2844216"/>
              <a:gd name="connsiteY23" fmla="*/ 234899 h 1599993"/>
              <a:gd name="connsiteX24" fmla="*/ 134354 w 2844216"/>
              <a:gd name="connsiteY24" fmla="*/ 96786 h 1599993"/>
              <a:gd name="connsiteX25" fmla="*/ 48629 w 2844216"/>
              <a:gd name="connsiteY25" fmla="*/ 1536 h 1599993"/>
              <a:gd name="connsiteX0" fmla="*/ 48629 w 2844216"/>
              <a:gd name="connsiteY0" fmla="*/ 1536 h 1611328"/>
              <a:gd name="connsiteX1" fmla="*/ 1004 w 2844216"/>
              <a:gd name="connsiteY1" fmla="*/ 172986 h 1611328"/>
              <a:gd name="connsiteX2" fmla="*/ 91491 w 2844216"/>
              <a:gd name="connsiteY2" fmla="*/ 339674 h 1611328"/>
              <a:gd name="connsiteX3" fmla="*/ 305804 w 2844216"/>
              <a:gd name="connsiteY3" fmla="*/ 530174 h 1611328"/>
              <a:gd name="connsiteX4" fmla="*/ 348666 w 2844216"/>
              <a:gd name="connsiteY4" fmla="*/ 996899 h 1611328"/>
              <a:gd name="connsiteX5" fmla="*/ 610605 w 2844216"/>
              <a:gd name="connsiteY5" fmla="*/ 1296937 h 1611328"/>
              <a:gd name="connsiteX6" fmla="*/ 920167 w 2844216"/>
              <a:gd name="connsiteY6" fmla="*/ 1468385 h 1611328"/>
              <a:gd name="connsiteX7" fmla="*/ 1210678 w 2844216"/>
              <a:gd name="connsiteY7" fmla="*/ 1587448 h 1611328"/>
              <a:gd name="connsiteX8" fmla="*/ 1396416 w 2844216"/>
              <a:gd name="connsiteY8" fmla="*/ 1611262 h 1611328"/>
              <a:gd name="connsiteX9" fmla="*/ 1582154 w 2844216"/>
              <a:gd name="connsiteY9" fmla="*/ 1592211 h 1611328"/>
              <a:gd name="connsiteX10" fmla="*/ 1820278 w 2844216"/>
              <a:gd name="connsiteY10" fmla="*/ 1530299 h 1611328"/>
              <a:gd name="connsiteX11" fmla="*/ 2172704 w 2844216"/>
              <a:gd name="connsiteY11" fmla="*/ 1335035 h 1611328"/>
              <a:gd name="connsiteX12" fmla="*/ 2515604 w 2844216"/>
              <a:gd name="connsiteY12" fmla="*/ 1049287 h 1611328"/>
              <a:gd name="connsiteX13" fmla="*/ 2587041 w 2844216"/>
              <a:gd name="connsiteY13" fmla="*/ 506361 h 1611328"/>
              <a:gd name="connsiteX14" fmla="*/ 2758491 w 2844216"/>
              <a:gd name="connsiteY14" fmla="*/ 392061 h 1611328"/>
              <a:gd name="connsiteX15" fmla="*/ 2844216 w 2844216"/>
              <a:gd name="connsiteY15" fmla="*/ 206324 h 1611328"/>
              <a:gd name="connsiteX16" fmla="*/ 2844216 w 2844216"/>
              <a:gd name="connsiteY16" fmla="*/ 101549 h 1611328"/>
              <a:gd name="connsiteX17" fmla="*/ 2768016 w 2844216"/>
              <a:gd name="connsiteY17" fmla="*/ 101549 h 1611328"/>
              <a:gd name="connsiteX18" fmla="*/ 2677528 w 2844216"/>
              <a:gd name="connsiteY18" fmla="*/ 268236 h 1611328"/>
              <a:gd name="connsiteX19" fmla="*/ 2520367 w 2844216"/>
              <a:gd name="connsiteY19" fmla="*/ 349199 h 1611328"/>
              <a:gd name="connsiteX20" fmla="*/ 2229854 w 2844216"/>
              <a:gd name="connsiteY20" fmla="*/ 382536 h 1611328"/>
              <a:gd name="connsiteX21" fmla="*/ 486779 w 2844216"/>
              <a:gd name="connsiteY21" fmla="*/ 368249 h 1611328"/>
              <a:gd name="connsiteX22" fmla="*/ 286754 w 2844216"/>
              <a:gd name="connsiteY22" fmla="*/ 325386 h 1611328"/>
              <a:gd name="connsiteX23" fmla="*/ 186741 w 2844216"/>
              <a:gd name="connsiteY23" fmla="*/ 234899 h 1611328"/>
              <a:gd name="connsiteX24" fmla="*/ 134354 w 2844216"/>
              <a:gd name="connsiteY24" fmla="*/ 96786 h 1611328"/>
              <a:gd name="connsiteX25" fmla="*/ 48629 w 2844216"/>
              <a:gd name="connsiteY25" fmla="*/ 1536 h 161132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30174 h 1612858"/>
              <a:gd name="connsiteX4" fmla="*/ 34866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72704 w 2844216"/>
              <a:gd name="connsiteY11" fmla="*/ 1335035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30174 h 1612858"/>
              <a:gd name="connsiteX4" fmla="*/ 34866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72704 w 2844216"/>
              <a:gd name="connsiteY11" fmla="*/ 1335035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30174 h 1612858"/>
              <a:gd name="connsiteX4" fmla="*/ 34866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58749 h 1612858"/>
              <a:gd name="connsiteX4" fmla="*/ 34866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305804 w 2844216"/>
              <a:gd name="connsiteY3" fmla="*/ 558749 h 1612858"/>
              <a:gd name="connsiteX4" fmla="*/ 32961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91516 w 2844216"/>
              <a:gd name="connsiteY3" fmla="*/ 592086 h 1612858"/>
              <a:gd name="connsiteX4" fmla="*/ 329616 w 2844216"/>
              <a:gd name="connsiteY4" fmla="*/ 996899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91516 w 2844216"/>
              <a:gd name="connsiteY3" fmla="*/ 592086 h 1612858"/>
              <a:gd name="connsiteX4" fmla="*/ 367716 w 2844216"/>
              <a:gd name="connsiteY4" fmla="*/ 1044524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91516 w 2844216"/>
              <a:gd name="connsiteY3" fmla="*/ 592086 h 1612858"/>
              <a:gd name="connsiteX4" fmla="*/ 334379 w 2844216"/>
              <a:gd name="connsiteY4" fmla="*/ 1030236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91516 w 2844216"/>
              <a:gd name="connsiteY3" fmla="*/ 592086 h 1612858"/>
              <a:gd name="connsiteX4" fmla="*/ 339141 w 2844216"/>
              <a:gd name="connsiteY4" fmla="*/ 1039761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48629 w 2844216"/>
              <a:gd name="connsiteY0" fmla="*/ 1536 h 1612858"/>
              <a:gd name="connsiteX1" fmla="*/ 1004 w 2844216"/>
              <a:gd name="connsiteY1" fmla="*/ 172986 h 1612858"/>
              <a:gd name="connsiteX2" fmla="*/ 91491 w 2844216"/>
              <a:gd name="connsiteY2" fmla="*/ 339674 h 1612858"/>
              <a:gd name="connsiteX3" fmla="*/ 267703 w 2844216"/>
              <a:gd name="connsiteY3" fmla="*/ 606374 h 1612858"/>
              <a:gd name="connsiteX4" fmla="*/ 339141 w 2844216"/>
              <a:gd name="connsiteY4" fmla="*/ 1039761 h 1612858"/>
              <a:gd name="connsiteX5" fmla="*/ 610605 w 2844216"/>
              <a:gd name="connsiteY5" fmla="*/ 1296937 h 1612858"/>
              <a:gd name="connsiteX6" fmla="*/ 920167 w 2844216"/>
              <a:gd name="connsiteY6" fmla="*/ 1468385 h 1612858"/>
              <a:gd name="connsiteX7" fmla="*/ 1210678 w 2844216"/>
              <a:gd name="connsiteY7" fmla="*/ 1587448 h 1612858"/>
              <a:gd name="connsiteX8" fmla="*/ 1396416 w 2844216"/>
              <a:gd name="connsiteY8" fmla="*/ 1611262 h 1612858"/>
              <a:gd name="connsiteX9" fmla="*/ 1596442 w 2844216"/>
              <a:gd name="connsiteY9" fmla="*/ 1601736 h 1612858"/>
              <a:gd name="connsiteX10" fmla="*/ 1820278 w 2844216"/>
              <a:gd name="connsiteY10" fmla="*/ 1530299 h 1612858"/>
              <a:gd name="connsiteX11" fmla="*/ 2182229 w 2844216"/>
              <a:gd name="connsiteY11" fmla="*/ 1349323 h 1612858"/>
              <a:gd name="connsiteX12" fmla="*/ 2515604 w 2844216"/>
              <a:gd name="connsiteY12" fmla="*/ 1049287 h 1612858"/>
              <a:gd name="connsiteX13" fmla="*/ 2587041 w 2844216"/>
              <a:gd name="connsiteY13" fmla="*/ 506361 h 1612858"/>
              <a:gd name="connsiteX14" fmla="*/ 2758491 w 2844216"/>
              <a:gd name="connsiteY14" fmla="*/ 392061 h 1612858"/>
              <a:gd name="connsiteX15" fmla="*/ 2844216 w 2844216"/>
              <a:gd name="connsiteY15" fmla="*/ 206324 h 1612858"/>
              <a:gd name="connsiteX16" fmla="*/ 2844216 w 2844216"/>
              <a:gd name="connsiteY16" fmla="*/ 101549 h 1612858"/>
              <a:gd name="connsiteX17" fmla="*/ 2768016 w 2844216"/>
              <a:gd name="connsiteY17" fmla="*/ 101549 h 1612858"/>
              <a:gd name="connsiteX18" fmla="*/ 2677528 w 2844216"/>
              <a:gd name="connsiteY18" fmla="*/ 268236 h 1612858"/>
              <a:gd name="connsiteX19" fmla="*/ 2520367 w 2844216"/>
              <a:gd name="connsiteY19" fmla="*/ 349199 h 1612858"/>
              <a:gd name="connsiteX20" fmla="*/ 2229854 w 2844216"/>
              <a:gd name="connsiteY20" fmla="*/ 382536 h 1612858"/>
              <a:gd name="connsiteX21" fmla="*/ 486779 w 2844216"/>
              <a:gd name="connsiteY21" fmla="*/ 368249 h 1612858"/>
              <a:gd name="connsiteX22" fmla="*/ 286754 w 2844216"/>
              <a:gd name="connsiteY22" fmla="*/ 325386 h 1612858"/>
              <a:gd name="connsiteX23" fmla="*/ 186741 w 2844216"/>
              <a:gd name="connsiteY23" fmla="*/ 234899 h 1612858"/>
              <a:gd name="connsiteX24" fmla="*/ 134354 w 2844216"/>
              <a:gd name="connsiteY24" fmla="*/ 96786 h 1612858"/>
              <a:gd name="connsiteX25" fmla="*/ 48629 w 2844216"/>
              <a:gd name="connsiteY25" fmla="*/ 1536 h 1612858"/>
              <a:gd name="connsiteX0" fmla="*/ 56392 w 2851979"/>
              <a:gd name="connsiteY0" fmla="*/ 1536 h 1612858"/>
              <a:gd name="connsiteX1" fmla="*/ 8767 w 2851979"/>
              <a:gd name="connsiteY1" fmla="*/ 172986 h 1612858"/>
              <a:gd name="connsiteX2" fmla="*/ 99254 w 2851979"/>
              <a:gd name="connsiteY2" fmla="*/ 339674 h 1612858"/>
              <a:gd name="connsiteX3" fmla="*/ 275466 w 2851979"/>
              <a:gd name="connsiteY3" fmla="*/ 606374 h 1612858"/>
              <a:gd name="connsiteX4" fmla="*/ 346904 w 2851979"/>
              <a:gd name="connsiteY4" fmla="*/ 1039761 h 1612858"/>
              <a:gd name="connsiteX5" fmla="*/ 618368 w 2851979"/>
              <a:gd name="connsiteY5" fmla="*/ 1296937 h 1612858"/>
              <a:gd name="connsiteX6" fmla="*/ 927930 w 2851979"/>
              <a:gd name="connsiteY6" fmla="*/ 1468385 h 1612858"/>
              <a:gd name="connsiteX7" fmla="*/ 1218441 w 2851979"/>
              <a:gd name="connsiteY7" fmla="*/ 1587448 h 1612858"/>
              <a:gd name="connsiteX8" fmla="*/ 1404179 w 2851979"/>
              <a:gd name="connsiteY8" fmla="*/ 1611262 h 1612858"/>
              <a:gd name="connsiteX9" fmla="*/ 1604205 w 2851979"/>
              <a:gd name="connsiteY9" fmla="*/ 1601736 h 1612858"/>
              <a:gd name="connsiteX10" fmla="*/ 1828041 w 2851979"/>
              <a:gd name="connsiteY10" fmla="*/ 1530299 h 1612858"/>
              <a:gd name="connsiteX11" fmla="*/ 2189992 w 2851979"/>
              <a:gd name="connsiteY11" fmla="*/ 1349323 h 1612858"/>
              <a:gd name="connsiteX12" fmla="*/ 2523367 w 2851979"/>
              <a:gd name="connsiteY12" fmla="*/ 1049287 h 1612858"/>
              <a:gd name="connsiteX13" fmla="*/ 2594804 w 2851979"/>
              <a:gd name="connsiteY13" fmla="*/ 506361 h 1612858"/>
              <a:gd name="connsiteX14" fmla="*/ 2766254 w 2851979"/>
              <a:gd name="connsiteY14" fmla="*/ 392061 h 1612858"/>
              <a:gd name="connsiteX15" fmla="*/ 2851979 w 2851979"/>
              <a:gd name="connsiteY15" fmla="*/ 206324 h 1612858"/>
              <a:gd name="connsiteX16" fmla="*/ 2851979 w 2851979"/>
              <a:gd name="connsiteY16" fmla="*/ 101549 h 1612858"/>
              <a:gd name="connsiteX17" fmla="*/ 2775779 w 2851979"/>
              <a:gd name="connsiteY17" fmla="*/ 101549 h 1612858"/>
              <a:gd name="connsiteX18" fmla="*/ 2685291 w 2851979"/>
              <a:gd name="connsiteY18" fmla="*/ 268236 h 1612858"/>
              <a:gd name="connsiteX19" fmla="*/ 2528130 w 2851979"/>
              <a:gd name="connsiteY19" fmla="*/ 349199 h 1612858"/>
              <a:gd name="connsiteX20" fmla="*/ 2237617 w 2851979"/>
              <a:gd name="connsiteY20" fmla="*/ 382536 h 1612858"/>
              <a:gd name="connsiteX21" fmla="*/ 494542 w 2851979"/>
              <a:gd name="connsiteY21" fmla="*/ 368249 h 1612858"/>
              <a:gd name="connsiteX22" fmla="*/ 294517 w 2851979"/>
              <a:gd name="connsiteY22" fmla="*/ 325386 h 1612858"/>
              <a:gd name="connsiteX23" fmla="*/ 194504 w 2851979"/>
              <a:gd name="connsiteY23" fmla="*/ 234899 h 1612858"/>
              <a:gd name="connsiteX24" fmla="*/ 142117 w 2851979"/>
              <a:gd name="connsiteY24" fmla="*/ 96786 h 1612858"/>
              <a:gd name="connsiteX25" fmla="*/ 56392 w 2851979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595133 w 2852308"/>
              <a:gd name="connsiteY13" fmla="*/ 506361 h 1612858"/>
              <a:gd name="connsiteX14" fmla="*/ 2766583 w 2852308"/>
              <a:gd name="connsiteY14" fmla="*/ 392061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614183 w 2852308"/>
              <a:gd name="connsiteY13" fmla="*/ 520648 h 1612858"/>
              <a:gd name="connsiteX14" fmla="*/ 2766583 w 2852308"/>
              <a:gd name="connsiteY14" fmla="*/ 392061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628471 w 2852308"/>
              <a:gd name="connsiteY13" fmla="*/ 525411 h 1612858"/>
              <a:gd name="connsiteX14" fmla="*/ 2766583 w 2852308"/>
              <a:gd name="connsiteY14" fmla="*/ 392061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628471 w 2852308"/>
              <a:gd name="connsiteY13" fmla="*/ 525411 h 1612858"/>
              <a:gd name="connsiteX14" fmla="*/ 2766583 w 2852308"/>
              <a:gd name="connsiteY14" fmla="*/ 392061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52308"/>
              <a:gd name="connsiteY0" fmla="*/ 1536 h 1612858"/>
              <a:gd name="connsiteX1" fmla="*/ 9096 w 2852308"/>
              <a:gd name="connsiteY1" fmla="*/ 172986 h 1612858"/>
              <a:gd name="connsiteX2" fmla="*/ 99583 w 2852308"/>
              <a:gd name="connsiteY2" fmla="*/ 339674 h 1612858"/>
              <a:gd name="connsiteX3" fmla="*/ 275795 w 2852308"/>
              <a:gd name="connsiteY3" fmla="*/ 606374 h 1612858"/>
              <a:gd name="connsiteX4" fmla="*/ 347233 w 2852308"/>
              <a:gd name="connsiteY4" fmla="*/ 1039761 h 1612858"/>
              <a:gd name="connsiteX5" fmla="*/ 618697 w 2852308"/>
              <a:gd name="connsiteY5" fmla="*/ 1296937 h 1612858"/>
              <a:gd name="connsiteX6" fmla="*/ 928259 w 2852308"/>
              <a:gd name="connsiteY6" fmla="*/ 1468385 h 1612858"/>
              <a:gd name="connsiteX7" fmla="*/ 1218770 w 2852308"/>
              <a:gd name="connsiteY7" fmla="*/ 1587448 h 1612858"/>
              <a:gd name="connsiteX8" fmla="*/ 1404508 w 2852308"/>
              <a:gd name="connsiteY8" fmla="*/ 1611262 h 1612858"/>
              <a:gd name="connsiteX9" fmla="*/ 1604534 w 2852308"/>
              <a:gd name="connsiteY9" fmla="*/ 1601736 h 1612858"/>
              <a:gd name="connsiteX10" fmla="*/ 1828370 w 2852308"/>
              <a:gd name="connsiteY10" fmla="*/ 1530299 h 1612858"/>
              <a:gd name="connsiteX11" fmla="*/ 2190321 w 2852308"/>
              <a:gd name="connsiteY11" fmla="*/ 1349323 h 1612858"/>
              <a:gd name="connsiteX12" fmla="*/ 2523696 w 2852308"/>
              <a:gd name="connsiteY12" fmla="*/ 1049287 h 1612858"/>
              <a:gd name="connsiteX13" fmla="*/ 2628471 w 2852308"/>
              <a:gd name="connsiteY13" fmla="*/ 525411 h 1612858"/>
              <a:gd name="connsiteX14" fmla="*/ 2761821 w 2852308"/>
              <a:gd name="connsiteY14" fmla="*/ 387299 h 1612858"/>
              <a:gd name="connsiteX15" fmla="*/ 2852308 w 2852308"/>
              <a:gd name="connsiteY15" fmla="*/ 206324 h 1612858"/>
              <a:gd name="connsiteX16" fmla="*/ 2852308 w 2852308"/>
              <a:gd name="connsiteY16" fmla="*/ 101549 h 1612858"/>
              <a:gd name="connsiteX17" fmla="*/ 2776108 w 2852308"/>
              <a:gd name="connsiteY17" fmla="*/ 101549 h 1612858"/>
              <a:gd name="connsiteX18" fmla="*/ 2685620 w 2852308"/>
              <a:gd name="connsiteY18" fmla="*/ 268236 h 1612858"/>
              <a:gd name="connsiteX19" fmla="*/ 2528459 w 2852308"/>
              <a:gd name="connsiteY19" fmla="*/ 349199 h 1612858"/>
              <a:gd name="connsiteX20" fmla="*/ 2237946 w 2852308"/>
              <a:gd name="connsiteY20" fmla="*/ 382536 h 1612858"/>
              <a:gd name="connsiteX21" fmla="*/ 494871 w 2852308"/>
              <a:gd name="connsiteY21" fmla="*/ 368249 h 1612858"/>
              <a:gd name="connsiteX22" fmla="*/ 294846 w 2852308"/>
              <a:gd name="connsiteY22" fmla="*/ 325386 h 1612858"/>
              <a:gd name="connsiteX23" fmla="*/ 194833 w 2852308"/>
              <a:gd name="connsiteY23" fmla="*/ 234899 h 1612858"/>
              <a:gd name="connsiteX24" fmla="*/ 161496 w 2852308"/>
              <a:gd name="connsiteY24" fmla="*/ 96786 h 1612858"/>
              <a:gd name="connsiteX25" fmla="*/ 56721 w 2852308"/>
              <a:gd name="connsiteY25" fmla="*/ 1536 h 1612858"/>
              <a:gd name="connsiteX0" fmla="*/ 56721 w 2862744"/>
              <a:gd name="connsiteY0" fmla="*/ 1536 h 1612858"/>
              <a:gd name="connsiteX1" fmla="*/ 9096 w 2862744"/>
              <a:gd name="connsiteY1" fmla="*/ 172986 h 1612858"/>
              <a:gd name="connsiteX2" fmla="*/ 99583 w 2862744"/>
              <a:gd name="connsiteY2" fmla="*/ 339674 h 1612858"/>
              <a:gd name="connsiteX3" fmla="*/ 275795 w 2862744"/>
              <a:gd name="connsiteY3" fmla="*/ 606374 h 1612858"/>
              <a:gd name="connsiteX4" fmla="*/ 347233 w 2862744"/>
              <a:gd name="connsiteY4" fmla="*/ 1039761 h 1612858"/>
              <a:gd name="connsiteX5" fmla="*/ 618697 w 2862744"/>
              <a:gd name="connsiteY5" fmla="*/ 1296937 h 1612858"/>
              <a:gd name="connsiteX6" fmla="*/ 928259 w 2862744"/>
              <a:gd name="connsiteY6" fmla="*/ 1468385 h 1612858"/>
              <a:gd name="connsiteX7" fmla="*/ 1218770 w 2862744"/>
              <a:gd name="connsiteY7" fmla="*/ 1587448 h 1612858"/>
              <a:gd name="connsiteX8" fmla="*/ 1404508 w 2862744"/>
              <a:gd name="connsiteY8" fmla="*/ 1611262 h 1612858"/>
              <a:gd name="connsiteX9" fmla="*/ 1604534 w 2862744"/>
              <a:gd name="connsiteY9" fmla="*/ 1601736 h 1612858"/>
              <a:gd name="connsiteX10" fmla="*/ 1828370 w 2862744"/>
              <a:gd name="connsiteY10" fmla="*/ 1530299 h 1612858"/>
              <a:gd name="connsiteX11" fmla="*/ 2190321 w 2862744"/>
              <a:gd name="connsiteY11" fmla="*/ 1349323 h 1612858"/>
              <a:gd name="connsiteX12" fmla="*/ 2523696 w 2862744"/>
              <a:gd name="connsiteY12" fmla="*/ 1049287 h 1612858"/>
              <a:gd name="connsiteX13" fmla="*/ 2628471 w 2862744"/>
              <a:gd name="connsiteY13" fmla="*/ 525411 h 1612858"/>
              <a:gd name="connsiteX14" fmla="*/ 2761821 w 2862744"/>
              <a:gd name="connsiteY14" fmla="*/ 387299 h 1612858"/>
              <a:gd name="connsiteX15" fmla="*/ 2852308 w 2862744"/>
              <a:gd name="connsiteY15" fmla="*/ 206324 h 1612858"/>
              <a:gd name="connsiteX16" fmla="*/ 2852308 w 2862744"/>
              <a:gd name="connsiteY16" fmla="*/ 101549 h 1612858"/>
              <a:gd name="connsiteX17" fmla="*/ 2776108 w 2862744"/>
              <a:gd name="connsiteY17" fmla="*/ 101549 h 1612858"/>
              <a:gd name="connsiteX18" fmla="*/ 2685620 w 2862744"/>
              <a:gd name="connsiteY18" fmla="*/ 268236 h 1612858"/>
              <a:gd name="connsiteX19" fmla="*/ 2528459 w 2862744"/>
              <a:gd name="connsiteY19" fmla="*/ 349199 h 1612858"/>
              <a:gd name="connsiteX20" fmla="*/ 2237946 w 2862744"/>
              <a:gd name="connsiteY20" fmla="*/ 382536 h 1612858"/>
              <a:gd name="connsiteX21" fmla="*/ 494871 w 2862744"/>
              <a:gd name="connsiteY21" fmla="*/ 368249 h 1612858"/>
              <a:gd name="connsiteX22" fmla="*/ 294846 w 2862744"/>
              <a:gd name="connsiteY22" fmla="*/ 325386 h 1612858"/>
              <a:gd name="connsiteX23" fmla="*/ 194833 w 2862744"/>
              <a:gd name="connsiteY23" fmla="*/ 234899 h 1612858"/>
              <a:gd name="connsiteX24" fmla="*/ 161496 w 2862744"/>
              <a:gd name="connsiteY24" fmla="*/ 96786 h 1612858"/>
              <a:gd name="connsiteX25" fmla="*/ 56721 w 2862744"/>
              <a:gd name="connsiteY25" fmla="*/ 1536 h 1612858"/>
              <a:gd name="connsiteX0" fmla="*/ 56721 w 2860804"/>
              <a:gd name="connsiteY0" fmla="*/ 1536 h 1612858"/>
              <a:gd name="connsiteX1" fmla="*/ 9096 w 2860804"/>
              <a:gd name="connsiteY1" fmla="*/ 172986 h 1612858"/>
              <a:gd name="connsiteX2" fmla="*/ 99583 w 2860804"/>
              <a:gd name="connsiteY2" fmla="*/ 339674 h 1612858"/>
              <a:gd name="connsiteX3" fmla="*/ 275795 w 2860804"/>
              <a:gd name="connsiteY3" fmla="*/ 606374 h 1612858"/>
              <a:gd name="connsiteX4" fmla="*/ 347233 w 2860804"/>
              <a:gd name="connsiteY4" fmla="*/ 1039761 h 1612858"/>
              <a:gd name="connsiteX5" fmla="*/ 618697 w 2860804"/>
              <a:gd name="connsiteY5" fmla="*/ 1296937 h 1612858"/>
              <a:gd name="connsiteX6" fmla="*/ 928259 w 2860804"/>
              <a:gd name="connsiteY6" fmla="*/ 1468385 h 1612858"/>
              <a:gd name="connsiteX7" fmla="*/ 1218770 w 2860804"/>
              <a:gd name="connsiteY7" fmla="*/ 1587448 h 1612858"/>
              <a:gd name="connsiteX8" fmla="*/ 1404508 w 2860804"/>
              <a:gd name="connsiteY8" fmla="*/ 1611262 h 1612858"/>
              <a:gd name="connsiteX9" fmla="*/ 1604534 w 2860804"/>
              <a:gd name="connsiteY9" fmla="*/ 1601736 h 1612858"/>
              <a:gd name="connsiteX10" fmla="*/ 1828370 w 2860804"/>
              <a:gd name="connsiteY10" fmla="*/ 1530299 h 1612858"/>
              <a:gd name="connsiteX11" fmla="*/ 2190321 w 2860804"/>
              <a:gd name="connsiteY11" fmla="*/ 1349323 h 1612858"/>
              <a:gd name="connsiteX12" fmla="*/ 2523696 w 2860804"/>
              <a:gd name="connsiteY12" fmla="*/ 1049287 h 1612858"/>
              <a:gd name="connsiteX13" fmla="*/ 2628471 w 2860804"/>
              <a:gd name="connsiteY13" fmla="*/ 525411 h 1612858"/>
              <a:gd name="connsiteX14" fmla="*/ 2761821 w 2860804"/>
              <a:gd name="connsiteY14" fmla="*/ 387299 h 1612858"/>
              <a:gd name="connsiteX15" fmla="*/ 2852308 w 2860804"/>
              <a:gd name="connsiteY15" fmla="*/ 206324 h 1612858"/>
              <a:gd name="connsiteX16" fmla="*/ 2847546 w 2860804"/>
              <a:gd name="connsiteY16" fmla="*/ 115837 h 1612858"/>
              <a:gd name="connsiteX17" fmla="*/ 2776108 w 2860804"/>
              <a:gd name="connsiteY17" fmla="*/ 101549 h 1612858"/>
              <a:gd name="connsiteX18" fmla="*/ 2685620 w 2860804"/>
              <a:gd name="connsiteY18" fmla="*/ 268236 h 1612858"/>
              <a:gd name="connsiteX19" fmla="*/ 2528459 w 2860804"/>
              <a:gd name="connsiteY19" fmla="*/ 349199 h 1612858"/>
              <a:gd name="connsiteX20" fmla="*/ 2237946 w 2860804"/>
              <a:gd name="connsiteY20" fmla="*/ 382536 h 1612858"/>
              <a:gd name="connsiteX21" fmla="*/ 494871 w 2860804"/>
              <a:gd name="connsiteY21" fmla="*/ 368249 h 1612858"/>
              <a:gd name="connsiteX22" fmla="*/ 294846 w 2860804"/>
              <a:gd name="connsiteY22" fmla="*/ 325386 h 1612858"/>
              <a:gd name="connsiteX23" fmla="*/ 194833 w 2860804"/>
              <a:gd name="connsiteY23" fmla="*/ 234899 h 1612858"/>
              <a:gd name="connsiteX24" fmla="*/ 161496 w 2860804"/>
              <a:gd name="connsiteY24" fmla="*/ 96786 h 1612858"/>
              <a:gd name="connsiteX25" fmla="*/ 56721 w 2860804"/>
              <a:gd name="connsiteY25" fmla="*/ 1536 h 1612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860804" h="1612858">
                <a:moveTo>
                  <a:pt x="56721" y="1536"/>
                </a:moveTo>
                <a:cubicBezTo>
                  <a:pt x="31321" y="14236"/>
                  <a:pt x="-21066" y="117423"/>
                  <a:pt x="9096" y="172986"/>
                </a:cubicBezTo>
                <a:lnTo>
                  <a:pt x="99583" y="339674"/>
                </a:lnTo>
                <a:lnTo>
                  <a:pt x="275795" y="606374"/>
                </a:lnTo>
                <a:cubicBezTo>
                  <a:pt x="309926" y="718293"/>
                  <a:pt x="290083" y="924667"/>
                  <a:pt x="347233" y="1039761"/>
                </a:cubicBezTo>
                <a:cubicBezTo>
                  <a:pt x="404383" y="1154855"/>
                  <a:pt x="490903" y="1217562"/>
                  <a:pt x="618697" y="1296937"/>
                </a:cubicBezTo>
                <a:cubicBezTo>
                  <a:pt x="746491" y="1376312"/>
                  <a:pt x="828247" y="1419967"/>
                  <a:pt x="928259" y="1468385"/>
                </a:cubicBezTo>
                <a:cubicBezTo>
                  <a:pt x="1028271" y="1516803"/>
                  <a:pt x="1139395" y="1563635"/>
                  <a:pt x="1218770" y="1587448"/>
                </a:cubicBezTo>
                <a:cubicBezTo>
                  <a:pt x="1298145" y="1611261"/>
                  <a:pt x="1340214" y="1608881"/>
                  <a:pt x="1404508" y="1611262"/>
                </a:cubicBezTo>
                <a:cubicBezTo>
                  <a:pt x="1468802" y="1613643"/>
                  <a:pt x="1533890" y="1615230"/>
                  <a:pt x="1604534" y="1601736"/>
                </a:cubicBezTo>
                <a:cubicBezTo>
                  <a:pt x="1675178" y="1588242"/>
                  <a:pt x="1730739" y="1572368"/>
                  <a:pt x="1828370" y="1530299"/>
                </a:cubicBezTo>
                <a:cubicBezTo>
                  <a:pt x="1926001" y="1488230"/>
                  <a:pt x="2074433" y="1429492"/>
                  <a:pt x="2190321" y="1349323"/>
                </a:cubicBezTo>
                <a:cubicBezTo>
                  <a:pt x="2306209" y="1269154"/>
                  <a:pt x="2450671" y="1186606"/>
                  <a:pt x="2523696" y="1049287"/>
                </a:cubicBezTo>
                <a:cubicBezTo>
                  <a:pt x="2596721" y="911968"/>
                  <a:pt x="2588783" y="635742"/>
                  <a:pt x="2628471" y="525411"/>
                </a:cubicBezTo>
                <a:cubicBezTo>
                  <a:pt x="2668159" y="415080"/>
                  <a:pt x="2733246" y="449211"/>
                  <a:pt x="2761821" y="387299"/>
                </a:cubicBezTo>
                <a:lnTo>
                  <a:pt x="2852308" y="206324"/>
                </a:lnTo>
                <a:cubicBezTo>
                  <a:pt x="2867389" y="158699"/>
                  <a:pt x="2860246" y="133300"/>
                  <a:pt x="2847546" y="115837"/>
                </a:cubicBezTo>
                <a:cubicBezTo>
                  <a:pt x="2834846" y="98375"/>
                  <a:pt x="2803889" y="73768"/>
                  <a:pt x="2776108" y="101549"/>
                </a:cubicBezTo>
                <a:lnTo>
                  <a:pt x="2685620" y="268236"/>
                </a:lnTo>
                <a:lnTo>
                  <a:pt x="2528459" y="349199"/>
                </a:lnTo>
                <a:cubicBezTo>
                  <a:pt x="2426859" y="357136"/>
                  <a:pt x="2576877" y="379361"/>
                  <a:pt x="2237946" y="382536"/>
                </a:cubicBezTo>
                <a:cubicBezTo>
                  <a:pt x="1899015" y="385711"/>
                  <a:pt x="1085421" y="404761"/>
                  <a:pt x="494871" y="368249"/>
                </a:cubicBezTo>
                <a:lnTo>
                  <a:pt x="294846" y="325386"/>
                </a:lnTo>
                <a:lnTo>
                  <a:pt x="194833" y="234899"/>
                </a:lnTo>
                <a:lnTo>
                  <a:pt x="161496" y="96786"/>
                </a:lnTo>
                <a:cubicBezTo>
                  <a:pt x="144827" y="57892"/>
                  <a:pt x="82121" y="-11164"/>
                  <a:pt x="56721" y="1536"/>
                </a:cubicBezTo>
                <a:close/>
              </a:path>
            </a:pathLst>
          </a:custGeom>
          <a:solidFill>
            <a:srgbClr val="F2C875"/>
          </a:solidFill>
          <a:ln w="12700">
            <a:noFill/>
            <a:round/>
            <a:headEnd/>
            <a:tailEnd/>
          </a:ln>
          <a:effectLst>
            <a:outerShdw blurRad="4064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BEC2CAB-004D-4361-B706-03078B7B0BCF}"/>
              </a:ext>
            </a:extLst>
          </p:cNvPr>
          <p:cNvSpPr/>
          <p:nvPr/>
        </p:nvSpPr>
        <p:spPr bwMode="auto">
          <a:xfrm>
            <a:off x="4190329" y="3479800"/>
            <a:ext cx="1764175" cy="824651"/>
          </a:xfrm>
          <a:custGeom>
            <a:avLst/>
            <a:gdLst>
              <a:gd name="connsiteX0" fmla="*/ 238125 w 2376487"/>
              <a:gd name="connsiteY0" fmla="*/ 862013 h 904875"/>
              <a:gd name="connsiteX1" fmla="*/ 300037 w 2376487"/>
              <a:gd name="connsiteY1" fmla="*/ 723900 h 904875"/>
              <a:gd name="connsiteX2" fmla="*/ 428625 w 2376487"/>
              <a:gd name="connsiteY2" fmla="*/ 590550 h 904875"/>
              <a:gd name="connsiteX3" fmla="*/ 552450 w 2376487"/>
              <a:gd name="connsiteY3" fmla="*/ 542925 h 904875"/>
              <a:gd name="connsiteX4" fmla="*/ 728662 w 2376487"/>
              <a:gd name="connsiteY4" fmla="*/ 561975 h 904875"/>
              <a:gd name="connsiteX5" fmla="*/ 914400 w 2376487"/>
              <a:gd name="connsiteY5" fmla="*/ 619125 h 904875"/>
              <a:gd name="connsiteX6" fmla="*/ 1071562 w 2376487"/>
              <a:gd name="connsiteY6" fmla="*/ 676275 h 904875"/>
              <a:gd name="connsiteX7" fmla="*/ 1243012 w 2376487"/>
              <a:gd name="connsiteY7" fmla="*/ 719138 h 904875"/>
              <a:gd name="connsiteX8" fmla="*/ 1338262 w 2376487"/>
              <a:gd name="connsiteY8" fmla="*/ 747713 h 904875"/>
              <a:gd name="connsiteX9" fmla="*/ 1581150 w 2376487"/>
              <a:gd name="connsiteY9" fmla="*/ 752475 h 904875"/>
              <a:gd name="connsiteX10" fmla="*/ 1790700 w 2376487"/>
              <a:gd name="connsiteY10" fmla="*/ 719138 h 904875"/>
              <a:gd name="connsiteX11" fmla="*/ 2000250 w 2376487"/>
              <a:gd name="connsiteY11" fmla="*/ 709613 h 904875"/>
              <a:gd name="connsiteX12" fmla="*/ 2105025 w 2376487"/>
              <a:gd name="connsiteY12" fmla="*/ 776288 h 904875"/>
              <a:gd name="connsiteX13" fmla="*/ 2176462 w 2376487"/>
              <a:gd name="connsiteY13" fmla="*/ 871538 h 904875"/>
              <a:gd name="connsiteX14" fmla="*/ 2376487 w 2376487"/>
              <a:gd name="connsiteY14" fmla="*/ 895350 h 904875"/>
              <a:gd name="connsiteX15" fmla="*/ 2290762 w 2376487"/>
              <a:gd name="connsiteY15" fmla="*/ 685800 h 904875"/>
              <a:gd name="connsiteX16" fmla="*/ 2157412 w 2376487"/>
              <a:gd name="connsiteY16" fmla="*/ 485775 h 904875"/>
              <a:gd name="connsiteX17" fmla="*/ 1957387 w 2376487"/>
              <a:gd name="connsiteY17" fmla="*/ 261938 h 904875"/>
              <a:gd name="connsiteX18" fmla="*/ 1662112 w 2376487"/>
              <a:gd name="connsiteY18" fmla="*/ 95250 h 904875"/>
              <a:gd name="connsiteX19" fmla="*/ 1333500 w 2376487"/>
              <a:gd name="connsiteY19" fmla="*/ 14288 h 904875"/>
              <a:gd name="connsiteX20" fmla="*/ 919162 w 2376487"/>
              <a:gd name="connsiteY20" fmla="*/ 0 h 904875"/>
              <a:gd name="connsiteX21" fmla="*/ 614362 w 2376487"/>
              <a:gd name="connsiteY21" fmla="*/ 95250 h 904875"/>
              <a:gd name="connsiteX22" fmla="*/ 323850 w 2376487"/>
              <a:gd name="connsiteY22" fmla="*/ 285750 h 904875"/>
              <a:gd name="connsiteX23" fmla="*/ 109537 w 2376487"/>
              <a:gd name="connsiteY23" fmla="*/ 566738 h 904875"/>
              <a:gd name="connsiteX24" fmla="*/ 0 w 2376487"/>
              <a:gd name="connsiteY24" fmla="*/ 904875 h 904875"/>
              <a:gd name="connsiteX25" fmla="*/ 238125 w 2376487"/>
              <a:gd name="connsiteY25" fmla="*/ 862013 h 904875"/>
              <a:gd name="connsiteX0" fmla="*/ 252412 w 2390774"/>
              <a:gd name="connsiteY0" fmla="*/ 862013 h 904875"/>
              <a:gd name="connsiteX1" fmla="*/ 314324 w 2390774"/>
              <a:gd name="connsiteY1" fmla="*/ 723900 h 904875"/>
              <a:gd name="connsiteX2" fmla="*/ 442912 w 2390774"/>
              <a:gd name="connsiteY2" fmla="*/ 590550 h 904875"/>
              <a:gd name="connsiteX3" fmla="*/ 566737 w 2390774"/>
              <a:gd name="connsiteY3" fmla="*/ 542925 h 904875"/>
              <a:gd name="connsiteX4" fmla="*/ 742949 w 2390774"/>
              <a:gd name="connsiteY4" fmla="*/ 561975 h 904875"/>
              <a:gd name="connsiteX5" fmla="*/ 928687 w 2390774"/>
              <a:gd name="connsiteY5" fmla="*/ 619125 h 904875"/>
              <a:gd name="connsiteX6" fmla="*/ 1085849 w 2390774"/>
              <a:gd name="connsiteY6" fmla="*/ 676275 h 904875"/>
              <a:gd name="connsiteX7" fmla="*/ 1257299 w 2390774"/>
              <a:gd name="connsiteY7" fmla="*/ 719138 h 904875"/>
              <a:gd name="connsiteX8" fmla="*/ 1352549 w 2390774"/>
              <a:gd name="connsiteY8" fmla="*/ 747713 h 904875"/>
              <a:gd name="connsiteX9" fmla="*/ 1595437 w 2390774"/>
              <a:gd name="connsiteY9" fmla="*/ 752475 h 904875"/>
              <a:gd name="connsiteX10" fmla="*/ 1804987 w 2390774"/>
              <a:gd name="connsiteY10" fmla="*/ 719138 h 904875"/>
              <a:gd name="connsiteX11" fmla="*/ 2014537 w 2390774"/>
              <a:gd name="connsiteY11" fmla="*/ 709613 h 904875"/>
              <a:gd name="connsiteX12" fmla="*/ 2119312 w 2390774"/>
              <a:gd name="connsiteY12" fmla="*/ 776288 h 904875"/>
              <a:gd name="connsiteX13" fmla="*/ 2190749 w 2390774"/>
              <a:gd name="connsiteY13" fmla="*/ 871538 h 904875"/>
              <a:gd name="connsiteX14" fmla="*/ 2390774 w 2390774"/>
              <a:gd name="connsiteY14" fmla="*/ 895350 h 904875"/>
              <a:gd name="connsiteX15" fmla="*/ 2305049 w 2390774"/>
              <a:gd name="connsiteY15" fmla="*/ 685800 h 904875"/>
              <a:gd name="connsiteX16" fmla="*/ 2171699 w 2390774"/>
              <a:gd name="connsiteY16" fmla="*/ 485775 h 904875"/>
              <a:gd name="connsiteX17" fmla="*/ 1971674 w 2390774"/>
              <a:gd name="connsiteY17" fmla="*/ 261938 h 904875"/>
              <a:gd name="connsiteX18" fmla="*/ 1676399 w 2390774"/>
              <a:gd name="connsiteY18" fmla="*/ 95250 h 904875"/>
              <a:gd name="connsiteX19" fmla="*/ 1347787 w 2390774"/>
              <a:gd name="connsiteY19" fmla="*/ 14288 h 904875"/>
              <a:gd name="connsiteX20" fmla="*/ 933449 w 2390774"/>
              <a:gd name="connsiteY20" fmla="*/ 0 h 904875"/>
              <a:gd name="connsiteX21" fmla="*/ 628649 w 2390774"/>
              <a:gd name="connsiteY21" fmla="*/ 95250 h 904875"/>
              <a:gd name="connsiteX22" fmla="*/ 338137 w 2390774"/>
              <a:gd name="connsiteY22" fmla="*/ 285750 h 904875"/>
              <a:gd name="connsiteX23" fmla="*/ 123824 w 2390774"/>
              <a:gd name="connsiteY23" fmla="*/ 566738 h 904875"/>
              <a:gd name="connsiteX24" fmla="*/ 0 w 2390774"/>
              <a:gd name="connsiteY24" fmla="*/ 904875 h 904875"/>
              <a:gd name="connsiteX25" fmla="*/ 252412 w 2390774"/>
              <a:gd name="connsiteY25" fmla="*/ 862013 h 904875"/>
              <a:gd name="connsiteX0" fmla="*/ 255679 w 2394041"/>
              <a:gd name="connsiteY0" fmla="*/ 862013 h 904875"/>
              <a:gd name="connsiteX1" fmla="*/ 317591 w 2394041"/>
              <a:gd name="connsiteY1" fmla="*/ 723900 h 904875"/>
              <a:gd name="connsiteX2" fmla="*/ 446179 w 2394041"/>
              <a:gd name="connsiteY2" fmla="*/ 590550 h 904875"/>
              <a:gd name="connsiteX3" fmla="*/ 570004 w 2394041"/>
              <a:gd name="connsiteY3" fmla="*/ 542925 h 904875"/>
              <a:gd name="connsiteX4" fmla="*/ 746216 w 2394041"/>
              <a:gd name="connsiteY4" fmla="*/ 561975 h 904875"/>
              <a:gd name="connsiteX5" fmla="*/ 931954 w 2394041"/>
              <a:gd name="connsiteY5" fmla="*/ 619125 h 904875"/>
              <a:gd name="connsiteX6" fmla="*/ 1089116 w 2394041"/>
              <a:gd name="connsiteY6" fmla="*/ 676275 h 904875"/>
              <a:gd name="connsiteX7" fmla="*/ 1260566 w 2394041"/>
              <a:gd name="connsiteY7" fmla="*/ 719138 h 904875"/>
              <a:gd name="connsiteX8" fmla="*/ 1355816 w 2394041"/>
              <a:gd name="connsiteY8" fmla="*/ 747713 h 904875"/>
              <a:gd name="connsiteX9" fmla="*/ 1598704 w 2394041"/>
              <a:gd name="connsiteY9" fmla="*/ 752475 h 904875"/>
              <a:gd name="connsiteX10" fmla="*/ 1808254 w 2394041"/>
              <a:gd name="connsiteY10" fmla="*/ 719138 h 904875"/>
              <a:gd name="connsiteX11" fmla="*/ 2017804 w 2394041"/>
              <a:gd name="connsiteY11" fmla="*/ 709613 h 904875"/>
              <a:gd name="connsiteX12" fmla="*/ 2122579 w 2394041"/>
              <a:gd name="connsiteY12" fmla="*/ 776288 h 904875"/>
              <a:gd name="connsiteX13" fmla="*/ 2194016 w 2394041"/>
              <a:gd name="connsiteY13" fmla="*/ 871538 h 904875"/>
              <a:gd name="connsiteX14" fmla="*/ 2394041 w 2394041"/>
              <a:gd name="connsiteY14" fmla="*/ 895350 h 904875"/>
              <a:gd name="connsiteX15" fmla="*/ 2308316 w 2394041"/>
              <a:gd name="connsiteY15" fmla="*/ 685800 h 904875"/>
              <a:gd name="connsiteX16" fmla="*/ 2174966 w 2394041"/>
              <a:gd name="connsiteY16" fmla="*/ 485775 h 904875"/>
              <a:gd name="connsiteX17" fmla="*/ 1974941 w 2394041"/>
              <a:gd name="connsiteY17" fmla="*/ 261938 h 904875"/>
              <a:gd name="connsiteX18" fmla="*/ 1679666 w 2394041"/>
              <a:gd name="connsiteY18" fmla="*/ 95250 h 904875"/>
              <a:gd name="connsiteX19" fmla="*/ 1351054 w 2394041"/>
              <a:gd name="connsiteY19" fmla="*/ 14288 h 904875"/>
              <a:gd name="connsiteX20" fmla="*/ 936716 w 2394041"/>
              <a:gd name="connsiteY20" fmla="*/ 0 h 904875"/>
              <a:gd name="connsiteX21" fmla="*/ 631916 w 2394041"/>
              <a:gd name="connsiteY21" fmla="*/ 95250 h 904875"/>
              <a:gd name="connsiteX22" fmla="*/ 341404 w 2394041"/>
              <a:gd name="connsiteY22" fmla="*/ 285750 h 904875"/>
              <a:gd name="connsiteX23" fmla="*/ 127091 w 2394041"/>
              <a:gd name="connsiteY23" fmla="*/ 566738 h 904875"/>
              <a:gd name="connsiteX24" fmla="*/ 3267 w 2394041"/>
              <a:gd name="connsiteY24" fmla="*/ 904875 h 904875"/>
              <a:gd name="connsiteX25" fmla="*/ 255679 w 2394041"/>
              <a:gd name="connsiteY25" fmla="*/ 862013 h 904875"/>
              <a:gd name="connsiteX0" fmla="*/ 255679 w 2394041"/>
              <a:gd name="connsiteY0" fmla="*/ 862013 h 904875"/>
              <a:gd name="connsiteX1" fmla="*/ 317591 w 2394041"/>
              <a:gd name="connsiteY1" fmla="*/ 723900 h 904875"/>
              <a:gd name="connsiteX2" fmla="*/ 446179 w 2394041"/>
              <a:gd name="connsiteY2" fmla="*/ 590550 h 904875"/>
              <a:gd name="connsiteX3" fmla="*/ 570004 w 2394041"/>
              <a:gd name="connsiteY3" fmla="*/ 542925 h 904875"/>
              <a:gd name="connsiteX4" fmla="*/ 746216 w 2394041"/>
              <a:gd name="connsiteY4" fmla="*/ 561975 h 904875"/>
              <a:gd name="connsiteX5" fmla="*/ 931954 w 2394041"/>
              <a:gd name="connsiteY5" fmla="*/ 619125 h 904875"/>
              <a:gd name="connsiteX6" fmla="*/ 1089116 w 2394041"/>
              <a:gd name="connsiteY6" fmla="*/ 676275 h 904875"/>
              <a:gd name="connsiteX7" fmla="*/ 1260566 w 2394041"/>
              <a:gd name="connsiteY7" fmla="*/ 719138 h 904875"/>
              <a:gd name="connsiteX8" fmla="*/ 1355816 w 2394041"/>
              <a:gd name="connsiteY8" fmla="*/ 747713 h 904875"/>
              <a:gd name="connsiteX9" fmla="*/ 1598704 w 2394041"/>
              <a:gd name="connsiteY9" fmla="*/ 752475 h 904875"/>
              <a:gd name="connsiteX10" fmla="*/ 1808254 w 2394041"/>
              <a:gd name="connsiteY10" fmla="*/ 719138 h 904875"/>
              <a:gd name="connsiteX11" fmla="*/ 2017804 w 2394041"/>
              <a:gd name="connsiteY11" fmla="*/ 709613 h 904875"/>
              <a:gd name="connsiteX12" fmla="*/ 2122579 w 2394041"/>
              <a:gd name="connsiteY12" fmla="*/ 776288 h 904875"/>
              <a:gd name="connsiteX13" fmla="*/ 2194016 w 2394041"/>
              <a:gd name="connsiteY13" fmla="*/ 871538 h 904875"/>
              <a:gd name="connsiteX14" fmla="*/ 2394041 w 2394041"/>
              <a:gd name="connsiteY14" fmla="*/ 895350 h 904875"/>
              <a:gd name="connsiteX15" fmla="*/ 2308316 w 2394041"/>
              <a:gd name="connsiteY15" fmla="*/ 685800 h 904875"/>
              <a:gd name="connsiteX16" fmla="*/ 2174966 w 2394041"/>
              <a:gd name="connsiteY16" fmla="*/ 485775 h 904875"/>
              <a:gd name="connsiteX17" fmla="*/ 1974941 w 2394041"/>
              <a:gd name="connsiteY17" fmla="*/ 261938 h 904875"/>
              <a:gd name="connsiteX18" fmla="*/ 1679666 w 2394041"/>
              <a:gd name="connsiteY18" fmla="*/ 95250 h 904875"/>
              <a:gd name="connsiteX19" fmla="*/ 1351054 w 2394041"/>
              <a:gd name="connsiteY19" fmla="*/ 14288 h 904875"/>
              <a:gd name="connsiteX20" fmla="*/ 936716 w 2394041"/>
              <a:gd name="connsiteY20" fmla="*/ 0 h 904875"/>
              <a:gd name="connsiteX21" fmla="*/ 631916 w 2394041"/>
              <a:gd name="connsiteY21" fmla="*/ 95250 h 904875"/>
              <a:gd name="connsiteX22" fmla="*/ 341404 w 2394041"/>
              <a:gd name="connsiteY22" fmla="*/ 285750 h 904875"/>
              <a:gd name="connsiteX23" fmla="*/ 127091 w 2394041"/>
              <a:gd name="connsiteY23" fmla="*/ 566738 h 904875"/>
              <a:gd name="connsiteX24" fmla="*/ 3267 w 2394041"/>
              <a:gd name="connsiteY24" fmla="*/ 904875 h 904875"/>
              <a:gd name="connsiteX25" fmla="*/ 255679 w 2394041"/>
              <a:gd name="connsiteY25" fmla="*/ 862013 h 904875"/>
              <a:gd name="connsiteX0" fmla="*/ 255679 w 2394041"/>
              <a:gd name="connsiteY0" fmla="*/ 862013 h 904875"/>
              <a:gd name="connsiteX1" fmla="*/ 317591 w 2394041"/>
              <a:gd name="connsiteY1" fmla="*/ 723900 h 904875"/>
              <a:gd name="connsiteX2" fmla="*/ 446179 w 2394041"/>
              <a:gd name="connsiteY2" fmla="*/ 590550 h 904875"/>
              <a:gd name="connsiteX3" fmla="*/ 570004 w 2394041"/>
              <a:gd name="connsiteY3" fmla="*/ 542925 h 904875"/>
              <a:gd name="connsiteX4" fmla="*/ 746216 w 2394041"/>
              <a:gd name="connsiteY4" fmla="*/ 561975 h 904875"/>
              <a:gd name="connsiteX5" fmla="*/ 931954 w 2394041"/>
              <a:gd name="connsiteY5" fmla="*/ 619125 h 904875"/>
              <a:gd name="connsiteX6" fmla="*/ 1089116 w 2394041"/>
              <a:gd name="connsiteY6" fmla="*/ 676275 h 904875"/>
              <a:gd name="connsiteX7" fmla="*/ 1260566 w 2394041"/>
              <a:gd name="connsiteY7" fmla="*/ 719138 h 904875"/>
              <a:gd name="connsiteX8" fmla="*/ 1355816 w 2394041"/>
              <a:gd name="connsiteY8" fmla="*/ 747713 h 904875"/>
              <a:gd name="connsiteX9" fmla="*/ 1598704 w 2394041"/>
              <a:gd name="connsiteY9" fmla="*/ 752475 h 904875"/>
              <a:gd name="connsiteX10" fmla="*/ 1808254 w 2394041"/>
              <a:gd name="connsiteY10" fmla="*/ 719138 h 904875"/>
              <a:gd name="connsiteX11" fmla="*/ 2017804 w 2394041"/>
              <a:gd name="connsiteY11" fmla="*/ 709613 h 904875"/>
              <a:gd name="connsiteX12" fmla="*/ 2122579 w 2394041"/>
              <a:gd name="connsiteY12" fmla="*/ 776288 h 904875"/>
              <a:gd name="connsiteX13" fmla="*/ 2194016 w 2394041"/>
              <a:gd name="connsiteY13" fmla="*/ 871538 h 904875"/>
              <a:gd name="connsiteX14" fmla="*/ 2394041 w 2394041"/>
              <a:gd name="connsiteY14" fmla="*/ 895350 h 904875"/>
              <a:gd name="connsiteX15" fmla="*/ 2308316 w 2394041"/>
              <a:gd name="connsiteY15" fmla="*/ 685800 h 904875"/>
              <a:gd name="connsiteX16" fmla="*/ 2174966 w 2394041"/>
              <a:gd name="connsiteY16" fmla="*/ 485775 h 904875"/>
              <a:gd name="connsiteX17" fmla="*/ 1974941 w 2394041"/>
              <a:gd name="connsiteY17" fmla="*/ 261938 h 904875"/>
              <a:gd name="connsiteX18" fmla="*/ 1679666 w 2394041"/>
              <a:gd name="connsiteY18" fmla="*/ 95250 h 904875"/>
              <a:gd name="connsiteX19" fmla="*/ 1351054 w 2394041"/>
              <a:gd name="connsiteY19" fmla="*/ 14288 h 904875"/>
              <a:gd name="connsiteX20" fmla="*/ 936716 w 2394041"/>
              <a:gd name="connsiteY20" fmla="*/ 0 h 904875"/>
              <a:gd name="connsiteX21" fmla="*/ 631916 w 2394041"/>
              <a:gd name="connsiteY21" fmla="*/ 95250 h 904875"/>
              <a:gd name="connsiteX22" fmla="*/ 341404 w 2394041"/>
              <a:gd name="connsiteY22" fmla="*/ 271462 h 904875"/>
              <a:gd name="connsiteX23" fmla="*/ 127091 w 2394041"/>
              <a:gd name="connsiteY23" fmla="*/ 566738 h 904875"/>
              <a:gd name="connsiteX24" fmla="*/ 3267 w 2394041"/>
              <a:gd name="connsiteY24" fmla="*/ 904875 h 904875"/>
              <a:gd name="connsiteX25" fmla="*/ 255679 w 2394041"/>
              <a:gd name="connsiteY25" fmla="*/ 862013 h 904875"/>
              <a:gd name="connsiteX0" fmla="*/ 255679 w 2394041"/>
              <a:gd name="connsiteY0" fmla="*/ 862013 h 904875"/>
              <a:gd name="connsiteX1" fmla="*/ 317591 w 2394041"/>
              <a:gd name="connsiteY1" fmla="*/ 723900 h 904875"/>
              <a:gd name="connsiteX2" fmla="*/ 446179 w 2394041"/>
              <a:gd name="connsiteY2" fmla="*/ 590550 h 904875"/>
              <a:gd name="connsiteX3" fmla="*/ 570004 w 2394041"/>
              <a:gd name="connsiteY3" fmla="*/ 542925 h 904875"/>
              <a:gd name="connsiteX4" fmla="*/ 746216 w 2394041"/>
              <a:gd name="connsiteY4" fmla="*/ 561975 h 904875"/>
              <a:gd name="connsiteX5" fmla="*/ 931954 w 2394041"/>
              <a:gd name="connsiteY5" fmla="*/ 619125 h 904875"/>
              <a:gd name="connsiteX6" fmla="*/ 1089116 w 2394041"/>
              <a:gd name="connsiteY6" fmla="*/ 676275 h 904875"/>
              <a:gd name="connsiteX7" fmla="*/ 1260566 w 2394041"/>
              <a:gd name="connsiteY7" fmla="*/ 719138 h 904875"/>
              <a:gd name="connsiteX8" fmla="*/ 1355816 w 2394041"/>
              <a:gd name="connsiteY8" fmla="*/ 747713 h 904875"/>
              <a:gd name="connsiteX9" fmla="*/ 1598704 w 2394041"/>
              <a:gd name="connsiteY9" fmla="*/ 752475 h 904875"/>
              <a:gd name="connsiteX10" fmla="*/ 1808254 w 2394041"/>
              <a:gd name="connsiteY10" fmla="*/ 719138 h 904875"/>
              <a:gd name="connsiteX11" fmla="*/ 2017804 w 2394041"/>
              <a:gd name="connsiteY11" fmla="*/ 709613 h 904875"/>
              <a:gd name="connsiteX12" fmla="*/ 2122579 w 2394041"/>
              <a:gd name="connsiteY12" fmla="*/ 776288 h 904875"/>
              <a:gd name="connsiteX13" fmla="*/ 2194016 w 2394041"/>
              <a:gd name="connsiteY13" fmla="*/ 871538 h 904875"/>
              <a:gd name="connsiteX14" fmla="*/ 2394041 w 2394041"/>
              <a:gd name="connsiteY14" fmla="*/ 895350 h 904875"/>
              <a:gd name="connsiteX15" fmla="*/ 2308316 w 2394041"/>
              <a:gd name="connsiteY15" fmla="*/ 685800 h 904875"/>
              <a:gd name="connsiteX16" fmla="*/ 2174966 w 2394041"/>
              <a:gd name="connsiteY16" fmla="*/ 485775 h 904875"/>
              <a:gd name="connsiteX17" fmla="*/ 1974941 w 2394041"/>
              <a:gd name="connsiteY17" fmla="*/ 261938 h 904875"/>
              <a:gd name="connsiteX18" fmla="*/ 1679666 w 2394041"/>
              <a:gd name="connsiteY18" fmla="*/ 95250 h 904875"/>
              <a:gd name="connsiteX19" fmla="*/ 1351054 w 2394041"/>
              <a:gd name="connsiteY19" fmla="*/ 14288 h 904875"/>
              <a:gd name="connsiteX20" fmla="*/ 936716 w 2394041"/>
              <a:gd name="connsiteY20" fmla="*/ 0 h 904875"/>
              <a:gd name="connsiteX21" fmla="*/ 631916 w 2394041"/>
              <a:gd name="connsiteY21" fmla="*/ 95250 h 904875"/>
              <a:gd name="connsiteX22" fmla="*/ 341404 w 2394041"/>
              <a:gd name="connsiteY22" fmla="*/ 271462 h 904875"/>
              <a:gd name="connsiteX23" fmla="*/ 127091 w 2394041"/>
              <a:gd name="connsiteY23" fmla="*/ 566738 h 904875"/>
              <a:gd name="connsiteX24" fmla="*/ 3267 w 2394041"/>
              <a:gd name="connsiteY24" fmla="*/ 904875 h 904875"/>
              <a:gd name="connsiteX25" fmla="*/ 255679 w 2394041"/>
              <a:gd name="connsiteY25" fmla="*/ 862013 h 904875"/>
              <a:gd name="connsiteX0" fmla="*/ 255679 w 2394041"/>
              <a:gd name="connsiteY0" fmla="*/ 862013 h 904875"/>
              <a:gd name="connsiteX1" fmla="*/ 317591 w 2394041"/>
              <a:gd name="connsiteY1" fmla="*/ 723900 h 904875"/>
              <a:gd name="connsiteX2" fmla="*/ 446179 w 2394041"/>
              <a:gd name="connsiteY2" fmla="*/ 590550 h 904875"/>
              <a:gd name="connsiteX3" fmla="*/ 570004 w 2394041"/>
              <a:gd name="connsiteY3" fmla="*/ 542925 h 904875"/>
              <a:gd name="connsiteX4" fmla="*/ 746216 w 2394041"/>
              <a:gd name="connsiteY4" fmla="*/ 561975 h 904875"/>
              <a:gd name="connsiteX5" fmla="*/ 931954 w 2394041"/>
              <a:gd name="connsiteY5" fmla="*/ 619125 h 904875"/>
              <a:gd name="connsiteX6" fmla="*/ 1089116 w 2394041"/>
              <a:gd name="connsiteY6" fmla="*/ 676275 h 904875"/>
              <a:gd name="connsiteX7" fmla="*/ 1260566 w 2394041"/>
              <a:gd name="connsiteY7" fmla="*/ 719138 h 904875"/>
              <a:gd name="connsiteX8" fmla="*/ 1355816 w 2394041"/>
              <a:gd name="connsiteY8" fmla="*/ 747713 h 904875"/>
              <a:gd name="connsiteX9" fmla="*/ 1598704 w 2394041"/>
              <a:gd name="connsiteY9" fmla="*/ 752475 h 904875"/>
              <a:gd name="connsiteX10" fmla="*/ 1808254 w 2394041"/>
              <a:gd name="connsiteY10" fmla="*/ 719138 h 904875"/>
              <a:gd name="connsiteX11" fmla="*/ 2017804 w 2394041"/>
              <a:gd name="connsiteY11" fmla="*/ 709613 h 904875"/>
              <a:gd name="connsiteX12" fmla="*/ 2122579 w 2394041"/>
              <a:gd name="connsiteY12" fmla="*/ 776288 h 904875"/>
              <a:gd name="connsiteX13" fmla="*/ 2194016 w 2394041"/>
              <a:gd name="connsiteY13" fmla="*/ 871538 h 904875"/>
              <a:gd name="connsiteX14" fmla="*/ 2394041 w 2394041"/>
              <a:gd name="connsiteY14" fmla="*/ 895350 h 904875"/>
              <a:gd name="connsiteX15" fmla="*/ 2308316 w 2394041"/>
              <a:gd name="connsiteY15" fmla="*/ 685800 h 904875"/>
              <a:gd name="connsiteX16" fmla="*/ 2174966 w 2394041"/>
              <a:gd name="connsiteY16" fmla="*/ 485775 h 904875"/>
              <a:gd name="connsiteX17" fmla="*/ 1974941 w 2394041"/>
              <a:gd name="connsiteY17" fmla="*/ 261938 h 904875"/>
              <a:gd name="connsiteX18" fmla="*/ 1679666 w 2394041"/>
              <a:gd name="connsiteY18" fmla="*/ 95250 h 904875"/>
              <a:gd name="connsiteX19" fmla="*/ 1351054 w 2394041"/>
              <a:gd name="connsiteY19" fmla="*/ 14288 h 904875"/>
              <a:gd name="connsiteX20" fmla="*/ 936716 w 2394041"/>
              <a:gd name="connsiteY20" fmla="*/ 0 h 904875"/>
              <a:gd name="connsiteX21" fmla="*/ 636678 w 2394041"/>
              <a:gd name="connsiteY21" fmla="*/ 76200 h 904875"/>
              <a:gd name="connsiteX22" fmla="*/ 341404 w 2394041"/>
              <a:gd name="connsiteY22" fmla="*/ 271462 h 904875"/>
              <a:gd name="connsiteX23" fmla="*/ 127091 w 2394041"/>
              <a:gd name="connsiteY23" fmla="*/ 566738 h 904875"/>
              <a:gd name="connsiteX24" fmla="*/ 3267 w 2394041"/>
              <a:gd name="connsiteY24" fmla="*/ 904875 h 904875"/>
              <a:gd name="connsiteX25" fmla="*/ 255679 w 2394041"/>
              <a:gd name="connsiteY25" fmla="*/ 862013 h 904875"/>
              <a:gd name="connsiteX0" fmla="*/ 255679 w 2394041"/>
              <a:gd name="connsiteY0" fmla="*/ 866477 h 909339"/>
              <a:gd name="connsiteX1" fmla="*/ 317591 w 2394041"/>
              <a:gd name="connsiteY1" fmla="*/ 728364 h 909339"/>
              <a:gd name="connsiteX2" fmla="*/ 446179 w 2394041"/>
              <a:gd name="connsiteY2" fmla="*/ 595014 h 909339"/>
              <a:gd name="connsiteX3" fmla="*/ 570004 w 2394041"/>
              <a:gd name="connsiteY3" fmla="*/ 547389 h 909339"/>
              <a:gd name="connsiteX4" fmla="*/ 746216 w 2394041"/>
              <a:gd name="connsiteY4" fmla="*/ 566439 h 909339"/>
              <a:gd name="connsiteX5" fmla="*/ 931954 w 2394041"/>
              <a:gd name="connsiteY5" fmla="*/ 623589 h 909339"/>
              <a:gd name="connsiteX6" fmla="*/ 1089116 w 2394041"/>
              <a:gd name="connsiteY6" fmla="*/ 680739 h 909339"/>
              <a:gd name="connsiteX7" fmla="*/ 1260566 w 2394041"/>
              <a:gd name="connsiteY7" fmla="*/ 723602 h 909339"/>
              <a:gd name="connsiteX8" fmla="*/ 1355816 w 2394041"/>
              <a:gd name="connsiteY8" fmla="*/ 752177 h 909339"/>
              <a:gd name="connsiteX9" fmla="*/ 1598704 w 2394041"/>
              <a:gd name="connsiteY9" fmla="*/ 756939 h 909339"/>
              <a:gd name="connsiteX10" fmla="*/ 1808254 w 2394041"/>
              <a:gd name="connsiteY10" fmla="*/ 723602 h 909339"/>
              <a:gd name="connsiteX11" fmla="*/ 2017804 w 2394041"/>
              <a:gd name="connsiteY11" fmla="*/ 714077 h 909339"/>
              <a:gd name="connsiteX12" fmla="*/ 2122579 w 2394041"/>
              <a:gd name="connsiteY12" fmla="*/ 780752 h 909339"/>
              <a:gd name="connsiteX13" fmla="*/ 2194016 w 2394041"/>
              <a:gd name="connsiteY13" fmla="*/ 876002 h 909339"/>
              <a:gd name="connsiteX14" fmla="*/ 2394041 w 2394041"/>
              <a:gd name="connsiteY14" fmla="*/ 899814 h 909339"/>
              <a:gd name="connsiteX15" fmla="*/ 2308316 w 2394041"/>
              <a:gd name="connsiteY15" fmla="*/ 690264 h 909339"/>
              <a:gd name="connsiteX16" fmla="*/ 2174966 w 2394041"/>
              <a:gd name="connsiteY16" fmla="*/ 490239 h 909339"/>
              <a:gd name="connsiteX17" fmla="*/ 1974941 w 2394041"/>
              <a:gd name="connsiteY17" fmla="*/ 266402 h 909339"/>
              <a:gd name="connsiteX18" fmla="*/ 1679666 w 2394041"/>
              <a:gd name="connsiteY18" fmla="*/ 99714 h 909339"/>
              <a:gd name="connsiteX19" fmla="*/ 1351054 w 2394041"/>
              <a:gd name="connsiteY19" fmla="*/ 18752 h 909339"/>
              <a:gd name="connsiteX20" fmla="*/ 936716 w 2394041"/>
              <a:gd name="connsiteY20" fmla="*/ 4464 h 909339"/>
              <a:gd name="connsiteX21" fmla="*/ 636678 w 2394041"/>
              <a:gd name="connsiteY21" fmla="*/ 80664 h 909339"/>
              <a:gd name="connsiteX22" fmla="*/ 341404 w 2394041"/>
              <a:gd name="connsiteY22" fmla="*/ 275926 h 909339"/>
              <a:gd name="connsiteX23" fmla="*/ 127091 w 2394041"/>
              <a:gd name="connsiteY23" fmla="*/ 571202 h 909339"/>
              <a:gd name="connsiteX24" fmla="*/ 3267 w 2394041"/>
              <a:gd name="connsiteY24" fmla="*/ 909339 h 909339"/>
              <a:gd name="connsiteX25" fmla="*/ 255679 w 2394041"/>
              <a:gd name="connsiteY25" fmla="*/ 866477 h 909339"/>
              <a:gd name="connsiteX0" fmla="*/ 255679 w 2394041"/>
              <a:gd name="connsiteY0" fmla="*/ 870386 h 913248"/>
              <a:gd name="connsiteX1" fmla="*/ 317591 w 2394041"/>
              <a:gd name="connsiteY1" fmla="*/ 732273 h 913248"/>
              <a:gd name="connsiteX2" fmla="*/ 446179 w 2394041"/>
              <a:gd name="connsiteY2" fmla="*/ 598923 h 913248"/>
              <a:gd name="connsiteX3" fmla="*/ 570004 w 2394041"/>
              <a:gd name="connsiteY3" fmla="*/ 551298 h 913248"/>
              <a:gd name="connsiteX4" fmla="*/ 746216 w 2394041"/>
              <a:gd name="connsiteY4" fmla="*/ 570348 h 913248"/>
              <a:gd name="connsiteX5" fmla="*/ 931954 w 2394041"/>
              <a:gd name="connsiteY5" fmla="*/ 627498 h 913248"/>
              <a:gd name="connsiteX6" fmla="*/ 1089116 w 2394041"/>
              <a:gd name="connsiteY6" fmla="*/ 684648 h 913248"/>
              <a:gd name="connsiteX7" fmla="*/ 1260566 w 2394041"/>
              <a:gd name="connsiteY7" fmla="*/ 727511 h 913248"/>
              <a:gd name="connsiteX8" fmla="*/ 1355816 w 2394041"/>
              <a:gd name="connsiteY8" fmla="*/ 756086 h 913248"/>
              <a:gd name="connsiteX9" fmla="*/ 1598704 w 2394041"/>
              <a:gd name="connsiteY9" fmla="*/ 760848 h 913248"/>
              <a:gd name="connsiteX10" fmla="*/ 1808254 w 2394041"/>
              <a:gd name="connsiteY10" fmla="*/ 727511 h 913248"/>
              <a:gd name="connsiteX11" fmla="*/ 2017804 w 2394041"/>
              <a:gd name="connsiteY11" fmla="*/ 717986 h 913248"/>
              <a:gd name="connsiteX12" fmla="*/ 2122579 w 2394041"/>
              <a:gd name="connsiteY12" fmla="*/ 784661 h 913248"/>
              <a:gd name="connsiteX13" fmla="*/ 2194016 w 2394041"/>
              <a:gd name="connsiteY13" fmla="*/ 879911 h 913248"/>
              <a:gd name="connsiteX14" fmla="*/ 2394041 w 2394041"/>
              <a:gd name="connsiteY14" fmla="*/ 903723 h 913248"/>
              <a:gd name="connsiteX15" fmla="*/ 2308316 w 2394041"/>
              <a:gd name="connsiteY15" fmla="*/ 694173 h 913248"/>
              <a:gd name="connsiteX16" fmla="*/ 2174966 w 2394041"/>
              <a:gd name="connsiteY16" fmla="*/ 494148 h 913248"/>
              <a:gd name="connsiteX17" fmla="*/ 1974941 w 2394041"/>
              <a:gd name="connsiteY17" fmla="*/ 270311 h 913248"/>
              <a:gd name="connsiteX18" fmla="*/ 1679666 w 2394041"/>
              <a:gd name="connsiteY18" fmla="*/ 103623 h 913248"/>
              <a:gd name="connsiteX19" fmla="*/ 1351054 w 2394041"/>
              <a:gd name="connsiteY19" fmla="*/ 22661 h 913248"/>
              <a:gd name="connsiteX20" fmla="*/ 936716 w 2394041"/>
              <a:gd name="connsiteY20" fmla="*/ 3611 h 913248"/>
              <a:gd name="connsiteX21" fmla="*/ 636678 w 2394041"/>
              <a:gd name="connsiteY21" fmla="*/ 84573 h 913248"/>
              <a:gd name="connsiteX22" fmla="*/ 341404 w 2394041"/>
              <a:gd name="connsiteY22" fmla="*/ 279835 h 913248"/>
              <a:gd name="connsiteX23" fmla="*/ 127091 w 2394041"/>
              <a:gd name="connsiteY23" fmla="*/ 575111 h 913248"/>
              <a:gd name="connsiteX24" fmla="*/ 3267 w 2394041"/>
              <a:gd name="connsiteY24" fmla="*/ 913248 h 913248"/>
              <a:gd name="connsiteX25" fmla="*/ 255679 w 2394041"/>
              <a:gd name="connsiteY25" fmla="*/ 870386 h 913248"/>
              <a:gd name="connsiteX0" fmla="*/ 255679 w 2394041"/>
              <a:gd name="connsiteY0" fmla="*/ 870495 h 913357"/>
              <a:gd name="connsiteX1" fmla="*/ 317591 w 2394041"/>
              <a:gd name="connsiteY1" fmla="*/ 732382 h 913357"/>
              <a:gd name="connsiteX2" fmla="*/ 446179 w 2394041"/>
              <a:gd name="connsiteY2" fmla="*/ 599032 h 913357"/>
              <a:gd name="connsiteX3" fmla="*/ 570004 w 2394041"/>
              <a:gd name="connsiteY3" fmla="*/ 551407 h 913357"/>
              <a:gd name="connsiteX4" fmla="*/ 746216 w 2394041"/>
              <a:gd name="connsiteY4" fmla="*/ 570457 h 913357"/>
              <a:gd name="connsiteX5" fmla="*/ 931954 w 2394041"/>
              <a:gd name="connsiteY5" fmla="*/ 627607 h 913357"/>
              <a:gd name="connsiteX6" fmla="*/ 1089116 w 2394041"/>
              <a:gd name="connsiteY6" fmla="*/ 684757 h 913357"/>
              <a:gd name="connsiteX7" fmla="*/ 1260566 w 2394041"/>
              <a:gd name="connsiteY7" fmla="*/ 727620 h 913357"/>
              <a:gd name="connsiteX8" fmla="*/ 1355816 w 2394041"/>
              <a:gd name="connsiteY8" fmla="*/ 756195 h 913357"/>
              <a:gd name="connsiteX9" fmla="*/ 1598704 w 2394041"/>
              <a:gd name="connsiteY9" fmla="*/ 760957 h 913357"/>
              <a:gd name="connsiteX10" fmla="*/ 1808254 w 2394041"/>
              <a:gd name="connsiteY10" fmla="*/ 727620 h 913357"/>
              <a:gd name="connsiteX11" fmla="*/ 2017804 w 2394041"/>
              <a:gd name="connsiteY11" fmla="*/ 718095 h 913357"/>
              <a:gd name="connsiteX12" fmla="*/ 2122579 w 2394041"/>
              <a:gd name="connsiteY12" fmla="*/ 784770 h 913357"/>
              <a:gd name="connsiteX13" fmla="*/ 2194016 w 2394041"/>
              <a:gd name="connsiteY13" fmla="*/ 880020 h 913357"/>
              <a:gd name="connsiteX14" fmla="*/ 2394041 w 2394041"/>
              <a:gd name="connsiteY14" fmla="*/ 903832 h 913357"/>
              <a:gd name="connsiteX15" fmla="*/ 2308316 w 2394041"/>
              <a:gd name="connsiteY15" fmla="*/ 694282 h 913357"/>
              <a:gd name="connsiteX16" fmla="*/ 2174966 w 2394041"/>
              <a:gd name="connsiteY16" fmla="*/ 494257 h 913357"/>
              <a:gd name="connsiteX17" fmla="*/ 1974941 w 2394041"/>
              <a:gd name="connsiteY17" fmla="*/ 270420 h 913357"/>
              <a:gd name="connsiteX18" fmla="*/ 1679666 w 2394041"/>
              <a:gd name="connsiteY18" fmla="*/ 103732 h 913357"/>
              <a:gd name="connsiteX19" fmla="*/ 1351054 w 2394041"/>
              <a:gd name="connsiteY19" fmla="*/ 22770 h 913357"/>
              <a:gd name="connsiteX20" fmla="*/ 936716 w 2394041"/>
              <a:gd name="connsiteY20" fmla="*/ 3720 h 913357"/>
              <a:gd name="connsiteX21" fmla="*/ 636678 w 2394041"/>
              <a:gd name="connsiteY21" fmla="*/ 84682 h 913357"/>
              <a:gd name="connsiteX22" fmla="*/ 341404 w 2394041"/>
              <a:gd name="connsiteY22" fmla="*/ 279944 h 913357"/>
              <a:gd name="connsiteX23" fmla="*/ 127091 w 2394041"/>
              <a:gd name="connsiteY23" fmla="*/ 575220 h 913357"/>
              <a:gd name="connsiteX24" fmla="*/ 3267 w 2394041"/>
              <a:gd name="connsiteY24" fmla="*/ 913357 h 913357"/>
              <a:gd name="connsiteX25" fmla="*/ 255679 w 2394041"/>
              <a:gd name="connsiteY25" fmla="*/ 870495 h 913357"/>
              <a:gd name="connsiteX0" fmla="*/ 255679 w 2394041"/>
              <a:gd name="connsiteY0" fmla="*/ 875506 h 918368"/>
              <a:gd name="connsiteX1" fmla="*/ 317591 w 2394041"/>
              <a:gd name="connsiteY1" fmla="*/ 737393 h 918368"/>
              <a:gd name="connsiteX2" fmla="*/ 446179 w 2394041"/>
              <a:gd name="connsiteY2" fmla="*/ 604043 h 918368"/>
              <a:gd name="connsiteX3" fmla="*/ 570004 w 2394041"/>
              <a:gd name="connsiteY3" fmla="*/ 556418 h 918368"/>
              <a:gd name="connsiteX4" fmla="*/ 746216 w 2394041"/>
              <a:gd name="connsiteY4" fmla="*/ 575468 h 918368"/>
              <a:gd name="connsiteX5" fmla="*/ 931954 w 2394041"/>
              <a:gd name="connsiteY5" fmla="*/ 632618 h 918368"/>
              <a:gd name="connsiteX6" fmla="*/ 1089116 w 2394041"/>
              <a:gd name="connsiteY6" fmla="*/ 689768 h 918368"/>
              <a:gd name="connsiteX7" fmla="*/ 1260566 w 2394041"/>
              <a:gd name="connsiteY7" fmla="*/ 732631 h 918368"/>
              <a:gd name="connsiteX8" fmla="*/ 1355816 w 2394041"/>
              <a:gd name="connsiteY8" fmla="*/ 761206 h 918368"/>
              <a:gd name="connsiteX9" fmla="*/ 1598704 w 2394041"/>
              <a:gd name="connsiteY9" fmla="*/ 765968 h 918368"/>
              <a:gd name="connsiteX10" fmla="*/ 1808254 w 2394041"/>
              <a:gd name="connsiteY10" fmla="*/ 732631 h 918368"/>
              <a:gd name="connsiteX11" fmla="*/ 2017804 w 2394041"/>
              <a:gd name="connsiteY11" fmla="*/ 723106 h 918368"/>
              <a:gd name="connsiteX12" fmla="*/ 2122579 w 2394041"/>
              <a:gd name="connsiteY12" fmla="*/ 789781 h 918368"/>
              <a:gd name="connsiteX13" fmla="*/ 2194016 w 2394041"/>
              <a:gd name="connsiteY13" fmla="*/ 885031 h 918368"/>
              <a:gd name="connsiteX14" fmla="*/ 2394041 w 2394041"/>
              <a:gd name="connsiteY14" fmla="*/ 908843 h 918368"/>
              <a:gd name="connsiteX15" fmla="*/ 2308316 w 2394041"/>
              <a:gd name="connsiteY15" fmla="*/ 699293 h 918368"/>
              <a:gd name="connsiteX16" fmla="*/ 2174966 w 2394041"/>
              <a:gd name="connsiteY16" fmla="*/ 499268 h 918368"/>
              <a:gd name="connsiteX17" fmla="*/ 1974941 w 2394041"/>
              <a:gd name="connsiteY17" fmla="*/ 275431 h 918368"/>
              <a:gd name="connsiteX18" fmla="*/ 1679666 w 2394041"/>
              <a:gd name="connsiteY18" fmla="*/ 108743 h 918368"/>
              <a:gd name="connsiteX19" fmla="*/ 1351054 w 2394041"/>
              <a:gd name="connsiteY19" fmla="*/ 13493 h 918368"/>
              <a:gd name="connsiteX20" fmla="*/ 936716 w 2394041"/>
              <a:gd name="connsiteY20" fmla="*/ 8731 h 918368"/>
              <a:gd name="connsiteX21" fmla="*/ 636678 w 2394041"/>
              <a:gd name="connsiteY21" fmla="*/ 89693 h 918368"/>
              <a:gd name="connsiteX22" fmla="*/ 341404 w 2394041"/>
              <a:gd name="connsiteY22" fmla="*/ 284955 h 918368"/>
              <a:gd name="connsiteX23" fmla="*/ 127091 w 2394041"/>
              <a:gd name="connsiteY23" fmla="*/ 580231 h 918368"/>
              <a:gd name="connsiteX24" fmla="*/ 3267 w 2394041"/>
              <a:gd name="connsiteY24" fmla="*/ 918368 h 918368"/>
              <a:gd name="connsiteX25" fmla="*/ 255679 w 2394041"/>
              <a:gd name="connsiteY25" fmla="*/ 875506 h 918368"/>
              <a:gd name="connsiteX0" fmla="*/ 255679 w 2394041"/>
              <a:gd name="connsiteY0" fmla="*/ 875506 h 918368"/>
              <a:gd name="connsiteX1" fmla="*/ 317591 w 2394041"/>
              <a:gd name="connsiteY1" fmla="*/ 737393 h 918368"/>
              <a:gd name="connsiteX2" fmla="*/ 446179 w 2394041"/>
              <a:gd name="connsiteY2" fmla="*/ 604043 h 918368"/>
              <a:gd name="connsiteX3" fmla="*/ 570004 w 2394041"/>
              <a:gd name="connsiteY3" fmla="*/ 556418 h 918368"/>
              <a:gd name="connsiteX4" fmla="*/ 746216 w 2394041"/>
              <a:gd name="connsiteY4" fmla="*/ 575468 h 918368"/>
              <a:gd name="connsiteX5" fmla="*/ 931954 w 2394041"/>
              <a:gd name="connsiteY5" fmla="*/ 632618 h 918368"/>
              <a:gd name="connsiteX6" fmla="*/ 1089116 w 2394041"/>
              <a:gd name="connsiteY6" fmla="*/ 689768 h 918368"/>
              <a:gd name="connsiteX7" fmla="*/ 1260566 w 2394041"/>
              <a:gd name="connsiteY7" fmla="*/ 732631 h 918368"/>
              <a:gd name="connsiteX8" fmla="*/ 1355816 w 2394041"/>
              <a:gd name="connsiteY8" fmla="*/ 761206 h 918368"/>
              <a:gd name="connsiteX9" fmla="*/ 1598704 w 2394041"/>
              <a:gd name="connsiteY9" fmla="*/ 765968 h 918368"/>
              <a:gd name="connsiteX10" fmla="*/ 1808254 w 2394041"/>
              <a:gd name="connsiteY10" fmla="*/ 732631 h 918368"/>
              <a:gd name="connsiteX11" fmla="*/ 2017804 w 2394041"/>
              <a:gd name="connsiteY11" fmla="*/ 723106 h 918368"/>
              <a:gd name="connsiteX12" fmla="*/ 2122579 w 2394041"/>
              <a:gd name="connsiteY12" fmla="*/ 789781 h 918368"/>
              <a:gd name="connsiteX13" fmla="*/ 2194016 w 2394041"/>
              <a:gd name="connsiteY13" fmla="*/ 885031 h 918368"/>
              <a:gd name="connsiteX14" fmla="*/ 2394041 w 2394041"/>
              <a:gd name="connsiteY14" fmla="*/ 908843 h 918368"/>
              <a:gd name="connsiteX15" fmla="*/ 2308316 w 2394041"/>
              <a:gd name="connsiteY15" fmla="*/ 699293 h 918368"/>
              <a:gd name="connsiteX16" fmla="*/ 2174966 w 2394041"/>
              <a:gd name="connsiteY16" fmla="*/ 499268 h 918368"/>
              <a:gd name="connsiteX17" fmla="*/ 1974941 w 2394041"/>
              <a:gd name="connsiteY17" fmla="*/ 275431 h 918368"/>
              <a:gd name="connsiteX18" fmla="*/ 1679666 w 2394041"/>
              <a:gd name="connsiteY18" fmla="*/ 108743 h 918368"/>
              <a:gd name="connsiteX19" fmla="*/ 1351054 w 2394041"/>
              <a:gd name="connsiteY19" fmla="*/ 13493 h 918368"/>
              <a:gd name="connsiteX20" fmla="*/ 936716 w 2394041"/>
              <a:gd name="connsiteY20" fmla="*/ 8731 h 918368"/>
              <a:gd name="connsiteX21" fmla="*/ 636678 w 2394041"/>
              <a:gd name="connsiteY21" fmla="*/ 89693 h 918368"/>
              <a:gd name="connsiteX22" fmla="*/ 341404 w 2394041"/>
              <a:gd name="connsiteY22" fmla="*/ 284955 h 918368"/>
              <a:gd name="connsiteX23" fmla="*/ 127091 w 2394041"/>
              <a:gd name="connsiteY23" fmla="*/ 580231 h 918368"/>
              <a:gd name="connsiteX24" fmla="*/ 3267 w 2394041"/>
              <a:gd name="connsiteY24" fmla="*/ 918368 h 918368"/>
              <a:gd name="connsiteX25" fmla="*/ 255679 w 2394041"/>
              <a:gd name="connsiteY25" fmla="*/ 875506 h 918368"/>
              <a:gd name="connsiteX0" fmla="*/ 255679 w 2394041"/>
              <a:gd name="connsiteY0" fmla="*/ 874984 h 917846"/>
              <a:gd name="connsiteX1" fmla="*/ 317591 w 2394041"/>
              <a:gd name="connsiteY1" fmla="*/ 736871 h 917846"/>
              <a:gd name="connsiteX2" fmla="*/ 446179 w 2394041"/>
              <a:gd name="connsiteY2" fmla="*/ 603521 h 917846"/>
              <a:gd name="connsiteX3" fmla="*/ 570004 w 2394041"/>
              <a:gd name="connsiteY3" fmla="*/ 555896 h 917846"/>
              <a:gd name="connsiteX4" fmla="*/ 746216 w 2394041"/>
              <a:gd name="connsiteY4" fmla="*/ 574946 h 917846"/>
              <a:gd name="connsiteX5" fmla="*/ 931954 w 2394041"/>
              <a:gd name="connsiteY5" fmla="*/ 632096 h 917846"/>
              <a:gd name="connsiteX6" fmla="*/ 1089116 w 2394041"/>
              <a:gd name="connsiteY6" fmla="*/ 689246 h 917846"/>
              <a:gd name="connsiteX7" fmla="*/ 1260566 w 2394041"/>
              <a:gd name="connsiteY7" fmla="*/ 732109 h 917846"/>
              <a:gd name="connsiteX8" fmla="*/ 1355816 w 2394041"/>
              <a:gd name="connsiteY8" fmla="*/ 760684 h 917846"/>
              <a:gd name="connsiteX9" fmla="*/ 1598704 w 2394041"/>
              <a:gd name="connsiteY9" fmla="*/ 765446 h 917846"/>
              <a:gd name="connsiteX10" fmla="*/ 1808254 w 2394041"/>
              <a:gd name="connsiteY10" fmla="*/ 732109 h 917846"/>
              <a:gd name="connsiteX11" fmla="*/ 2017804 w 2394041"/>
              <a:gd name="connsiteY11" fmla="*/ 722584 h 917846"/>
              <a:gd name="connsiteX12" fmla="*/ 2122579 w 2394041"/>
              <a:gd name="connsiteY12" fmla="*/ 789259 h 917846"/>
              <a:gd name="connsiteX13" fmla="*/ 2194016 w 2394041"/>
              <a:gd name="connsiteY13" fmla="*/ 884509 h 917846"/>
              <a:gd name="connsiteX14" fmla="*/ 2394041 w 2394041"/>
              <a:gd name="connsiteY14" fmla="*/ 908321 h 917846"/>
              <a:gd name="connsiteX15" fmla="*/ 2308316 w 2394041"/>
              <a:gd name="connsiteY15" fmla="*/ 698771 h 917846"/>
              <a:gd name="connsiteX16" fmla="*/ 2174966 w 2394041"/>
              <a:gd name="connsiteY16" fmla="*/ 498746 h 917846"/>
              <a:gd name="connsiteX17" fmla="*/ 1974941 w 2394041"/>
              <a:gd name="connsiteY17" fmla="*/ 274909 h 917846"/>
              <a:gd name="connsiteX18" fmla="*/ 1689191 w 2394041"/>
              <a:gd name="connsiteY18" fmla="*/ 98696 h 917846"/>
              <a:gd name="connsiteX19" fmla="*/ 1351054 w 2394041"/>
              <a:gd name="connsiteY19" fmla="*/ 12971 h 917846"/>
              <a:gd name="connsiteX20" fmla="*/ 936716 w 2394041"/>
              <a:gd name="connsiteY20" fmla="*/ 8209 h 917846"/>
              <a:gd name="connsiteX21" fmla="*/ 636678 w 2394041"/>
              <a:gd name="connsiteY21" fmla="*/ 89171 h 917846"/>
              <a:gd name="connsiteX22" fmla="*/ 341404 w 2394041"/>
              <a:gd name="connsiteY22" fmla="*/ 284433 h 917846"/>
              <a:gd name="connsiteX23" fmla="*/ 127091 w 2394041"/>
              <a:gd name="connsiteY23" fmla="*/ 579709 h 917846"/>
              <a:gd name="connsiteX24" fmla="*/ 3267 w 2394041"/>
              <a:gd name="connsiteY24" fmla="*/ 917846 h 917846"/>
              <a:gd name="connsiteX25" fmla="*/ 255679 w 2394041"/>
              <a:gd name="connsiteY25" fmla="*/ 874984 h 917846"/>
              <a:gd name="connsiteX0" fmla="*/ 255679 w 2394041"/>
              <a:gd name="connsiteY0" fmla="*/ 874984 h 917846"/>
              <a:gd name="connsiteX1" fmla="*/ 317591 w 2394041"/>
              <a:gd name="connsiteY1" fmla="*/ 736871 h 917846"/>
              <a:gd name="connsiteX2" fmla="*/ 446179 w 2394041"/>
              <a:gd name="connsiteY2" fmla="*/ 603521 h 917846"/>
              <a:gd name="connsiteX3" fmla="*/ 570004 w 2394041"/>
              <a:gd name="connsiteY3" fmla="*/ 555896 h 917846"/>
              <a:gd name="connsiteX4" fmla="*/ 746216 w 2394041"/>
              <a:gd name="connsiteY4" fmla="*/ 574946 h 917846"/>
              <a:gd name="connsiteX5" fmla="*/ 931954 w 2394041"/>
              <a:gd name="connsiteY5" fmla="*/ 632096 h 917846"/>
              <a:gd name="connsiteX6" fmla="*/ 1089116 w 2394041"/>
              <a:gd name="connsiteY6" fmla="*/ 689246 h 917846"/>
              <a:gd name="connsiteX7" fmla="*/ 1260566 w 2394041"/>
              <a:gd name="connsiteY7" fmla="*/ 732109 h 917846"/>
              <a:gd name="connsiteX8" fmla="*/ 1355816 w 2394041"/>
              <a:gd name="connsiteY8" fmla="*/ 760684 h 917846"/>
              <a:gd name="connsiteX9" fmla="*/ 1598704 w 2394041"/>
              <a:gd name="connsiteY9" fmla="*/ 765446 h 917846"/>
              <a:gd name="connsiteX10" fmla="*/ 1808254 w 2394041"/>
              <a:gd name="connsiteY10" fmla="*/ 732109 h 917846"/>
              <a:gd name="connsiteX11" fmla="*/ 2017804 w 2394041"/>
              <a:gd name="connsiteY11" fmla="*/ 722584 h 917846"/>
              <a:gd name="connsiteX12" fmla="*/ 2122579 w 2394041"/>
              <a:gd name="connsiteY12" fmla="*/ 789259 h 917846"/>
              <a:gd name="connsiteX13" fmla="*/ 2194016 w 2394041"/>
              <a:gd name="connsiteY13" fmla="*/ 884509 h 917846"/>
              <a:gd name="connsiteX14" fmla="*/ 2394041 w 2394041"/>
              <a:gd name="connsiteY14" fmla="*/ 908321 h 917846"/>
              <a:gd name="connsiteX15" fmla="*/ 2308316 w 2394041"/>
              <a:gd name="connsiteY15" fmla="*/ 698771 h 917846"/>
              <a:gd name="connsiteX16" fmla="*/ 2174966 w 2394041"/>
              <a:gd name="connsiteY16" fmla="*/ 498746 h 917846"/>
              <a:gd name="connsiteX17" fmla="*/ 1974941 w 2394041"/>
              <a:gd name="connsiteY17" fmla="*/ 274909 h 917846"/>
              <a:gd name="connsiteX18" fmla="*/ 1689191 w 2394041"/>
              <a:gd name="connsiteY18" fmla="*/ 98696 h 917846"/>
              <a:gd name="connsiteX19" fmla="*/ 1351054 w 2394041"/>
              <a:gd name="connsiteY19" fmla="*/ 12971 h 917846"/>
              <a:gd name="connsiteX20" fmla="*/ 936716 w 2394041"/>
              <a:gd name="connsiteY20" fmla="*/ 8209 h 917846"/>
              <a:gd name="connsiteX21" fmla="*/ 636678 w 2394041"/>
              <a:gd name="connsiteY21" fmla="*/ 89171 h 917846"/>
              <a:gd name="connsiteX22" fmla="*/ 341404 w 2394041"/>
              <a:gd name="connsiteY22" fmla="*/ 284433 h 917846"/>
              <a:gd name="connsiteX23" fmla="*/ 127091 w 2394041"/>
              <a:gd name="connsiteY23" fmla="*/ 579709 h 917846"/>
              <a:gd name="connsiteX24" fmla="*/ 3267 w 2394041"/>
              <a:gd name="connsiteY24" fmla="*/ 917846 h 917846"/>
              <a:gd name="connsiteX25" fmla="*/ 255679 w 2394041"/>
              <a:gd name="connsiteY25" fmla="*/ 874984 h 917846"/>
              <a:gd name="connsiteX0" fmla="*/ 255679 w 2394041"/>
              <a:gd name="connsiteY0" fmla="*/ 874984 h 917846"/>
              <a:gd name="connsiteX1" fmla="*/ 317591 w 2394041"/>
              <a:gd name="connsiteY1" fmla="*/ 736871 h 917846"/>
              <a:gd name="connsiteX2" fmla="*/ 446179 w 2394041"/>
              <a:gd name="connsiteY2" fmla="*/ 603521 h 917846"/>
              <a:gd name="connsiteX3" fmla="*/ 570004 w 2394041"/>
              <a:gd name="connsiteY3" fmla="*/ 555896 h 917846"/>
              <a:gd name="connsiteX4" fmla="*/ 746216 w 2394041"/>
              <a:gd name="connsiteY4" fmla="*/ 574946 h 917846"/>
              <a:gd name="connsiteX5" fmla="*/ 931954 w 2394041"/>
              <a:gd name="connsiteY5" fmla="*/ 632096 h 917846"/>
              <a:gd name="connsiteX6" fmla="*/ 1089116 w 2394041"/>
              <a:gd name="connsiteY6" fmla="*/ 689246 h 917846"/>
              <a:gd name="connsiteX7" fmla="*/ 1260566 w 2394041"/>
              <a:gd name="connsiteY7" fmla="*/ 732109 h 917846"/>
              <a:gd name="connsiteX8" fmla="*/ 1355816 w 2394041"/>
              <a:gd name="connsiteY8" fmla="*/ 760684 h 917846"/>
              <a:gd name="connsiteX9" fmla="*/ 1598704 w 2394041"/>
              <a:gd name="connsiteY9" fmla="*/ 765446 h 917846"/>
              <a:gd name="connsiteX10" fmla="*/ 1808254 w 2394041"/>
              <a:gd name="connsiteY10" fmla="*/ 732109 h 917846"/>
              <a:gd name="connsiteX11" fmla="*/ 2017804 w 2394041"/>
              <a:gd name="connsiteY11" fmla="*/ 722584 h 917846"/>
              <a:gd name="connsiteX12" fmla="*/ 2122579 w 2394041"/>
              <a:gd name="connsiteY12" fmla="*/ 789259 h 917846"/>
              <a:gd name="connsiteX13" fmla="*/ 2194016 w 2394041"/>
              <a:gd name="connsiteY13" fmla="*/ 884509 h 917846"/>
              <a:gd name="connsiteX14" fmla="*/ 2394041 w 2394041"/>
              <a:gd name="connsiteY14" fmla="*/ 908321 h 917846"/>
              <a:gd name="connsiteX15" fmla="*/ 2308316 w 2394041"/>
              <a:gd name="connsiteY15" fmla="*/ 698771 h 917846"/>
              <a:gd name="connsiteX16" fmla="*/ 2174966 w 2394041"/>
              <a:gd name="connsiteY16" fmla="*/ 498746 h 917846"/>
              <a:gd name="connsiteX17" fmla="*/ 1993991 w 2394041"/>
              <a:gd name="connsiteY17" fmla="*/ 274909 h 917846"/>
              <a:gd name="connsiteX18" fmla="*/ 1689191 w 2394041"/>
              <a:gd name="connsiteY18" fmla="*/ 98696 h 917846"/>
              <a:gd name="connsiteX19" fmla="*/ 1351054 w 2394041"/>
              <a:gd name="connsiteY19" fmla="*/ 12971 h 917846"/>
              <a:gd name="connsiteX20" fmla="*/ 936716 w 2394041"/>
              <a:gd name="connsiteY20" fmla="*/ 8209 h 917846"/>
              <a:gd name="connsiteX21" fmla="*/ 636678 w 2394041"/>
              <a:gd name="connsiteY21" fmla="*/ 89171 h 917846"/>
              <a:gd name="connsiteX22" fmla="*/ 341404 w 2394041"/>
              <a:gd name="connsiteY22" fmla="*/ 284433 h 917846"/>
              <a:gd name="connsiteX23" fmla="*/ 127091 w 2394041"/>
              <a:gd name="connsiteY23" fmla="*/ 579709 h 917846"/>
              <a:gd name="connsiteX24" fmla="*/ 3267 w 2394041"/>
              <a:gd name="connsiteY24" fmla="*/ 917846 h 917846"/>
              <a:gd name="connsiteX25" fmla="*/ 255679 w 2394041"/>
              <a:gd name="connsiteY25" fmla="*/ 874984 h 917846"/>
              <a:gd name="connsiteX0" fmla="*/ 255679 w 2394041"/>
              <a:gd name="connsiteY0" fmla="*/ 874984 h 917846"/>
              <a:gd name="connsiteX1" fmla="*/ 317591 w 2394041"/>
              <a:gd name="connsiteY1" fmla="*/ 736871 h 917846"/>
              <a:gd name="connsiteX2" fmla="*/ 446179 w 2394041"/>
              <a:gd name="connsiteY2" fmla="*/ 603521 h 917846"/>
              <a:gd name="connsiteX3" fmla="*/ 570004 w 2394041"/>
              <a:gd name="connsiteY3" fmla="*/ 555896 h 917846"/>
              <a:gd name="connsiteX4" fmla="*/ 746216 w 2394041"/>
              <a:gd name="connsiteY4" fmla="*/ 574946 h 917846"/>
              <a:gd name="connsiteX5" fmla="*/ 931954 w 2394041"/>
              <a:gd name="connsiteY5" fmla="*/ 632096 h 917846"/>
              <a:gd name="connsiteX6" fmla="*/ 1089116 w 2394041"/>
              <a:gd name="connsiteY6" fmla="*/ 689246 h 917846"/>
              <a:gd name="connsiteX7" fmla="*/ 1260566 w 2394041"/>
              <a:gd name="connsiteY7" fmla="*/ 732109 h 917846"/>
              <a:gd name="connsiteX8" fmla="*/ 1355816 w 2394041"/>
              <a:gd name="connsiteY8" fmla="*/ 760684 h 917846"/>
              <a:gd name="connsiteX9" fmla="*/ 1598704 w 2394041"/>
              <a:gd name="connsiteY9" fmla="*/ 765446 h 917846"/>
              <a:gd name="connsiteX10" fmla="*/ 1808254 w 2394041"/>
              <a:gd name="connsiteY10" fmla="*/ 732109 h 917846"/>
              <a:gd name="connsiteX11" fmla="*/ 2017804 w 2394041"/>
              <a:gd name="connsiteY11" fmla="*/ 722584 h 917846"/>
              <a:gd name="connsiteX12" fmla="*/ 2122579 w 2394041"/>
              <a:gd name="connsiteY12" fmla="*/ 789259 h 917846"/>
              <a:gd name="connsiteX13" fmla="*/ 2194016 w 2394041"/>
              <a:gd name="connsiteY13" fmla="*/ 884509 h 917846"/>
              <a:gd name="connsiteX14" fmla="*/ 2394041 w 2394041"/>
              <a:gd name="connsiteY14" fmla="*/ 908321 h 917846"/>
              <a:gd name="connsiteX15" fmla="*/ 2308316 w 2394041"/>
              <a:gd name="connsiteY15" fmla="*/ 698771 h 917846"/>
              <a:gd name="connsiteX16" fmla="*/ 2174966 w 2394041"/>
              <a:gd name="connsiteY16" fmla="*/ 498746 h 917846"/>
              <a:gd name="connsiteX17" fmla="*/ 1993991 w 2394041"/>
              <a:gd name="connsiteY17" fmla="*/ 274909 h 917846"/>
              <a:gd name="connsiteX18" fmla="*/ 1689191 w 2394041"/>
              <a:gd name="connsiteY18" fmla="*/ 98696 h 917846"/>
              <a:gd name="connsiteX19" fmla="*/ 1351054 w 2394041"/>
              <a:gd name="connsiteY19" fmla="*/ 12971 h 917846"/>
              <a:gd name="connsiteX20" fmla="*/ 936716 w 2394041"/>
              <a:gd name="connsiteY20" fmla="*/ 8209 h 917846"/>
              <a:gd name="connsiteX21" fmla="*/ 636678 w 2394041"/>
              <a:gd name="connsiteY21" fmla="*/ 89171 h 917846"/>
              <a:gd name="connsiteX22" fmla="*/ 341404 w 2394041"/>
              <a:gd name="connsiteY22" fmla="*/ 284433 h 917846"/>
              <a:gd name="connsiteX23" fmla="*/ 127091 w 2394041"/>
              <a:gd name="connsiteY23" fmla="*/ 579709 h 917846"/>
              <a:gd name="connsiteX24" fmla="*/ 3267 w 2394041"/>
              <a:gd name="connsiteY24" fmla="*/ 917846 h 917846"/>
              <a:gd name="connsiteX25" fmla="*/ 255679 w 2394041"/>
              <a:gd name="connsiteY25" fmla="*/ 874984 h 917846"/>
              <a:gd name="connsiteX0" fmla="*/ 255679 w 2394041"/>
              <a:gd name="connsiteY0" fmla="*/ 874984 h 917846"/>
              <a:gd name="connsiteX1" fmla="*/ 317591 w 2394041"/>
              <a:gd name="connsiteY1" fmla="*/ 736871 h 917846"/>
              <a:gd name="connsiteX2" fmla="*/ 446179 w 2394041"/>
              <a:gd name="connsiteY2" fmla="*/ 603521 h 917846"/>
              <a:gd name="connsiteX3" fmla="*/ 570004 w 2394041"/>
              <a:gd name="connsiteY3" fmla="*/ 555896 h 917846"/>
              <a:gd name="connsiteX4" fmla="*/ 746216 w 2394041"/>
              <a:gd name="connsiteY4" fmla="*/ 574946 h 917846"/>
              <a:gd name="connsiteX5" fmla="*/ 931954 w 2394041"/>
              <a:gd name="connsiteY5" fmla="*/ 632096 h 917846"/>
              <a:gd name="connsiteX6" fmla="*/ 1089116 w 2394041"/>
              <a:gd name="connsiteY6" fmla="*/ 689246 h 917846"/>
              <a:gd name="connsiteX7" fmla="*/ 1260566 w 2394041"/>
              <a:gd name="connsiteY7" fmla="*/ 732109 h 917846"/>
              <a:gd name="connsiteX8" fmla="*/ 1355816 w 2394041"/>
              <a:gd name="connsiteY8" fmla="*/ 760684 h 917846"/>
              <a:gd name="connsiteX9" fmla="*/ 1598704 w 2394041"/>
              <a:gd name="connsiteY9" fmla="*/ 765446 h 917846"/>
              <a:gd name="connsiteX10" fmla="*/ 1808254 w 2394041"/>
              <a:gd name="connsiteY10" fmla="*/ 732109 h 917846"/>
              <a:gd name="connsiteX11" fmla="*/ 2017804 w 2394041"/>
              <a:gd name="connsiteY11" fmla="*/ 722584 h 917846"/>
              <a:gd name="connsiteX12" fmla="*/ 2122579 w 2394041"/>
              <a:gd name="connsiteY12" fmla="*/ 789259 h 917846"/>
              <a:gd name="connsiteX13" fmla="*/ 2194016 w 2394041"/>
              <a:gd name="connsiteY13" fmla="*/ 884509 h 917846"/>
              <a:gd name="connsiteX14" fmla="*/ 2394041 w 2394041"/>
              <a:gd name="connsiteY14" fmla="*/ 908321 h 917846"/>
              <a:gd name="connsiteX15" fmla="*/ 2308316 w 2394041"/>
              <a:gd name="connsiteY15" fmla="*/ 698771 h 917846"/>
              <a:gd name="connsiteX16" fmla="*/ 2189253 w 2394041"/>
              <a:gd name="connsiteY16" fmla="*/ 479696 h 917846"/>
              <a:gd name="connsiteX17" fmla="*/ 1993991 w 2394041"/>
              <a:gd name="connsiteY17" fmla="*/ 274909 h 917846"/>
              <a:gd name="connsiteX18" fmla="*/ 1689191 w 2394041"/>
              <a:gd name="connsiteY18" fmla="*/ 98696 h 917846"/>
              <a:gd name="connsiteX19" fmla="*/ 1351054 w 2394041"/>
              <a:gd name="connsiteY19" fmla="*/ 12971 h 917846"/>
              <a:gd name="connsiteX20" fmla="*/ 936716 w 2394041"/>
              <a:gd name="connsiteY20" fmla="*/ 8209 h 917846"/>
              <a:gd name="connsiteX21" fmla="*/ 636678 w 2394041"/>
              <a:gd name="connsiteY21" fmla="*/ 89171 h 917846"/>
              <a:gd name="connsiteX22" fmla="*/ 341404 w 2394041"/>
              <a:gd name="connsiteY22" fmla="*/ 284433 h 917846"/>
              <a:gd name="connsiteX23" fmla="*/ 127091 w 2394041"/>
              <a:gd name="connsiteY23" fmla="*/ 579709 h 917846"/>
              <a:gd name="connsiteX24" fmla="*/ 3267 w 2394041"/>
              <a:gd name="connsiteY24" fmla="*/ 917846 h 917846"/>
              <a:gd name="connsiteX25" fmla="*/ 255679 w 2394041"/>
              <a:gd name="connsiteY25" fmla="*/ 874984 h 917846"/>
              <a:gd name="connsiteX0" fmla="*/ 255679 w 2394041"/>
              <a:gd name="connsiteY0" fmla="*/ 874984 h 917846"/>
              <a:gd name="connsiteX1" fmla="*/ 317591 w 2394041"/>
              <a:gd name="connsiteY1" fmla="*/ 736871 h 917846"/>
              <a:gd name="connsiteX2" fmla="*/ 446179 w 2394041"/>
              <a:gd name="connsiteY2" fmla="*/ 603521 h 917846"/>
              <a:gd name="connsiteX3" fmla="*/ 570004 w 2394041"/>
              <a:gd name="connsiteY3" fmla="*/ 555896 h 917846"/>
              <a:gd name="connsiteX4" fmla="*/ 746216 w 2394041"/>
              <a:gd name="connsiteY4" fmla="*/ 574946 h 917846"/>
              <a:gd name="connsiteX5" fmla="*/ 931954 w 2394041"/>
              <a:gd name="connsiteY5" fmla="*/ 632096 h 917846"/>
              <a:gd name="connsiteX6" fmla="*/ 1089116 w 2394041"/>
              <a:gd name="connsiteY6" fmla="*/ 689246 h 917846"/>
              <a:gd name="connsiteX7" fmla="*/ 1260566 w 2394041"/>
              <a:gd name="connsiteY7" fmla="*/ 732109 h 917846"/>
              <a:gd name="connsiteX8" fmla="*/ 1355816 w 2394041"/>
              <a:gd name="connsiteY8" fmla="*/ 760684 h 917846"/>
              <a:gd name="connsiteX9" fmla="*/ 1598704 w 2394041"/>
              <a:gd name="connsiteY9" fmla="*/ 765446 h 917846"/>
              <a:gd name="connsiteX10" fmla="*/ 1808254 w 2394041"/>
              <a:gd name="connsiteY10" fmla="*/ 732109 h 917846"/>
              <a:gd name="connsiteX11" fmla="*/ 2017804 w 2394041"/>
              <a:gd name="connsiteY11" fmla="*/ 722584 h 917846"/>
              <a:gd name="connsiteX12" fmla="*/ 2122579 w 2394041"/>
              <a:gd name="connsiteY12" fmla="*/ 789259 h 917846"/>
              <a:gd name="connsiteX13" fmla="*/ 2194016 w 2394041"/>
              <a:gd name="connsiteY13" fmla="*/ 884509 h 917846"/>
              <a:gd name="connsiteX14" fmla="*/ 2394041 w 2394041"/>
              <a:gd name="connsiteY14" fmla="*/ 908321 h 917846"/>
              <a:gd name="connsiteX15" fmla="*/ 2308316 w 2394041"/>
              <a:gd name="connsiteY15" fmla="*/ 698771 h 917846"/>
              <a:gd name="connsiteX16" fmla="*/ 2189253 w 2394041"/>
              <a:gd name="connsiteY16" fmla="*/ 479696 h 917846"/>
              <a:gd name="connsiteX17" fmla="*/ 1993991 w 2394041"/>
              <a:gd name="connsiteY17" fmla="*/ 274909 h 917846"/>
              <a:gd name="connsiteX18" fmla="*/ 1689191 w 2394041"/>
              <a:gd name="connsiteY18" fmla="*/ 98696 h 917846"/>
              <a:gd name="connsiteX19" fmla="*/ 1351054 w 2394041"/>
              <a:gd name="connsiteY19" fmla="*/ 12971 h 917846"/>
              <a:gd name="connsiteX20" fmla="*/ 936716 w 2394041"/>
              <a:gd name="connsiteY20" fmla="*/ 8209 h 917846"/>
              <a:gd name="connsiteX21" fmla="*/ 636678 w 2394041"/>
              <a:gd name="connsiteY21" fmla="*/ 89171 h 917846"/>
              <a:gd name="connsiteX22" fmla="*/ 341404 w 2394041"/>
              <a:gd name="connsiteY22" fmla="*/ 284433 h 917846"/>
              <a:gd name="connsiteX23" fmla="*/ 127091 w 2394041"/>
              <a:gd name="connsiteY23" fmla="*/ 579709 h 917846"/>
              <a:gd name="connsiteX24" fmla="*/ 3267 w 2394041"/>
              <a:gd name="connsiteY24" fmla="*/ 917846 h 917846"/>
              <a:gd name="connsiteX25" fmla="*/ 255679 w 2394041"/>
              <a:gd name="connsiteY25" fmla="*/ 874984 h 917846"/>
              <a:gd name="connsiteX0" fmla="*/ 255679 w 2398804"/>
              <a:gd name="connsiteY0" fmla="*/ 874984 h 917846"/>
              <a:gd name="connsiteX1" fmla="*/ 317591 w 2398804"/>
              <a:gd name="connsiteY1" fmla="*/ 736871 h 917846"/>
              <a:gd name="connsiteX2" fmla="*/ 446179 w 2398804"/>
              <a:gd name="connsiteY2" fmla="*/ 603521 h 917846"/>
              <a:gd name="connsiteX3" fmla="*/ 570004 w 2398804"/>
              <a:gd name="connsiteY3" fmla="*/ 555896 h 917846"/>
              <a:gd name="connsiteX4" fmla="*/ 746216 w 2398804"/>
              <a:gd name="connsiteY4" fmla="*/ 574946 h 917846"/>
              <a:gd name="connsiteX5" fmla="*/ 931954 w 2398804"/>
              <a:gd name="connsiteY5" fmla="*/ 632096 h 917846"/>
              <a:gd name="connsiteX6" fmla="*/ 1089116 w 2398804"/>
              <a:gd name="connsiteY6" fmla="*/ 689246 h 917846"/>
              <a:gd name="connsiteX7" fmla="*/ 1260566 w 2398804"/>
              <a:gd name="connsiteY7" fmla="*/ 732109 h 917846"/>
              <a:gd name="connsiteX8" fmla="*/ 1355816 w 2398804"/>
              <a:gd name="connsiteY8" fmla="*/ 760684 h 917846"/>
              <a:gd name="connsiteX9" fmla="*/ 1598704 w 2398804"/>
              <a:gd name="connsiteY9" fmla="*/ 765446 h 917846"/>
              <a:gd name="connsiteX10" fmla="*/ 1808254 w 2398804"/>
              <a:gd name="connsiteY10" fmla="*/ 732109 h 917846"/>
              <a:gd name="connsiteX11" fmla="*/ 2017804 w 2398804"/>
              <a:gd name="connsiteY11" fmla="*/ 722584 h 917846"/>
              <a:gd name="connsiteX12" fmla="*/ 2122579 w 2398804"/>
              <a:gd name="connsiteY12" fmla="*/ 789259 h 917846"/>
              <a:gd name="connsiteX13" fmla="*/ 2194016 w 2398804"/>
              <a:gd name="connsiteY13" fmla="*/ 884509 h 917846"/>
              <a:gd name="connsiteX14" fmla="*/ 2398804 w 2398804"/>
              <a:gd name="connsiteY14" fmla="*/ 913084 h 917846"/>
              <a:gd name="connsiteX15" fmla="*/ 2308316 w 2398804"/>
              <a:gd name="connsiteY15" fmla="*/ 698771 h 917846"/>
              <a:gd name="connsiteX16" fmla="*/ 2189253 w 2398804"/>
              <a:gd name="connsiteY16" fmla="*/ 479696 h 917846"/>
              <a:gd name="connsiteX17" fmla="*/ 1993991 w 2398804"/>
              <a:gd name="connsiteY17" fmla="*/ 274909 h 917846"/>
              <a:gd name="connsiteX18" fmla="*/ 1689191 w 2398804"/>
              <a:gd name="connsiteY18" fmla="*/ 98696 h 917846"/>
              <a:gd name="connsiteX19" fmla="*/ 1351054 w 2398804"/>
              <a:gd name="connsiteY19" fmla="*/ 12971 h 917846"/>
              <a:gd name="connsiteX20" fmla="*/ 936716 w 2398804"/>
              <a:gd name="connsiteY20" fmla="*/ 8209 h 917846"/>
              <a:gd name="connsiteX21" fmla="*/ 636678 w 2398804"/>
              <a:gd name="connsiteY21" fmla="*/ 89171 h 917846"/>
              <a:gd name="connsiteX22" fmla="*/ 341404 w 2398804"/>
              <a:gd name="connsiteY22" fmla="*/ 284433 h 917846"/>
              <a:gd name="connsiteX23" fmla="*/ 127091 w 2398804"/>
              <a:gd name="connsiteY23" fmla="*/ 579709 h 917846"/>
              <a:gd name="connsiteX24" fmla="*/ 3267 w 2398804"/>
              <a:gd name="connsiteY24" fmla="*/ 917846 h 917846"/>
              <a:gd name="connsiteX25" fmla="*/ 255679 w 2398804"/>
              <a:gd name="connsiteY25" fmla="*/ 874984 h 917846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60566 w 2398804"/>
              <a:gd name="connsiteY7" fmla="*/ 732109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55679 w 2398804"/>
              <a:gd name="connsiteY0" fmla="*/ 874984 h 924618"/>
              <a:gd name="connsiteX1" fmla="*/ 317591 w 2398804"/>
              <a:gd name="connsiteY1" fmla="*/ 736871 h 924618"/>
              <a:gd name="connsiteX2" fmla="*/ 446179 w 2398804"/>
              <a:gd name="connsiteY2" fmla="*/ 603521 h 924618"/>
              <a:gd name="connsiteX3" fmla="*/ 570004 w 2398804"/>
              <a:gd name="connsiteY3" fmla="*/ 555896 h 924618"/>
              <a:gd name="connsiteX4" fmla="*/ 746216 w 2398804"/>
              <a:gd name="connsiteY4" fmla="*/ 574946 h 924618"/>
              <a:gd name="connsiteX5" fmla="*/ 931954 w 2398804"/>
              <a:gd name="connsiteY5" fmla="*/ 632096 h 924618"/>
              <a:gd name="connsiteX6" fmla="*/ 1089116 w 2398804"/>
              <a:gd name="connsiteY6" fmla="*/ 689246 h 924618"/>
              <a:gd name="connsiteX7" fmla="*/ 1231991 w 2398804"/>
              <a:gd name="connsiteY7" fmla="*/ 746397 h 924618"/>
              <a:gd name="connsiteX8" fmla="*/ 1355816 w 2398804"/>
              <a:gd name="connsiteY8" fmla="*/ 760684 h 924618"/>
              <a:gd name="connsiteX9" fmla="*/ 1598704 w 2398804"/>
              <a:gd name="connsiteY9" fmla="*/ 765446 h 924618"/>
              <a:gd name="connsiteX10" fmla="*/ 1808254 w 2398804"/>
              <a:gd name="connsiteY10" fmla="*/ 732109 h 924618"/>
              <a:gd name="connsiteX11" fmla="*/ 2017804 w 2398804"/>
              <a:gd name="connsiteY11" fmla="*/ 722584 h 924618"/>
              <a:gd name="connsiteX12" fmla="*/ 2122579 w 2398804"/>
              <a:gd name="connsiteY12" fmla="*/ 789259 h 924618"/>
              <a:gd name="connsiteX13" fmla="*/ 2194016 w 2398804"/>
              <a:gd name="connsiteY13" fmla="*/ 884509 h 924618"/>
              <a:gd name="connsiteX14" fmla="*/ 2398804 w 2398804"/>
              <a:gd name="connsiteY14" fmla="*/ 913084 h 924618"/>
              <a:gd name="connsiteX15" fmla="*/ 2308316 w 2398804"/>
              <a:gd name="connsiteY15" fmla="*/ 698771 h 924618"/>
              <a:gd name="connsiteX16" fmla="*/ 2189253 w 2398804"/>
              <a:gd name="connsiteY16" fmla="*/ 479696 h 924618"/>
              <a:gd name="connsiteX17" fmla="*/ 1993991 w 2398804"/>
              <a:gd name="connsiteY17" fmla="*/ 274909 h 924618"/>
              <a:gd name="connsiteX18" fmla="*/ 1689191 w 2398804"/>
              <a:gd name="connsiteY18" fmla="*/ 98696 h 924618"/>
              <a:gd name="connsiteX19" fmla="*/ 1351054 w 2398804"/>
              <a:gd name="connsiteY19" fmla="*/ 12971 h 924618"/>
              <a:gd name="connsiteX20" fmla="*/ 936716 w 2398804"/>
              <a:gd name="connsiteY20" fmla="*/ 8209 h 924618"/>
              <a:gd name="connsiteX21" fmla="*/ 636678 w 2398804"/>
              <a:gd name="connsiteY21" fmla="*/ 89171 h 924618"/>
              <a:gd name="connsiteX22" fmla="*/ 341404 w 2398804"/>
              <a:gd name="connsiteY22" fmla="*/ 284433 h 924618"/>
              <a:gd name="connsiteX23" fmla="*/ 127091 w 2398804"/>
              <a:gd name="connsiteY23" fmla="*/ 579709 h 924618"/>
              <a:gd name="connsiteX24" fmla="*/ 3267 w 2398804"/>
              <a:gd name="connsiteY24" fmla="*/ 917846 h 924618"/>
              <a:gd name="connsiteX25" fmla="*/ 255679 w 2398804"/>
              <a:gd name="connsiteY25" fmla="*/ 874984 h 924618"/>
              <a:gd name="connsiteX0" fmla="*/ 297721 w 2440846"/>
              <a:gd name="connsiteY0" fmla="*/ 874984 h 1067865"/>
              <a:gd name="connsiteX1" fmla="*/ 359633 w 2440846"/>
              <a:gd name="connsiteY1" fmla="*/ 736871 h 1067865"/>
              <a:gd name="connsiteX2" fmla="*/ 488221 w 2440846"/>
              <a:gd name="connsiteY2" fmla="*/ 603521 h 1067865"/>
              <a:gd name="connsiteX3" fmla="*/ 612046 w 2440846"/>
              <a:gd name="connsiteY3" fmla="*/ 555896 h 1067865"/>
              <a:gd name="connsiteX4" fmla="*/ 788258 w 2440846"/>
              <a:gd name="connsiteY4" fmla="*/ 574946 h 1067865"/>
              <a:gd name="connsiteX5" fmla="*/ 973996 w 2440846"/>
              <a:gd name="connsiteY5" fmla="*/ 632096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97721 w 2440846"/>
              <a:gd name="connsiteY25" fmla="*/ 874984 h 1067865"/>
              <a:gd name="connsiteX0" fmla="*/ 283433 w 2440846"/>
              <a:gd name="connsiteY0" fmla="*/ 934515 h 1067865"/>
              <a:gd name="connsiteX1" fmla="*/ 359633 w 2440846"/>
              <a:gd name="connsiteY1" fmla="*/ 736871 h 1067865"/>
              <a:gd name="connsiteX2" fmla="*/ 488221 w 2440846"/>
              <a:gd name="connsiteY2" fmla="*/ 603521 h 1067865"/>
              <a:gd name="connsiteX3" fmla="*/ 612046 w 2440846"/>
              <a:gd name="connsiteY3" fmla="*/ 555896 h 1067865"/>
              <a:gd name="connsiteX4" fmla="*/ 788258 w 2440846"/>
              <a:gd name="connsiteY4" fmla="*/ 574946 h 1067865"/>
              <a:gd name="connsiteX5" fmla="*/ 973996 w 2440846"/>
              <a:gd name="connsiteY5" fmla="*/ 632096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83433 w 2440846"/>
              <a:gd name="connsiteY0" fmla="*/ 934515 h 1067865"/>
              <a:gd name="connsiteX1" fmla="*/ 376302 w 2440846"/>
              <a:gd name="connsiteY1" fmla="*/ 755921 h 1067865"/>
              <a:gd name="connsiteX2" fmla="*/ 488221 w 2440846"/>
              <a:gd name="connsiteY2" fmla="*/ 603521 h 1067865"/>
              <a:gd name="connsiteX3" fmla="*/ 612046 w 2440846"/>
              <a:gd name="connsiteY3" fmla="*/ 555896 h 1067865"/>
              <a:gd name="connsiteX4" fmla="*/ 788258 w 2440846"/>
              <a:gd name="connsiteY4" fmla="*/ 574946 h 1067865"/>
              <a:gd name="connsiteX5" fmla="*/ 973996 w 2440846"/>
              <a:gd name="connsiteY5" fmla="*/ 632096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83433 w 2440846"/>
              <a:gd name="connsiteY0" fmla="*/ 934515 h 1067865"/>
              <a:gd name="connsiteX1" fmla="*/ 376302 w 2440846"/>
              <a:gd name="connsiteY1" fmla="*/ 755921 h 1067865"/>
              <a:gd name="connsiteX2" fmla="*/ 514415 w 2440846"/>
              <a:gd name="connsiteY2" fmla="*/ 670196 h 1067865"/>
              <a:gd name="connsiteX3" fmla="*/ 612046 w 2440846"/>
              <a:gd name="connsiteY3" fmla="*/ 555896 h 1067865"/>
              <a:gd name="connsiteX4" fmla="*/ 788258 w 2440846"/>
              <a:gd name="connsiteY4" fmla="*/ 574946 h 1067865"/>
              <a:gd name="connsiteX5" fmla="*/ 973996 w 2440846"/>
              <a:gd name="connsiteY5" fmla="*/ 632096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83433 w 2440846"/>
              <a:gd name="connsiteY0" fmla="*/ 934515 h 1067865"/>
              <a:gd name="connsiteX1" fmla="*/ 376302 w 2440846"/>
              <a:gd name="connsiteY1" fmla="*/ 755921 h 1067865"/>
              <a:gd name="connsiteX2" fmla="*/ 514415 w 2440846"/>
              <a:gd name="connsiteY2" fmla="*/ 670196 h 1067865"/>
              <a:gd name="connsiteX3" fmla="*/ 666815 w 2440846"/>
              <a:gd name="connsiteY3" fmla="*/ 644002 h 1067865"/>
              <a:gd name="connsiteX4" fmla="*/ 788258 w 2440846"/>
              <a:gd name="connsiteY4" fmla="*/ 574946 h 1067865"/>
              <a:gd name="connsiteX5" fmla="*/ 973996 w 2440846"/>
              <a:gd name="connsiteY5" fmla="*/ 632096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83433 w 2440846"/>
              <a:gd name="connsiteY0" fmla="*/ 934515 h 1067865"/>
              <a:gd name="connsiteX1" fmla="*/ 376302 w 2440846"/>
              <a:gd name="connsiteY1" fmla="*/ 755921 h 1067865"/>
              <a:gd name="connsiteX2" fmla="*/ 514415 w 2440846"/>
              <a:gd name="connsiteY2" fmla="*/ 670196 h 1067865"/>
              <a:gd name="connsiteX3" fmla="*/ 666815 w 2440846"/>
              <a:gd name="connsiteY3" fmla="*/ 644002 h 1067865"/>
              <a:gd name="connsiteX4" fmla="*/ 814452 w 2440846"/>
              <a:gd name="connsiteY4" fmla="*/ 613046 h 1067865"/>
              <a:gd name="connsiteX5" fmla="*/ 973996 w 2440846"/>
              <a:gd name="connsiteY5" fmla="*/ 632096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83433 w 2440846"/>
              <a:gd name="connsiteY0" fmla="*/ 934515 h 1067865"/>
              <a:gd name="connsiteX1" fmla="*/ 376302 w 2440846"/>
              <a:gd name="connsiteY1" fmla="*/ 755921 h 1067865"/>
              <a:gd name="connsiteX2" fmla="*/ 514415 w 2440846"/>
              <a:gd name="connsiteY2" fmla="*/ 670196 h 1067865"/>
              <a:gd name="connsiteX3" fmla="*/ 666815 w 2440846"/>
              <a:gd name="connsiteY3" fmla="*/ 644002 h 1067865"/>
              <a:gd name="connsiteX4" fmla="*/ 814452 w 2440846"/>
              <a:gd name="connsiteY4" fmla="*/ 613046 h 1067865"/>
              <a:gd name="connsiteX5" fmla="*/ 990665 w 2440846"/>
              <a:gd name="connsiteY5" fmla="*/ 665433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83433 w 2440846"/>
              <a:gd name="connsiteY0" fmla="*/ 934515 h 1067865"/>
              <a:gd name="connsiteX1" fmla="*/ 376302 w 2440846"/>
              <a:gd name="connsiteY1" fmla="*/ 755921 h 1067865"/>
              <a:gd name="connsiteX2" fmla="*/ 514415 w 2440846"/>
              <a:gd name="connsiteY2" fmla="*/ 670196 h 1067865"/>
              <a:gd name="connsiteX3" fmla="*/ 666815 w 2440846"/>
              <a:gd name="connsiteY3" fmla="*/ 644002 h 1067865"/>
              <a:gd name="connsiteX4" fmla="*/ 812070 w 2440846"/>
              <a:gd name="connsiteY4" fmla="*/ 634477 h 1067865"/>
              <a:gd name="connsiteX5" fmla="*/ 990665 w 2440846"/>
              <a:gd name="connsiteY5" fmla="*/ 665433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83433 w 2440846"/>
              <a:gd name="connsiteY0" fmla="*/ 934515 h 1067865"/>
              <a:gd name="connsiteX1" fmla="*/ 376302 w 2440846"/>
              <a:gd name="connsiteY1" fmla="*/ 755921 h 1067865"/>
              <a:gd name="connsiteX2" fmla="*/ 514415 w 2440846"/>
              <a:gd name="connsiteY2" fmla="*/ 670196 h 1067865"/>
              <a:gd name="connsiteX3" fmla="*/ 659671 w 2440846"/>
              <a:gd name="connsiteY3" fmla="*/ 634477 h 1067865"/>
              <a:gd name="connsiteX4" fmla="*/ 812070 w 2440846"/>
              <a:gd name="connsiteY4" fmla="*/ 634477 h 1067865"/>
              <a:gd name="connsiteX5" fmla="*/ 990665 w 2440846"/>
              <a:gd name="connsiteY5" fmla="*/ 665433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83433 w 2440846"/>
              <a:gd name="connsiteY0" fmla="*/ 934515 h 1067865"/>
              <a:gd name="connsiteX1" fmla="*/ 390590 w 2440846"/>
              <a:gd name="connsiteY1" fmla="*/ 760683 h 1067865"/>
              <a:gd name="connsiteX2" fmla="*/ 514415 w 2440846"/>
              <a:gd name="connsiteY2" fmla="*/ 670196 h 1067865"/>
              <a:gd name="connsiteX3" fmla="*/ 659671 w 2440846"/>
              <a:gd name="connsiteY3" fmla="*/ 634477 h 1067865"/>
              <a:gd name="connsiteX4" fmla="*/ 812070 w 2440846"/>
              <a:gd name="connsiteY4" fmla="*/ 634477 h 1067865"/>
              <a:gd name="connsiteX5" fmla="*/ 990665 w 2440846"/>
              <a:gd name="connsiteY5" fmla="*/ 665433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83433 w 2440846"/>
              <a:gd name="connsiteY25" fmla="*/ 934515 h 1067865"/>
              <a:gd name="connsiteX0" fmla="*/ 254858 w 2440846"/>
              <a:gd name="connsiteY0" fmla="*/ 946421 h 1067865"/>
              <a:gd name="connsiteX1" fmla="*/ 390590 w 2440846"/>
              <a:gd name="connsiteY1" fmla="*/ 760683 h 1067865"/>
              <a:gd name="connsiteX2" fmla="*/ 514415 w 2440846"/>
              <a:gd name="connsiteY2" fmla="*/ 670196 h 1067865"/>
              <a:gd name="connsiteX3" fmla="*/ 659671 w 2440846"/>
              <a:gd name="connsiteY3" fmla="*/ 634477 h 1067865"/>
              <a:gd name="connsiteX4" fmla="*/ 812070 w 2440846"/>
              <a:gd name="connsiteY4" fmla="*/ 634477 h 1067865"/>
              <a:gd name="connsiteX5" fmla="*/ 990665 w 2440846"/>
              <a:gd name="connsiteY5" fmla="*/ 665433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440846 w 2440846"/>
              <a:gd name="connsiteY14" fmla="*/ 913084 h 1067865"/>
              <a:gd name="connsiteX15" fmla="*/ 2350358 w 2440846"/>
              <a:gd name="connsiteY15" fmla="*/ 698771 h 1067865"/>
              <a:gd name="connsiteX16" fmla="*/ 2231295 w 2440846"/>
              <a:gd name="connsiteY16" fmla="*/ 479696 h 1067865"/>
              <a:gd name="connsiteX17" fmla="*/ 2036033 w 2440846"/>
              <a:gd name="connsiteY17" fmla="*/ 274909 h 1067865"/>
              <a:gd name="connsiteX18" fmla="*/ 1731233 w 2440846"/>
              <a:gd name="connsiteY18" fmla="*/ 98696 h 1067865"/>
              <a:gd name="connsiteX19" fmla="*/ 1393096 w 2440846"/>
              <a:gd name="connsiteY19" fmla="*/ 12971 h 1067865"/>
              <a:gd name="connsiteX20" fmla="*/ 978758 w 2440846"/>
              <a:gd name="connsiteY20" fmla="*/ 8209 h 1067865"/>
              <a:gd name="connsiteX21" fmla="*/ 678720 w 2440846"/>
              <a:gd name="connsiteY21" fmla="*/ 89171 h 1067865"/>
              <a:gd name="connsiteX22" fmla="*/ 383446 w 2440846"/>
              <a:gd name="connsiteY22" fmla="*/ 284433 h 1067865"/>
              <a:gd name="connsiteX23" fmla="*/ 169133 w 2440846"/>
              <a:gd name="connsiteY23" fmla="*/ 579709 h 1067865"/>
              <a:gd name="connsiteX24" fmla="*/ 2447 w 2440846"/>
              <a:gd name="connsiteY24" fmla="*/ 1067865 h 1067865"/>
              <a:gd name="connsiteX25" fmla="*/ 254858 w 2440846"/>
              <a:gd name="connsiteY25" fmla="*/ 946421 h 1067865"/>
              <a:gd name="connsiteX0" fmla="*/ 254858 w 2440846"/>
              <a:gd name="connsiteY0" fmla="*/ 946421 h 1067865"/>
              <a:gd name="connsiteX1" fmla="*/ 390590 w 2440846"/>
              <a:gd name="connsiteY1" fmla="*/ 760683 h 1067865"/>
              <a:gd name="connsiteX2" fmla="*/ 514415 w 2440846"/>
              <a:gd name="connsiteY2" fmla="*/ 670196 h 1067865"/>
              <a:gd name="connsiteX3" fmla="*/ 659671 w 2440846"/>
              <a:gd name="connsiteY3" fmla="*/ 634477 h 1067865"/>
              <a:gd name="connsiteX4" fmla="*/ 812070 w 2440846"/>
              <a:gd name="connsiteY4" fmla="*/ 634477 h 1067865"/>
              <a:gd name="connsiteX5" fmla="*/ 990665 w 2440846"/>
              <a:gd name="connsiteY5" fmla="*/ 665433 h 1067865"/>
              <a:gd name="connsiteX6" fmla="*/ 1131158 w 2440846"/>
              <a:gd name="connsiteY6" fmla="*/ 689246 h 1067865"/>
              <a:gd name="connsiteX7" fmla="*/ 1274033 w 2440846"/>
              <a:gd name="connsiteY7" fmla="*/ 746397 h 1067865"/>
              <a:gd name="connsiteX8" fmla="*/ 1397858 w 2440846"/>
              <a:gd name="connsiteY8" fmla="*/ 760684 h 1067865"/>
              <a:gd name="connsiteX9" fmla="*/ 1640746 w 2440846"/>
              <a:gd name="connsiteY9" fmla="*/ 765446 h 1067865"/>
              <a:gd name="connsiteX10" fmla="*/ 1850296 w 2440846"/>
              <a:gd name="connsiteY10" fmla="*/ 732109 h 1067865"/>
              <a:gd name="connsiteX11" fmla="*/ 2059846 w 2440846"/>
              <a:gd name="connsiteY11" fmla="*/ 722584 h 1067865"/>
              <a:gd name="connsiteX12" fmla="*/ 2164621 w 2440846"/>
              <a:gd name="connsiteY12" fmla="*/ 789259 h 1067865"/>
              <a:gd name="connsiteX13" fmla="*/ 2236058 w 2440846"/>
              <a:gd name="connsiteY13" fmla="*/ 884509 h 1067865"/>
              <a:gd name="connsiteX14" fmla="*/ 2288132 w 2440846"/>
              <a:gd name="connsiteY14" fmla="*/ 936271 h 1067865"/>
              <a:gd name="connsiteX15" fmla="*/ 2440846 w 2440846"/>
              <a:gd name="connsiteY15" fmla="*/ 913084 h 1067865"/>
              <a:gd name="connsiteX16" fmla="*/ 2350358 w 2440846"/>
              <a:gd name="connsiteY16" fmla="*/ 698771 h 1067865"/>
              <a:gd name="connsiteX17" fmla="*/ 2231295 w 2440846"/>
              <a:gd name="connsiteY17" fmla="*/ 479696 h 1067865"/>
              <a:gd name="connsiteX18" fmla="*/ 2036033 w 2440846"/>
              <a:gd name="connsiteY18" fmla="*/ 274909 h 1067865"/>
              <a:gd name="connsiteX19" fmla="*/ 1731233 w 2440846"/>
              <a:gd name="connsiteY19" fmla="*/ 98696 h 1067865"/>
              <a:gd name="connsiteX20" fmla="*/ 1393096 w 2440846"/>
              <a:gd name="connsiteY20" fmla="*/ 12971 h 1067865"/>
              <a:gd name="connsiteX21" fmla="*/ 978758 w 2440846"/>
              <a:gd name="connsiteY21" fmla="*/ 8209 h 1067865"/>
              <a:gd name="connsiteX22" fmla="*/ 678720 w 2440846"/>
              <a:gd name="connsiteY22" fmla="*/ 89171 h 1067865"/>
              <a:gd name="connsiteX23" fmla="*/ 383446 w 2440846"/>
              <a:gd name="connsiteY23" fmla="*/ 284433 h 1067865"/>
              <a:gd name="connsiteX24" fmla="*/ 169133 w 2440846"/>
              <a:gd name="connsiteY24" fmla="*/ 579709 h 1067865"/>
              <a:gd name="connsiteX25" fmla="*/ 2447 w 2440846"/>
              <a:gd name="connsiteY25" fmla="*/ 1067865 h 1067865"/>
              <a:gd name="connsiteX26" fmla="*/ 254858 w 2440846"/>
              <a:gd name="connsiteY26" fmla="*/ 946421 h 1067865"/>
              <a:gd name="connsiteX0" fmla="*/ 254858 w 2476564"/>
              <a:gd name="connsiteY0" fmla="*/ 946421 h 1123706"/>
              <a:gd name="connsiteX1" fmla="*/ 390590 w 2476564"/>
              <a:gd name="connsiteY1" fmla="*/ 760683 h 1123706"/>
              <a:gd name="connsiteX2" fmla="*/ 514415 w 2476564"/>
              <a:gd name="connsiteY2" fmla="*/ 670196 h 1123706"/>
              <a:gd name="connsiteX3" fmla="*/ 659671 w 2476564"/>
              <a:gd name="connsiteY3" fmla="*/ 634477 h 1123706"/>
              <a:gd name="connsiteX4" fmla="*/ 812070 w 2476564"/>
              <a:gd name="connsiteY4" fmla="*/ 634477 h 1123706"/>
              <a:gd name="connsiteX5" fmla="*/ 990665 w 2476564"/>
              <a:gd name="connsiteY5" fmla="*/ 665433 h 1123706"/>
              <a:gd name="connsiteX6" fmla="*/ 1131158 w 2476564"/>
              <a:gd name="connsiteY6" fmla="*/ 689246 h 1123706"/>
              <a:gd name="connsiteX7" fmla="*/ 1274033 w 2476564"/>
              <a:gd name="connsiteY7" fmla="*/ 746397 h 1123706"/>
              <a:gd name="connsiteX8" fmla="*/ 1397858 w 2476564"/>
              <a:gd name="connsiteY8" fmla="*/ 760684 h 1123706"/>
              <a:gd name="connsiteX9" fmla="*/ 1640746 w 2476564"/>
              <a:gd name="connsiteY9" fmla="*/ 765446 h 1123706"/>
              <a:gd name="connsiteX10" fmla="*/ 1850296 w 2476564"/>
              <a:gd name="connsiteY10" fmla="*/ 732109 h 1123706"/>
              <a:gd name="connsiteX11" fmla="*/ 2059846 w 2476564"/>
              <a:gd name="connsiteY11" fmla="*/ 722584 h 1123706"/>
              <a:gd name="connsiteX12" fmla="*/ 2164621 w 2476564"/>
              <a:gd name="connsiteY12" fmla="*/ 789259 h 1123706"/>
              <a:gd name="connsiteX13" fmla="*/ 2236058 w 2476564"/>
              <a:gd name="connsiteY13" fmla="*/ 884509 h 1123706"/>
              <a:gd name="connsiteX14" fmla="*/ 2288132 w 2476564"/>
              <a:gd name="connsiteY14" fmla="*/ 936271 h 1123706"/>
              <a:gd name="connsiteX15" fmla="*/ 2476564 w 2476564"/>
              <a:gd name="connsiteY15" fmla="*/ 1120253 h 1123706"/>
              <a:gd name="connsiteX16" fmla="*/ 2350358 w 2476564"/>
              <a:gd name="connsiteY16" fmla="*/ 698771 h 1123706"/>
              <a:gd name="connsiteX17" fmla="*/ 2231295 w 2476564"/>
              <a:gd name="connsiteY17" fmla="*/ 479696 h 1123706"/>
              <a:gd name="connsiteX18" fmla="*/ 2036033 w 2476564"/>
              <a:gd name="connsiteY18" fmla="*/ 274909 h 1123706"/>
              <a:gd name="connsiteX19" fmla="*/ 1731233 w 2476564"/>
              <a:gd name="connsiteY19" fmla="*/ 98696 h 1123706"/>
              <a:gd name="connsiteX20" fmla="*/ 1393096 w 2476564"/>
              <a:gd name="connsiteY20" fmla="*/ 12971 h 1123706"/>
              <a:gd name="connsiteX21" fmla="*/ 978758 w 2476564"/>
              <a:gd name="connsiteY21" fmla="*/ 8209 h 1123706"/>
              <a:gd name="connsiteX22" fmla="*/ 678720 w 2476564"/>
              <a:gd name="connsiteY22" fmla="*/ 89171 h 1123706"/>
              <a:gd name="connsiteX23" fmla="*/ 383446 w 2476564"/>
              <a:gd name="connsiteY23" fmla="*/ 284433 h 1123706"/>
              <a:gd name="connsiteX24" fmla="*/ 169133 w 2476564"/>
              <a:gd name="connsiteY24" fmla="*/ 579709 h 1123706"/>
              <a:gd name="connsiteX25" fmla="*/ 2447 w 2476564"/>
              <a:gd name="connsiteY25" fmla="*/ 1067865 h 1123706"/>
              <a:gd name="connsiteX26" fmla="*/ 254858 w 2476564"/>
              <a:gd name="connsiteY26" fmla="*/ 946421 h 1123706"/>
              <a:gd name="connsiteX0" fmla="*/ 254858 w 2476564"/>
              <a:gd name="connsiteY0" fmla="*/ 946421 h 1123706"/>
              <a:gd name="connsiteX1" fmla="*/ 390590 w 2476564"/>
              <a:gd name="connsiteY1" fmla="*/ 760683 h 1123706"/>
              <a:gd name="connsiteX2" fmla="*/ 514415 w 2476564"/>
              <a:gd name="connsiteY2" fmla="*/ 670196 h 1123706"/>
              <a:gd name="connsiteX3" fmla="*/ 659671 w 2476564"/>
              <a:gd name="connsiteY3" fmla="*/ 634477 h 1123706"/>
              <a:gd name="connsiteX4" fmla="*/ 812070 w 2476564"/>
              <a:gd name="connsiteY4" fmla="*/ 634477 h 1123706"/>
              <a:gd name="connsiteX5" fmla="*/ 990665 w 2476564"/>
              <a:gd name="connsiteY5" fmla="*/ 665433 h 1123706"/>
              <a:gd name="connsiteX6" fmla="*/ 1131158 w 2476564"/>
              <a:gd name="connsiteY6" fmla="*/ 689246 h 1123706"/>
              <a:gd name="connsiteX7" fmla="*/ 1274033 w 2476564"/>
              <a:gd name="connsiteY7" fmla="*/ 746397 h 1123706"/>
              <a:gd name="connsiteX8" fmla="*/ 1397858 w 2476564"/>
              <a:gd name="connsiteY8" fmla="*/ 760684 h 1123706"/>
              <a:gd name="connsiteX9" fmla="*/ 1640746 w 2476564"/>
              <a:gd name="connsiteY9" fmla="*/ 765446 h 1123706"/>
              <a:gd name="connsiteX10" fmla="*/ 1850296 w 2476564"/>
              <a:gd name="connsiteY10" fmla="*/ 732109 h 1123706"/>
              <a:gd name="connsiteX11" fmla="*/ 2059846 w 2476564"/>
              <a:gd name="connsiteY11" fmla="*/ 722584 h 1123706"/>
              <a:gd name="connsiteX12" fmla="*/ 2164621 w 2476564"/>
              <a:gd name="connsiteY12" fmla="*/ 789259 h 1123706"/>
              <a:gd name="connsiteX13" fmla="*/ 2236058 w 2476564"/>
              <a:gd name="connsiteY13" fmla="*/ 884509 h 1123706"/>
              <a:gd name="connsiteX14" fmla="*/ 2288132 w 2476564"/>
              <a:gd name="connsiteY14" fmla="*/ 936271 h 1123706"/>
              <a:gd name="connsiteX15" fmla="*/ 2476564 w 2476564"/>
              <a:gd name="connsiteY15" fmla="*/ 1120253 h 1123706"/>
              <a:gd name="connsiteX16" fmla="*/ 2350358 w 2476564"/>
              <a:gd name="connsiteY16" fmla="*/ 698771 h 1123706"/>
              <a:gd name="connsiteX17" fmla="*/ 2231295 w 2476564"/>
              <a:gd name="connsiteY17" fmla="*/ 479696 h 1123706"/>
              <a:gd name="connsiteX18" fmla="*/ 2036033 w 2476564"/>
              <a:gd name="connsiteY18" fmla="*/ 274909 h 1123706"/>
              <a:gd name="connsiteX19" fmla="*/ 1731233 w 2476564"/>
              <a:gd name="connsiteY19" fmla="*/ 98696 h 1123706"/>
              <a:gd name="connsiteX20" fmla="*/ 1393096 w 2476564"/>
              <a:gd name="connsiteY20" fmla="*/ 12971 h 1123706"/>
              <a:gd name="connsiteX21" fmla="*/ 978758 w 2476564"/>
              <a:gd name="connsiteY21" fmla="*/ 8209 h 1123706"/>
              <a:gd name="connsiteX22" fmla="*/ 678720 w 2476564"/>
              <a:gd name="connsiteY22" fmla="*/ 89171 h 1123706"/>
              <a:gd name="connsiteX23" fmla="*/ 383446 w 2476564"/>
              <a:gd name="connsiteY23" fmla="*/ 284433 h 1123706"/>
              <a:gd name="connsiteX24" fmla="*/ 169133 w 2476564"/>
              <a:gd name="connsiteY24" fmla="*/ 579709 h 1123706"/>
              <a:gd name="connsiteX25" fmla="*/ 2447 w 2476564"/>
              <a:gd name="connsiteY25" fmla="*/ 1067865 h 1123706"/>
              <a:gd name="connsiteX26" fmla="*/ 254858 w 2476564"/>
              <a:gd name="connsiteY26" fmla="*/ 946421 h 1123706"/>
              <a:gd name="connsiteX0" fmla="*/ 254858 w 2476564"/>
              <a:gd name="connsiteY0" fmla="*/ 946421 h 1123706"/>
              <a:gd name="connsiteX1" fmla="*/ 390590 w 2476564"/>
              <a:gd name="connsiteY1" fmla="*/ 760683 h 1123706"/>
              <a:gd name="connsiteX2" fmla="*/ 514415 w 2476564"/>
              <a:gd name="connsiteY2" fmla="*/ 670196 h 1123706"/>
              <a:gd name="connsiteX3" fmla="*/ 659671 w 2476564"/>
              <a:gd name="connsiteY3" fmla="*/ 634477 h 1123706"/>
              <a:gd name="connsiteX4" fmla="*/ 812070 w 2476564"/>
              <a:gd name="connsiteY4" fmla="*/ 634477 h 1123706"/>
              <a:gd name="connsiteX5" fmla="*/ 990665 w 2476564"/>
              <a:gd name="connsiteY5" fmla="*/ 665433 h 1123706"/>
              <a:gd name="connsiteX6" fmla="*/ 1131158 w 2476564"/>
              <a:gd name="connsiteY6" fmla="*/ 689246 h 1123706"/>
              <a:gd name="connsiteX7" fmla="*/ 1274033 w 2476564"/>
              <a:gd name="connsiteY7" fmla="*/ 746397 h 1123706"/>
              <a:gd name="connsiteX8" fmla="*/ 1397858 w 2476564"/>
              <a:gd name="connsiteY8" fmla="*/ 760684 h 1123706"/>
              <a:gd name="connsiteX9" fmla="*/ 1640746 w 2476564"/>
              <a:gd name="connsiteY9" fmla="*/ 765446 h 1123706"/>
              <a:gd name="connsiteX10" fmla="*/ 1850296 w 2476564"/>
              <a:gd name="connsiteY10" fmla="*/ 732109 h 1123706"/>
              <a:gd name="connsiteX11" fmla="*/ 2059846 w 2476564"/>
              <a:gd name="connsiteY11" fmla="*/ 722584 h 1123706"/>
              <a:gd name="connsiteX12" fmla="*/ 2164621 w 2476564"/>
              <a:gd name="connsiteY12" fmla="*/ 789259 h 1123706"/>
              <a:gd name="connsiteX13" fmla="*/ 2236058 w 2476564"/>
              <a:gd name="connsiteY13" fmla="*/ 884509 h 1123706"/>
              <a:gd name="connsiteX14" fmla="*/ 2288132 w 2476564"/>
              <a:gd name="connsiteY14" fmla="*/ 936271 h 1123706"/>
              <a:gd name="connsiteX15" fmla="*/ 2476564 w 2476564"/>
              <a:gd name="connsiteY15" fmla="*/ 1120253 h 1123706"/>
              <a:gd name="connsiteX16" fmla="*/ 2350358 w 2476564"/>
              <a:gd name="connsiteY16" fmla="*/ 698771 h 1123706"/>
              <a:gd name="connsiteX17" fmla="*/ 2231295 w 2476564"/>
              <a:gd name="connsiteY17" fmla="*/ 479696 h 1123706"/>
              <a:gd name="connsiteX18" fmla="*/ 2036033 w 2476564"/>
              <a:gd name="connsiteY18" fmla="*/ 274909 h 1123706"/>
              <a:gd name="connsiteX19" fmla="*/ 1731233 w 2476564"/>
              <a:gd name="connsiteY19" fmla="*/ 98696 h 1123706"/>
              <a:gd name="connsiteX20" fmla="*/ 1393096 w 2476564"/>
              <a:gd name="connsiteY20" fmla="*/ 12971 h 1123706"/>
              <a:gd name="connsiteX21" fmla="*/ 978758 w 2476564"/>
              <a:gd name="connsiteY21" fmla="*/ 8209 h 1123706"/>
              <a:gd name="connsiteX22" fmla="*/ 678720 w 2476564"/>
              <a:gd name="connsiteY22" fmla="*/ 89171 h 1123706"/>
              <a:gd name="connsiteX23" fmla="*/ 383446 w 2476564"/>
              <a:gd name="connsiteY23" fmla="*/ 284433 h 1123706"/>
              <a:gd name="connsiteX24" fmla="*/ 169133 w 2476564"/>
              <a:gd name="connsiteY24" fmla="*/ 579709 h 1123706"/>
              <a:gd name="connsiteX25" fmla="*/ 2447 w 2476564"/>
              <a:gd name="connsiteY25" fmla="*/ 1067865 h 1123706"/>
              <a:gd name="connsiteX26" fmla="*/ 254858 w 2476564"/>
              <a:gd name="connsiteY26" fmla="*/ 946421 h 1123706"/>
              <a:gd name="connsiteX0" fmla="*/ 254858 w 2476564"/>
              <a:gd name="connsiteY0" fmla="*/ 946421 h 1123890"/>
              <a:gd name="connsiteX1" fmla="*/ 390590 w 2476564"/>
              <a:gd name="connsiteY1" fmla="*/ 760683 h 1123890"/>
              <a:gd name="connsiteX2" fmla="*/ 514415 w 2476564"/>
              <a:gd name="connsiteY2" fmla="*/ 670196 h 1123890"/>
              <a:gd name="connsiteX3" fmla="*/ 659671 w 2476564"/>
              <a:gd name="connsiteY3" fmla="*/ 634477 h 1123890"/>
              <a:gd name="connsiteX4" fmla="*/ 812070 w 2476564"/>
              <a:gd name="connsiteY4" fmla="*/ 634477 h 1123890"/>
              <a:gd name="connsiteX5" fmla="*/ 990665 w 2476564"/>
              <a:gd name="connsiteY5" fmla="*/ 665433 h 1123890"/>
              <a:gd name="connsiteX6" fmla="*/ 1131158 w 2476564"/>
              <a:gd name="connsiteY6" fmla="*/ 689246 h 1123890"/>
              <a:gd name="connsiteX7" fmla="*/ 1274033 w 2476564"/>
              <a:gd name="connsiteY7" fmla="*/ 746397 h 1123890"/>
              <a:gd name="connsiteX8" fmla="*/ 1397858 w 2476564"/>
              <a:gd name="connsiteY8" fmla="*/ 760684 h 1123890"/>
              <a:gd name="connsiteX9" fmla="*/ 1640746 w 2476564"/>
              <a:gd name="connsiteY9" fmla="*/ 765446 h 1123890"/>
              <a:gd name="connsiteX10" fmla="*/ 1850296 w 2476564"/>
              <a:gd name="connsiteY10" fmla="*/ 732109 h 1123890"/>
              <a:gd name="connsiteX11" fmla="*/ 2059846 w 2476564"/>
              <a:gd name="connsiteY11" fmla="*/ 722584 h 1123890"/>
              <a:gd name="connsiteX12" fmla="*/ 2164621 w 2476564"/>
              <a:gd name="connsiteY12" fmla="*/ 789259 h 1123890"/>
              <a:gd name="connsiteX13" fmla="*/ 2236058 w 2476564"/>
              <a:gd name="connsiteY13" fmla="*/ 884509 h 1123890"/>
              <a:gd name="connsiteX14" fmla="*/ 2316707 w 2476564"/>
              <a:gd name="connsiteY14" fmla="*/ 948177 h 1123890"/>
              <a:gd name="connsiteX15" fmla="*/ 2476564 w 2476564"/>
              <a:gd name="connsiteY15" fmla="*/ 1120253 h 1123890"/>
              <a:gd name="connsiteX16" fmla="*/ 2350358 w 2476564"/>
              <a:gd name="connsiteY16" fmla="*/ 698771 h 1123890"/>
              <a:gd name="connsiteX17" fmla="*/ 2231295 w 2476564"/>
              <a:gd name="connsiteY17" fmla="*/ 479696 h 1123890"/>
              <a:gd name="connsiteX18" fmla="*/ 2036033 w 2476564"/>
              <a:gd name="connsiteY18" fmla="*/ 274909 h 1123890"/>
              <a:gd name="connsiteX19" fmla="*/ 1731233 w 2476564"/>
              <a:gd name="connsiteY19" fmla="*/ 98696 h 1123890"/>
              <a:gd name="connsiteX20" fmla="*/ 1393096 w 2476564"/>
              <a:gd name="connsiteY20" fmla="*/ 12971 h 1123890"/>
              <a:gd name="connsiteX21" fmla="*/ 978758 w 2476564"/>
              <a:gd name="connsiteY21" fmla="*/ 8209 h 1123890"/>
              <a:gd name="connsiteX22" fmla="*/ 678720 w 2476564"/>
              <a:gd name="connsiteY22" fmla="*/ 89171 h 1123890"/>
              <a:gd name="connsiteX23" fmla="*/ 383446 w 2476564"/>
              <a:gd name="connsiteY23" fmla="*/ 284433 h 1123890"/>
              <a:gd name="connsiteX24" fmla="*/ 169133 w 2476564"/>
              <a:gd name="connsiteY24" fmla="*/ 579709 h 1123890"/>
              <a:gd name="connsiteX25" fmla="*/ 2447 w 2476564"/>
              <a:gd name="connsiteY25" fmla="*/ 1067865 h 1123890"/>
              <a:gd name="connsiteX26" fmla="*/ 254858 w 2476564"/>
              <a:gd name="connsiteY26" fmla="*/ 946421 h 1123890"/>
              <a:gd name="connsiteX0" fmla="*/ 254858 w 2476564"/>
              <a:gd name="connsiteY0" fmla="*/ 946421 h 1123890"/>
              <a:gd name="connsiteX1" fmla="*/ 390590 w 2476564"/>
              <a:gd name="connsiteY1" fmla="*/ 760683 h 1123890"/>
              <a:gd name="connsiteX2" fmla="*/ 514415 w 2476564"/>
              <a:gd name="connsiteY2" fmla="*/ 670196 h 1123890"/>
              <a:gd name="connsiteX3" fmla="*/ 659671 w 2476564"/>
              <a:gd name="connsiteY3" fmla="*/ 634477 h 1123890"/>
              <a:gd name="connsiteX4" fmla="*/ 812070 w 2476564"/>
              <a:gd name="connsiteY4" fmla="*/ 634477 h 1123890"/>
              <a:gd name="connsiteX5" fmla="*/ 990665 w 2476564"/>
              <a:gd name="connsiteY5" fmla="*/ 665433 h 1123890"/>
              <a:gd name="connsiteX6" fmla="*/ 1131158 w 2476564"/>
              <a:gd name="connsiteY6" fmla="*/ 689246 h 1123890"/>
              <a:gd name="connsiteX7" fmla="*/ 1274033 w 2476564"/>
              <a:gd name="connsiteY7" fmla="*/ 746397 h 1123890"/>
              <a:gd name="connsiteX8" fmla="*/ 1397858 w 2476564"/>
              <a:gd name="connsiteY8" fmla="*/ 760684 h 1123890"/>
              <a:gd name="connsiteX9" fmla="*/ 1640746 w 2476564"/>
              <a:gd name="connsiteY9" fmla="*/ 765446 h 1123890"/>
              <a:gd name="connsiteX10" fmla="*/ 1850296 w 2476564"/>
              <a:gd name="connsiteY10" fmla="*/ 732109 h 1123890"/>
              <a:gd name="connsiteX11" fmla="*/ 2059846 w 2476564"/>
              <a:gd name="connsiteY11" fmla="*/ 722584 h 1123890"/>
              <a:gd name="connsiteX12" fmla="*/ 2164621 w 2476564"/>
              <a:gd name="connsiteY12" fmla="*/ 789259 h 1123890"/>
              <a:gd name="connsiteX13" fmla="*/ 2262252 w 2476564"/>
              <a:gd name="connsiteY13" fmla="*/ 870222 h 1123890"/>
              <a:gd name="connsiteX14" fmla="*/ 2316707 w 2476564"/>
              <a:gd name="connsiteY14" fmla="*/ 948177 h 1123890"/>
              <a:gd name="connsiteX15" fmla="*/ 2476564 w 2476564"/>
              <a:gd name="connsiteY15" fmla="*/ 1120253 h 1123890"/>
              <a:gd name="connsiteX16" fmla="*/ 2350358 w 2476564"/>
              <a:gd name="connsiteY16" fmla="*/ 698771 h 1123890"/>
              <a:gd name="connsiteX17" fmla="*/ 2231295 w 2476564"/>
              <a:gd name="connsiteY17" fmla="*/ 479696 h 1123890"/>
              <a:gd name="connsiteX18" fmla="*/ 2036033 w 2476564"/>
              <a:gd name="connsiteY18" fmla="*/ 274909 h 1123890"/>
              <a:gd name="connsiteX19" fmla="*/ 1731233 w 2476564"/>
              <a:gd name="connsiteY19" fmla="*/ 98696 h 1123890"/>
              <a:gd name="connsiteX20" fmla="*/ 1393096 w 2476564"/>
              <a:gd name="connsiteY20" fmla="*/ 12971 h 1123890"/>
              <a:gd name="connsiteX21" fmla="*/ 978758 w 2476564"/>
              <a:gd name="connsiteY21" fmla="*/ 8209 h 1123890"/>
              <a:gd name="connsiteX22" fmla="*/ 678720 w 2476564"/>
              <a:gd name="connsiteY22" fmla="*/ 89171 h 1123890"/>
              <a:gd name="connsiteX23" fmla="*/ 383446 w 2476564"/>
              <a:gd name="connsiteY23" fmla="*/ 284433 h 1123890"/>
              <a:gd name="connsiteX24" fmla="*/ 169133 w 2476564"/>
              <a:gd name="connsiteY24" fmla="*/ 579709 h 1123890"/>
              <a:gd name="connsiteX25" fmla="*/ 2447 w 2476564"/>
              <a:gd name="connsiteY25" fmla="*/ 1067865 h 1123890"/>
              <a:gd name="connsiteX26" fmla="*/ 254858 w 2476564"/>
              <a:gd name="connsiteY26" fmla="*/ 946421 h 1123890"/>
              <a:gd name="connsiteX0" fmla="*/ 254858 w 2476564"/>
              <a:gd name="connsiteY0" fmla="*/ 946421 h 1123890"/>
              <a:gd name="connsiteX1" fmla="*/ 390590 w 2476564"/>
              <a:gd name="connsiteY1" fmla="*/ 760683 h 1123890"/>
              <a:gd name="connsiteX2" fmla="*/ 514415 w 2476564"/>
              <a:gd name="connsiteY2" fmla="*/ 670196 h 1123890"/>
              <a:gd name="connsiteX3" fmla="*/ 659671 w 2476564"/>
              <a:gd name="connsiteY3" fmla="*/ 634477 h 1123890"/>
              <a:gd name="connsiteX4" fmla="*/ 812070 w 2476564"/>
              <a:gd name="connsiteY4" fmla="*/ 634477 h 1123890"/>
              <a:gd name="connsiteX5" fmla="*/ 990665 w 2476564"/>
              <a:gd name="connsiteY5" fmla="*/ 665433 h 1123890"/>
              <a:gd name="connsiteX6" fmla="*/ 1131158 w 2476564"/>
              <a:gd name="connsiteY6" fmla="*/ 689246 h 1123890"/>
              <a:gd name="connsiteX7" fmla="*/ 1274033 w 2476564"/>
              <a:gd name="connsiteY7" fmla="*/ 746397 h 1123890"/>
              <a:gd name="connsiteX8" fmla="*/ 1397858 w 2476564"/>
              <a:gd name="connsiteY8" fmla="*/ 760684 h 1123890"/>
              <a:gd name="connsiteX9" fmla="*/ 1640746 w 2476564"/>
              <a:gd name="connsiteY9" fmla="*/ 765446 h 1123890"/>
              <a:gd name="connsiteX10" fmla="*/ 1850296 w 2476564"/>
              <a:gd name="connsiteY10" fmla="*/ 732109 h 1123890"/>
              <a:gd name="connsiteX11" fmla="*/ 2059846 w 2476564"/>
              <a:gd name="connsiteY11" fmla="*/ 722584 h 1123890"/>
              <a:gd name="connsiteX12" fmla="*/ 2181290 w 2476564"/>
              <a:gd name="connsiteY12" fmla="*/ 774971 h 1123890"/>
              <a:gd name="connsiteX13" fmla="*/ 2262252 w 2476564"/>
              <a:gd name="connsiteY13" fmla="*/ 870222 h 1123890"/>
              <a:gd name="connsiteX14" fmla="*/ 2316707 w 2476564"/>
              <a:gd name="connsiteY14" fmla="*/ 948177 h 1123890"/>
              <a:gd name="connsiteX15" fmla="*/ 2476564 w 2476564"/>
              <a:gd name="connsiteY15" fmla="*/ 1120253 h 1123890"/>
              <a:gd name="connsiteX16" fmla="*/ 2350358 w 2476564"/>
              <a:gd name="connsiteY16" fmla="*/ 698771 h 1123890"/>
              <a:gd name="connsiteX17" fmla="*/ 2231295 w 2476564"/>
              <a:gd name="connsiteY17" fmla="*/ 479696 h 1123890"/>
              <a:gd name="connsiteX18" fmla="*/ 2036033 w 2476564"/>
              <a:gd name="connsiteY18" fmla="*/ 274909 h 1123890"/>
              <a:gd name="connsiteX19" fmla="*/ 1731233 w 2476564"/>
              <a:gd name="connsiteY19" fmla="*/ 98696 h 1123890"/>
              <a:gd name="connsiteX20" fmla="*/ 1393096 w 2476564"/>
              <a:gd name="connsiteY20" fmla="*/ 12971 h 1123890"/>
              <a:gd name="connsiteX21" fmla="*/ 978758 w 2476564"/>
              <a:gd name="connsiteY21" fmla="*/ 8209 h 1123890"/>
              <a:gd name="connsiteX22" fmla="*/ 678720 w 2476564"/>
              <a:gd name="connsiteY22" fmla="*/ 89171 h 1123890"/>
              <a:gd name="connsiteX23" fmla="*/ 383446 w 2476564"/>
              <a:gd name="connsiteY23" fmla="*/ 284433 h 1123890"/>
              <a:gd name="connsiteX24" fmla="*/ 169133 w 2476564"/>
              <a:gd name="connsiteY24" fmla="*/ 579709 h 1123890"/>
              <a:gd name="connsiteX25" fmla="*/ 2447 w 2476564"/>
              <a:gd name="connsiteY25" fmla="*/ 1067865 h 1123890"/>
              <a:gd name="connsiteX26" fmla="*/ 254858 w 2476564"/>
              <a:gd name="connsiteY26" fmla="*/ 946421 h 1123890"/>
              <a:gd name="connsiteX0" fmla="*/ 254858 w 2476564"/>
              <a:gd name="connsiteY0" fmla="*/ 946421 h 1123890"/>
              <a:gd name="connsiteX1" fmla="*/ 390590 w 2476564"/>
              <a:gd name="connsiteY1" fmla="*/ 760683 h 1123890"/>
              <a:gd name="connsiteX2" fmla="*/ 514415 w 2476564"/>
              <a:gd name="connsiteY2" fmla="*/ 670196 h 1123890"/>
              <a:gd name="connsiteX3" fmla="*/ 659671 w 2476564"/>
              <a:gd name="connsiteY3" fmla="*/ 634477 h 1123890"/>
              <a:gd name="connsiteX4" fmla="*/ 812070 w 2476564"/>
              <a:gd name="connsiteY4" fmla="*/ 634477 h 1123890"/>
              <a:gd name="connsiteX5" fmla="*/ 990665 w 2476564"/>
              <a:gd name="connsiteY5" fmla="*/ 665433 h 1123890"/>
              <a:gd name="connsiteX6" fmla="*/ 1131158 w 2476564"/>
              <a:gd name="connsiteY6" fmla="*/ 689246 h 1123890"/>
              <a:gd name="connsiteX7" fmla="*/ 1274033 w 2476564"/>
              <a:gd name="connsiteY7" fmla="*/ 746397 h 1123890"/>
              <a:gd name="connsiteX8" fmla="*/ 1397858 w 2476564"/>
              <a:gd name="connsiteY8" fmla="*/ 760684 h 1123890"/>
              <a:gd name="connsiteX9" fmla="*/ 1640746 w 2476564"/>
              <a:gd name="connsiteY9" fmla="*/ 765446 h 1123890"/>
              <a:gd name="connsiteX10" fmla="*/ 1850296 w 2476564"/>
              <a:gd name="connsiteY10" fmla="*/ 732109 h 1123890"/>
              <a:gd name="connsiteX11" fmla="*/ 2059846 w 2476564"/>
              <a:gd name="connsiteY11" fmla="*/ 722584 h 1123890"/>
              <a:gd name="connsiteX12" fmla="*/ 2181290 w 2476564"/>
              <a:gd name="connsiteY12" fmla="*/ 774971 h 1123890"/>
              <a:gd name="connsiteX13" fmla="*/ 2252727 w 2476564"/>
              <a:gd name="connsiteY13" fmla="*/ 877366 h 1123890"/>
              <a:gd name="connsiteX14" fmla="*/ 2316707 w 2476564"/>
              <a:gd name="connsiteY14" fmla="*/ 948177 h 1123890"/>
              <a:gd name="connsiteX15" fmla="*/ 2476564 w 2476564"/>
              <a:gd name="connsiteY15" fmla="*/ 1120253 h 1123890"/>
              <a:gd name="connsiteX16" fmla="*/ 2350358 w 2476564"/>
              <a:gd name="connsiteY16" fmla="*/ 698771 h 1123890"/>
              <a:gd name="connsiteX17" fmla="*/ 2231295 w 2476564"/>
              <a:gd name="connsiteY17" fmla="*/ 479696 h 1123890"/>
              <a:gd name="connsiteX18" fmla="*/ 2036033 w 2476564"/>
              <a:gd name="connsiteY18" fmla="*/ 274909 h 1123890"/>
              <a:gd name="connsiteX19" fmla="*/ 1731233 w 2476564"/>
              <a:gd name="connsiteY19" fmla="*/ 98696 h 1123890"/>
              <a:gd name="connsiteX20" fmla="*/ 1393096 w 2476564"/>
              <a:gd name="connsiteY20" fmla="*/ 12971 h 1123890"/>
              <a:gd name="connsiteX21" fmla="*/ 978758 w 2476564"/>
              <a:gd name="connsiteY21" fmla="*/ 8209 h 1123890"/>
              <a:gd name="connsiteX22" fmla="*/ 678720 w 2476564"/>
              <a:gd name="connsiteY22" fmla="*/ 89171 h 1123890"/>
              <a:gd name="connsiteX23" fmla="*/ 383446 w 2476564"/>
              <a:gd name="connsiteY23" fmla="*/ 284433 h 1123890"/>
              <a:gd name="connsiteX24" fmla="*/ 169133 w 2476564"/>
              <a:gd name="connsiteY24" fmla="*/ 579709 h 1123890"/>
              <a:gd name="connsiteX25" fmla="*/ 2447 w 2476564"/>
              <a:gd name="connsiteY25" fmla="*/ 1067865 h 1123890"/>
              <a:gd name="connsiteX26" fmla="*/ 254858 w 2476564"/>
              <a:gd name="connsiteY26" fmla="*/ 946421 h 1123890"/>
              <a:gd name="connsiteX0" fmla="*/ 254858 w 2476564"/>
              <a:gd name="connsiteY0" fmla="*/ 946421 h 1124278"/>
              <a:gd name="connsiteX1" fmla="*/ 390590 w 2476564"/>
              <a:gd name="connsiteY1" fmla="*/ 760683 h 1124278"/>
              <a:gd name="connsiteX2" fmla="*/ 514415 w 2476564"/>
              <a:gd name="connsiteY2" fmla="*/ 670196 h 1124278"/>
              <a:gd name="connsiteX3" fmla="*/ 659671 w 2476564"/>
              <a:gd name="connsiteY3" fmla="*/ 634477 h 1124278"/>
              <a:gd name="connsiteX4" fmla="*/ 812070 w 2476564"/>
              <a:gd name="connsiteY4" fmla="*/ 634477 h 1124278"/>
              <a:gd name="connsiteX5" fmla="*/ 990665 w 2476564"/>
              <a:gd name="connsiteY5" fmla="*/ 665433 h 1124278"/>
              <a:gd name="connsiteX6" fmla="*/ 1131158 w 2476564"/>
              <a:gd name="connsiteY6" fmla="*/ 689246 h 1124278"/>
              <a:gd name="connsiteX7" fmla="*/ 1274033 w 2476564"/>
              <a:gd name="connsiteY7" fmla="*/ 746397 h 1124278"/>
              <a:gd name="connsiteX8" fmla="*/ 1397858 w 2476564"/>
              <a:gd name="connsiteY8" fmla="*/ 760684 h 1124278"/>
              <a:gd name="connsiteX9" fmla="*/ 1640746 w 2476564"/>
              <a:gd name="connsiteY9" fmla="*/ 765446 h 1124278"/>
              <a:gd name="connsiteX10" fmla="*/ 1850296 w 2476564"/>
              <a:gd name="connsiteY10" fmla="*/ 732109 h 1124278"/>
              <a:gd name="connsiteX11" fmla="*/ 2059846 w 2476564"/>
              <a:gd name="connsiteY11" fmla="*/ 722584 h 1124278"/>
              <a:gd name="connsiteX12" fmla="*/ 2181290 w 2476564"/>
              <a:gd name="connsiteY12" fmla="*/ 774971 h 1124278"/>
              <a:gd name="connsiteX13" fmla="*/ 2252727 w 2476564"/>
              <a:gd name="connsiteY13" fmla="*/ 877366 h 1124278"/>
              <a:gd name="connsiteX14" fmla="*/ 2328613 w 2476564"/>
              <a:gd name="connsiteY14" fmla="*/ 969609 h 1124278"/>
              <a:gd name="connsiteX15" fmla="*/ 2476564 w 2476564"/>
              <a:gd name="connsiteY15" fmla="*/ 1120253 h 1124278"/>
              <a:gd name="connsiteX16" fmla="*/ 2350358 w 2476564"/>
              <a:gd name="connsiteY16" fmla="*/ 698771 h 1124278"/>
              <a:gd name="connsiteX17" fmla="*/ 2231295 w 2476564"/>
              <a:gd name="connsiteY17" fmla="*/ 479696 h 1124278"/>
              <a:gd name="connsiteX18" fmla="*/ 2036033 w 2476564"/>
              <a:gd name="connsiteY18" fmla="*/ 274909 h 1124278"/>
              <a:gd name="connsiteX19" fmla="*/ 1731233 w 2476564"/>
              <a:gd name="connsiteY19" fmla="*/ 98696 h 1124278"/>
              <a:gd name="connsiteX20" fmla="*/ 1393096 w 2476564"/>
              <a:gd name="connsiteY20" fmla="*/ 12971 h 1124278"/>
              <a:gd name="connsiteX21" fmla="*/ 978758 w 2476564"/>
              <a:gd name="connsiteY21" fmla="*/ 8209 h 1124278"/>
              <a:gd name="connsiteX22" fmla="*/ 678720 w 2476564"/>
              <a:gd name="connsiteY22" fmla="*/ 89171 h 1124278"/>
              <a:gd name="connsiteX23" fmla="*/ 383446 w 2476564"/>
              <a:gd name="connsiteY23" fmla="*/ 284433 h 1124278"/>
              <a:gd name="connsiteX24" fmla="*/ 169133 w 2476564"/>
              <a:gd name="connsiteY24" fmla="*/ 579709 h 1124278"/>
              <a:gd name="connsiteX25" fmla="*/ 2447 w 2476564"/>
              <a:gd name="connsiteY25" fmla="*/ 1067865 h 1124278"/>
              <a:gd name="connsiteX26" fmla="*/ 254858 w 2476564"/>
              <a:gd name="connsiteY26" fmla="*/ 946421 h 1124278"/>
              <a:gd name="connsiteX0" fmla="*/ 254858 w 2476564"/>
              <a:gd name="connsiteY0" fmla="*/ 946421 h 1124278"/>
              <a:gd name="connsiteX1" fmla="*/ 390590 w 2476564"/>
              <a:gd name="connsiteY1" fmla="*/ 760683 h 1124278"/>
              <a:gd name="connsiteX2" fmla="*/ 514415 w 2476564"/>
              <a:gd name="connsiteY2" fmla="*/ 670196 h 1124278"/>
              <a:gd name="connsiteX3" fmla="*/ 659671 w 2476564"/>
              <a:gd name="connsiteY3" fmla="*/ 634477 h 1124278"/>
              <a:gd name="connsiteX4" fmla="*/ 812070 w 2476564"/>
              <a:gd name="connsiteY4" fmla="*/ 634477 h 1124278"/>
              <a:gd name="connsiteX5" fmla="*/ 990665 w 2476564"/>
              <a:gd name="connsiteY5" fmla="*/ 665433 h 1124278"/>
              <a:gd name="connsiteX6" fmla="*/ 1131158 w 2476564"/>
              <a:gd name="connsiteY6" fmla="*/ 689246 h 1124278"/>
              <a:gd name="connsiteX7" fmla="*/ 1274033 w 2476564"/>
              <a:gd name="connsiteY7" fmla="*/ 746397 h 1124278"/>
              <a:gd name="connsiteX8" fmla="*/ 1397858 w 2476564"/>
              <a:gd name="connsiteY8" fmla="*/ 760684 h 1124278"/>
              <a:gd name="connsiteX9" fmla="*/ 1640746 w 2476564"/>
              <a:gd name="connsiteY9" fmla="*/ 765446 h 1124278"/>
              <a:gd name="connsiteX10" fmla="*/ 1850296 w 2476564"/>
              <a:gd name="connsiteY10" fmla="*/ 732109 h 1124278"/>
              <a:gd name="connsiteX11" fmla="*/ 2059846 w 2476564"/>
              <a:gd name="connsiteY11" fmla="*/ 722584 h 1124278"/>
              <a:gd name="connsiteX12" fmla="*/ 2188434 w 2476564"/>
              <a:gd name="connsiteY12" fmla="*/ 796402 h 1124278"/>
              <a:gd name="connsiteX13" fmla="*/ 2252727 w 2476564"/>
              <a:gd name="connsiteY13" fmla="*/ 877366 h 1124278"/>
              <a:gd name="connsiteX14" fmla="*/ 2328613 w 2476564"/>
              <a:gd name="connsiteY14" fmla="*/ 969609 h 1124278"/>
              <a:gd name="connsiteX15" fmla="*/ 2476564 w 2476564"/>
              <a:gd name="connsiteY15" fmla="*/ 1120253 h 1124278"/>
              <a:gd name="connsiteX16" fmla="*/ 2350358 w 2476564"/>
              <a:gd name="connsiteY16" fmla="*/ 698771 h 1124278"/>
              <a:gd name="connsiteX17" fmla="*/ 2231295 w 2476564"/>
              <a:gd name="connsiteY17" fmla="*/ 479696 h 1124278"/>
              <a:gd name="connsiteX18" fmla="*/ 2036033 w 2476564"/>
              <a:gd name="connsiteY18" fmla="*/ 274909 h 1124278"/>
              <a:gd name="connsiteX19" fmla="*/ 1731233 w 2476564"/>
              <a:gd name="connsiteY19" fmla="*/ 98696 h 1124278"/>
              <a:gd name="connsiteX20" fmla="*/ 1393096 w 2476564"/>
              <a:gd name="connsiteY20" fmla="*/ 12971 h 1124278"/>
              <a:gd name="connsiteX21" fmla="*/ 978758 w 2476564"/>
              <a:gd name="connsiteY21" fmla="*/ 8209 h 1124278"/>
              <a:gd name="connsiteX22" fmla="*/ 678720 w 2476564"/>
              <a:gd name="connsiteY22" fmla="*/ 89171 h 1124278"/>
              <a:gd name="connsiteX23" fmla="*/ 383446 w 2476564"/>
              <a:gd name="connsiteY23" fmla="*/ 284433 h 1124278"/>
              <a:gd name="connsiteX24" fmla="*/ 169133 w 2476564"/>
              <a:gd name="connsiteY24" fmla="*/ 579709 h 1124278"/>
              <a:gd name="connsiteX25" fmla="*/ 2447 w 2476564"/>
              <a:gd name="connsiteY25" fmla="*/ 1067865 h 1124278"/>
              <a:gd name="connsiteX26" fmla="*/ 254858 w 2476564"/>
              <a:gd name="connsiteY26" fmla="*/ 946421 h 1124278"/>
              <a:gd name="connsiteX0" fmla="*/ 254858 w 2476564"/>
              <a:gd name="connsiteY0" fmla="*/ 946421 h 1124278"/>
              <a:gd name="connsiteX1" fmla="*/ 390590 w 2476564"/>
              <a:gd name="connsiteY1" fmla="*/ 760683 h 1124278"/>
              <a:gd name="connsiteX2" fmla="*/ 514415 w 2476564"/>
              <a:gd name="connsiteY2" fmla="*/ 670196 h 1124278"/>
              <a:gd name="connsiteX3" fmla="*/ 659671 w 2476564"/>
              <a:gd name="connsiteY3" fmla="*/ 634477 h 1124278"/>
              <a:gd name="connsiteX4" fmla="*/ 812070 w 2476564"/>
              <a:gd name="connsiteY4" fmla="*/ 634477 h 1124278"/>
              <a:gd name="connsiteX5" fmla="*/ 990665 w 2476564"/>
              <a:gd name="connsiteY5" fmla="*/ 665433 h 1124278"/>
              <a:gd name="connsiteX6" fmla="*/ 1131158 w 2476564"/>
              <a:gd name="connsiteY6" fmla="*/ 689246 h 1124278"/>
              <a:gd name="connsiteX7" fmla="*/ 1274033 w 2476564"/>
              <a:gd name="connsiteY7" fmla="*/ 746397 h 1124278"/>
              <a:gd name="connsiteX8" fmla="*/ 1397858 w 2476564"/>
              <a:gd name="connsiteY8" fmla="*/ 760684 h 1124278"/>
              <a:gd name="connsiteX9" fmla="*/ 1640746 w 2476564"/>
              <a:gd name="connsiteY9" fmla="*/ 765446 h 1124278"/>
              <a:gd name="connsiteX10" fmla="*/ 1850296 w 2476564"/>
              <a:gd name="connsiteY10" fmla="*/ 732109 h 1124278"/>
              <a:gd name="connsiteX11" fmla="*/ 2064608 w 2476564"/>
              <a:gd name="connsiteY11" fmla="*/ 744015 h 1124278"/>
              <a:gd name="connsiteX12" fmla="*/ 2188434 w 2476564"/>
              <a:gd name="connsiteY12" fmla="*/ 796402 h 1124278"/>
              <a:gd name="connsiteX13" fmla="*/ 2252727 w 2476564"/>
              <a:gd name="connsiteY13" fmla="*/ 877366 h 1124278"/>
              <a:gd name="connsiteX14" fmla="*/ 2328613 w 2476564"/>
              <a:gd name="connsiteY14" fmla="*/ 969609 h 1124278"/>
              <a:gd name="connsiteX15" fmla="*/ 2476564 w 2476564"/>
              <a:gd name="connsiteY15" fmla="*/ 1120253 h 1124278"/>
              <a:gd name="connsiteX16" fmla="*/ 2350358 w 2476564"/>
              <a:gd name="connsiteY16" fmla="*/ 698771 h 1124278"/>
              <a:gd name="connsiteX17" fmla="*/ 2231295 w 2476564"/>
              <a:gd name="connsiteY17" fmla="*/ 479696 h 1124278"/>
              <a:gd name="connsiteX18" fmla="*/ 2036033 w 2476564"/>
              <a:gd name="connsiteY18" fmla="*/ 274909 h 1124278"/>
              <a:gd name="connsiteX19" fmla="*/ 1731233 w 2476564"/>
              <a:gd name="connsiteY19" fmla="*/ 98696 h 1124278"/>
              <a:gd name="connsiteX20" fmla="*/ 1393096 w 2476564"/>
              <a:gd name="connsiteY20" fmla="*/ 12971 h 1124278"/>
              <a:gd name="connsiteX21" fmla="*/ 978758 w 2476564"/>
              <a:gd name="connsiteY21" fmla="*/ 8209 h 1124278"/>
              <a:gd name="connsiteX22" fmla="*/ 678720 w 2476564"/>
              <a:gd name="connsiteY22" fmla="*/ 89171 h 1124278"/>
              <a:gd name="connsiteX23" fmla="*/ 383446 w 2476564"/>
              <a:gd name="connsiteY23" fmla="*/ 284433 h 1124278"/>
              <a:gd name="connsiteX24" fmla="*/ 169133 w 2476564"/>
              <a:gd name="connsiteY24" fmla="*/ 579709 h 1124278"/>
              <a:gd name="connsiteX25" fmla="*/ 2447 w 2476564"/>
              <a:gd name="connsiteY25" fmla="*/ 1067865 h 1124278"/>
              <a:gd name="connsiteX26" fmla="*/ 254858 w 2476564"/>
              <a:gd name="connsiteY26" fmla="*/ 946421 h 1124278"/>
              <a:gd name="connsiteX0" fmla="*/ 254858 w 2476564"/>
              <a:gd name="connsiteY0" fmla="*/ 946421 h 1124278"/>
              <a:gd name="connsiteX1" fmla="*/ 390590 w 2476564"/>
              <a:gd name="connsiteY1" fmla="*/ 760683 h 1124278"/>
              <a:gd name="connsiteX2" fmla="*/ 514415 w 2476564"/>
              <a:gd name="connsiteY2" fmla="*/ 670196 h 1124278"/>
              <a:gd name="connsiteX3" fmla="*/ 659671 w 2476564"/>
              <a:gd name="connsiteY3" fmla="*/ 634477 h 1124278"/>
              <a:gd name="connsiteX4" fmla="*/ 812070 w 2476564"/>
              <a:gd name="connsiteY4" fmla="*/ 634477 h 1124278"/>
              <a:gd name="connsiteX5" fmla="*/ 990665 w 2476564"/>
              <a:gd name="connsiteY5" fmla="*/ 665433 h 1124278"/>
              <a:gd name="connsiteX6" fmla="*/ 1131158 w 2476564"/>
              <a:gd name="connsiteY6" fmla="*/ 689246 h 1124278"/>
              <a:gd name="connsiteX7" fmla="*/ 1274033 w 2476564"/>
              <a:gd name="connsiteY7" fmla="*/ 746397 h 1124278"/>
              <a:gd name="connsiteX8" fmla="*/ 1397858 w 2476564"/>
              <a:gd name="connsiteY8" fmla="*/ 760684 h 1124278"/>
              <a:gd name="connsiteX9" fmla="*/ 1640746 w 2476564"/>
              <a:gd name="connsiteY9" fmla="*/ 765446 h 1124278"/>
              <a:gd name="connsiteX10" fmla="*/ 1859821 w 2476564"/>
              <a:gd name="connsiteY10" fmla="*/ 717821 h 1124278"/>
              <a:gd name="connsiteX11" fmla="*/ 2064608 w 2476564"/>
              <a:gd name="connsiteY11" fmla="*/ 744015 h 1124278"/>
              <a:gd name="connsiteX12" fmla="*/ 2188434 w 2476564"/>
              <a:gd name="connsiteY12" fmla="*/ 796402 h 1124278"/>
              <a:gd name="connsiteX13" fmla="*/ 2252727 w 2476564"/>
              <a:gd name="connsiteY13" fmla="*/ 877366 h 1124278"/>
              <a:gd name="connsiteX14" fmla="*/ 2328613 w 2476564"/>
              <a:gd name="connsiteY14" fmla="*/ 969609 h 1124278"/>
              <a:gd name="connsiteX15" fmla="*/ 2476564 w 2476564"/>
              <a:gd name="connsiteY15" fmla="*/ 1120253 h 1124278"/>
              <a:gd name="connsiteX16" fmla="*/ 2350358 w 2476564"/>
              <a:gd name="connsiteY16" fmla="*/ 698771 h 1124278"/>
              <a:gd name="connsiteX17" fmla="*/ 2231295 w 2476564"/>
              <a:gd name="connsiteY17" fmla="*/ 479696 h 1124278"/>
              <a:gd name="connsiteX18" fmla="*/ 2036033 w 2476564"/>
              <a:gd name="connsiteY18" fmla="*/ 274909 h 1124278"/>
              <a:gd name="connsiteX19" fmla="*/ 1731233 w 2476564"/>
              <a:gd name="connsiteY19" fmla="*/ 98696 h 1124278"/>
              <a:gd name="connsiteX20" fmla="*/ 1393096 w 2476564"/>
              <a:gd name="connsiteY20" fmla="*/ 12971 h 1124278"/>
              <a:gd name="connsiteX21" fmla="*/ 978758 w 2476564"/>
              <a:gd name="connsiteY21" fmla="*/ 8209 h 1124278"/>
              <a:gd name="connsiteX22" fmla="*/ 678720 w 2476564"/>
              <a:gd name="connsiteY22" fmla="*/ 89171 h 1124278"/>
              <a:gd name="connsiteX23" fmla="*/ 383446 w 2476564"/>
              <a:gd name="connsiteY23" fmla="*/ 284433 h 1124278"/>
              <a:gd name="connsiteX24" fmla="*/ 169133 w 2476564"/>
              <a:gd name="connsiteY24" fmla="*/ 579709 h 1124278"/>
              <a:gd name="connsiteX25" fmla="*/ 2447 w 2476564"/>
              <a:gd name="connsiteY25" fmla="*/ 1067865 h 1124278"/>
              <a:gd name="connsiteX26" fmla="*/ 254858 w 2476564"/>
              <a:gd name="connsiteY26" fmla="*/ 946421 h 1124278"/>
              <a:gd name="connsiteX0" fmla="*/ 254858 w 2476564"/>
              <a:gd name="connsiteY0" fmla="*/ 946421 h 1124278"/>
              <a:gd name="connsiteX1" fmla="*/ 390590 w 2476564"/>
              <a:gd name="connsiteY1" fmla="*/ 760683 h 1124278"/>
              <a:gd name="connsiteX2" fmla="*/ 514415 w 2476564"/>
              <a:gd name="connsiteY2" fmla="*/ 670196 h 1124278"/>
              <a:gd name="connsiteX3" fmla="*/ 659671 w 2476564"/>
              <a:gd name="connsiteY3" fmla="*/ 634477 h 1124278"/>
              <a:gd name="connsiteX4" fmla="*/ 812070 w 2476564"/>
              <a:gd name="connsiteY4" fmla="*/ 634477 h 1124278"/>
              <a:gd name="connsiteX5" fmla="*/ 990665 w 2476564"/>
              <a:gd name="connsiteY5" fmla="*/ 665433 h 1124278"/>
              <a:gd name="connsiteX6" fmla="*/ 1131158 w 2476564"/>
              <a:gd name="connsiteY6" fmla="*/ 689246 h 1124278"/>
              <a:gd name="connsiteX7" fmla="*/ 1274033 w 2476564"/>
              <a:gd name="connsiteY7" fmla="*/ 746397 h 1124278"/>
              <a:gd name="connsiteX8" fmla="*/ 1397858 w 2476564"/>
              <a:gd name="connsiteY8" fmla="*/ 760684 h 1124278"/>
              <a:gd name="connsiteX9" fmla="*/ 1657415 w 2476564"/>
              <a:gd name="connsiteY9" fmla="*/ 739252 h 1124278"/>
              <a:gd name="connsiteX10" fmla="*/ 1859821 w 2476564"/>
              <a:gd name="connsiteY10" fmla="*/ 717821 h 1124278"/>
              <a:gd name="connsiteX11" fmla="*/ 2064608 w 2476564"/>
              <a:gd name="connsiteY11" fmla="*/ 744015 h 1124278"/>
              <a:gd name="connsiteX12" fmla="*/ 2188434 w 2476564"/>
              <a:gd name="connsiteY12" fmla="*/ 796402 h 1124278"/>
              <a:gd name="connsiteX13" fmla="*/ 2252727 w 2476564"/>
              <a:gd name="connsiteY13" fmla="*/ 877366 h 1124278"/>
              <a:gd name="connsiteX14" fmla="*/ 2328613 w 2476564"/>
              <a:gd name="connsiteY14" fmla="*/ 969609 h 1124278"/>
              <a:gd name="connsiteX15" fmla="*/ 2476564 w 2476564"/>
              <a:gd name="connsiteY15" fmla="*/ 1120253 h 1124278"/>
              <a:gd name="connsiteX16" fmla="*/ 2350358 w 2476564"/>
              <a:gd name="connsiteY16" fmla="*/ 698771 h 1124278"/>
              <a:gd name="connsiteX17" fmla="*/ 2231295 w 2476564"/>
              <a:gd name="connsiteY17" fmla="*/ 479696 h 1124278"/>
              <a:gd name="connsiteX18" fmla="*/ 2036033 w 2476564"/>
              <a:gd name="connsiteY18" fmla="*/ 274909 h 1124278"/>
              <a:gd name="connsiteX19" fmla="*/ 1731233 w 2476564"/>
              <a:gd name="connsiteY19" fmla="*/ 98696 h 1124278"/>
              <a:gd name="connsiteX20" fmla="*/ 1393096 w 2476564"/>
              <a:gd name="connsiteY20" fmla="*/ 12971 h 1124278"/>
              <a:gd name="connsiteX21" fmla="*/ 978758 w 2476564"/>
              <a:gd name="connsiteY21" fmla="*/ 8209 h 1124278"/>
              <a:gd name="connsiteX22" fmla="*/ 678720 w 2476564"/>
              <a:gd name="connsiteY22" fmla="*/ 89171 h 1124278"/>
              <a:gd name="connsiteX23" fmla="*/ 383446 w 2476564"/>
              <a:gd name="connsiteY23" fmla="*/ 284433 h 1124278"/>
              <a:gd name="connsiteX24" fmla="*/ 169133 w 2476564"/>
              <a:gd name="connsiteY24" fmla="*/ 579709 h 1124278"/>
              <a:gd name="connsiteX25" fmla="*/ 2447 w 2476564"/>
              <a:gd name="connsiteY25" fmla="*/ 1067865 h 1124278"/>
              <a:gd name="connsiteX26" fmla="*/ 254858 w 2476564"/>
              <a:gd name="connsiteY26" fmla="*/ 946421 h 1124278"/>
              <a:gd name="connsiteX0" fmla="*/ 254858 w 2476564"/>
              <a:gd name="connsiteY0" fmla="*/ 946421 h 1124278"/>
              <a:gd name="connsiteX1" fmla="*/ 390590 w 2476564"/>
              <a:gd name="connsiteY1" fmla="*/ 760683 h 1124278"/>
              <a:gd name="connsiteX2" fmla="*/ 514415 w 2476564"/>
              <a:gd name="connsiteY2" fmla="*/ 670196 h 1124278"/>
              <a:gd name="connsiteX3" fmla="*/ 659671 w 2476564"/>
              <a:gd name="connsiteY3" fmla="*/ 634477 h 1124278"/>
              <a:gd name="connsiteX4" fmla="*/ 812070 w 2476564"/>
              <a:gd name="connsiteY4" fmla="*/ 634477 h 1124278"/>
              <a:gd name="connsiteX5" fmla="*/ 990665 w 2476564"/>
              <a:gd name="connsiteY5" fmla="*/ 665433 h 1124278"/>
              <a:gd name="connsiteX6" fmla="*/ 1131158 w 2476564"/>
              <a:gd name="connsiteY6" fmla="*/ 689246 h 1124278"/>
              <a:gd name="connsiteX7" fmla="*/ 1274033 w 2476564"/>
              <a:gd name="connsiteY7" fmla="*/ 746397 h 1124278"/>
              <a:gd name="connsiteX8" fmla="*/ 1397858 w 2476564"/>
              <a:gd name="connsiteY8" fmla="*/ 760684 h 1124278"/>
              <a:gd name="connsiteX9" fmla="*/ 1657415 w 2476564"/>
              <a:gd name="connsiteY9" fmla="*/ 739252 h 1124278"/>
              <a:gd name="connsiteX10" fmla="*/ 1859821 w 2476564"/>
              <a:gd name="connsiteY10" fmla="*/ 717821 h 1124278"/>
              <a:gd name="connsiteX11" fmla="*/ 2064608 w 2476564"/>
              <a:gd name="connsiteY11" fmla="*/ 744015 h 1124278"/>
              <a:gd name="connsiteX12" fmla="*/ 2188434 w 2476564"/>
              <a:gd name="connsiteY12" fmla="*/ 796402 h 1124278"/>
              <a:gd name="connsiteX13" fmla="*/ 2252727 w 2476564"/>
              <a:gd name="connsiteY13" fmla="*/ 877366 h 1124278"/>
              <a:gd name="connsiteX14" fmla="*/ 2328613 w 2476564"/>
              <a:gd name="connsiteY14" fmla="*/ 969609 h 1124278"/>
              <a:gd name="connsiteX15" fmla="*/ 2476564 w 2476564"/>
              <a:gd name="connsiteY15" fmla="*/ 1120253 h 1124278"/>
              <a:gd name="connsiteX16" fmla="*/ 2350358 w 2476564"/>
              <a:gd name="connsiteY16" fmla="*/ 698771 h 1124278"/>
              <a:gd name="connsiteX17" fmla="*/ 2231295 w 2476564"/>
              <a:gd name="connsiteY17" fmla="*/ 479696 h 1124278"/>
              <a:gd name="connsiteX18" fmla="*/ 2036033 w 2476564"/>
              <a:gd name="connsiteY18" fmla="*/ 274909 h 1124278"/>
              <a:gd name="connsiteX19" fmla="*/ 1731233 w 2476564"/>
              <a:gd name="connsiteY19" fmla="*/ 98696 h 1124278"/>
              <a:gd name="connsiteX20" fmla="*/ 1393096 w 2476564"/>
              <a:gd name="connsiteY20" fmla="*/ 12971 h 1124278"/>
              <a:gd name="connsiteX21" fmla="*/ 978758 w 2476564"/>
              <a:gd name="connsiteY21" fmla="*/ 8209 h 1124278"/>
              <a:gd name="connsiteX22" fmla="*/ 678720 w 2476564"/>
              <a:gd name="connsiteY22" fmla="*/ 89171 h 1124278"/>
              <a:gd name="connsiteX23" fmla="*/ 383446 w 2476564"/>
              <a:gd name="connsiteY23" fmla="*/ 284433 h 1124278"/>
              <a:gd name="connsiteX24" fmla="*/ 169133 w 2476564"/>
              <a:gd name="connsiteY24" fmla="*/ 579709 h 1124278"/>
              <a:gd name="connsiteX25" fmla="*/ 2447 w 2476564"/>
              <a:gd name="connsiteY25" fmla="*/ 1067865 h 1124278"/>
              <a:gd name="connsiteX26" fmla="*/ 254858 w 2476564"/>
              <a:gd name="connsiteY26" fmla="*/ 946421 h 1124278"/>
              <a:gd name="connsiteX0" fmla="*/ 254858 w 2488470"/>
              <a:gd name="connsiteY0" fmla="*/ 946421 h 1135960"/>
              <a:gd name="connsiteX1" fmla="*/ 390590 w 2488470"/>
              <a:gd name="connsiteY1" fmla="*/ 760683 h 1135960"/>
              <a:gd name="connsiteX2" fmla="*/ 514415 w 2488470"/>
              <a:gd name="connsiteY2" fmla="*/ 670196 h 1135960"/>
              <a:gd name="connsiteX3" fmla="*/ 659671 w 2488470"/>
              <a:gd name="connsiteY3" fmla="*/ 634477 h 1135960"/>
              <a:gd name="connsiteX4" fmla="*/ 812070 w 2488470"/>
              <a:gd name="connsiteY4" fmla="*/ 634477 h 1135960"/>
              <a:gd name="connsiteX5" fmla="*/ 990665 w 2488470"/>
              <a:gd name="connsiteY5" fmla="*/ 665433 h 1135960"/>
              <a:gd name="connsiteX6" fmla="*/ 1131158 w 2488470"/>
              <a:gd name="connsiteY6" fmla="*/ 689246 h 1135960"/>
              <a:gd name="connsiteX7" fmla="*/ 1274033 w 2488470"/>
              <a:gd name="connsiteY7" fmla="*/ 746397 h 1135960"/>
              <a:gd name="connsiteX8" fmla="*/ 1397858 w 2488470"/>
              <a:gd name="connsiteY8" fmla="*/ 760684 h 1135960"/>
              <a:gd name="connsiteX9" fmla="*/ 1657415 w 2488470"/>
              <a:gd name="connsiteY9" fmla="*/ 739252 h 1135960"/>
              <a:gd name="connsiteX10" fmla="*/ 1859821 w 2488470"/>
              <a:gd name="connsiteY10" fmla="*/ 717821 h 1135960"/>
              <a:gd name="connsiteX11" fmla="*/ 2064608 w 2488470"/>
              <a:gd name="connsiteY11" fmla="*/ 744015 h 1135960"/>
              <a:gd name="connsiteX12" fmla="*/ 2188434 w 2488470"/>
              <a:gd name="connsiteY12" fmla="*/ 796402 h 1135960"/>
              <a:gd name="connsiteX13" fmla="*/ 2252727 w 2488470"/>
              <a:gd name="connsiteY13" fmla="*/ 877366 h 1135960"/>
              <a:gd name="connsiteX14" fmla="*/ 2328613 w 2488470"/>
              <a:gd name="connsiteY14" fmla="*/ 969609 h 1135960"/>
              <a:gd name="connsiteX15" fmla="*/ 2488470 w 2488470"/>
              <a:gd name="connsiteY15" fmla="*/ 1132160 h 1135960"/>
              <a:gd name="connsiteX16" fmla="*/ 2350358 w 2488470"/>
              <a:gd name="connsiteY16" fmla="*/ 698771 h 1135960"/>
              <a:gd name="connsiteX17" fmla="*/ 2231295 w 2488470"/>
              <a:gd name="connsiteY17" fmla="*/ 479696 h 1135960"/>
              <a:gd name="connsiteX18" fmla="*/ 2036033 w 2488470"/>
              <a:gd name="connsiteY18" fmla="*/ 274909 h 1135960"/>
              <a:gd name="connsiteX19" fmla="*/ 1731233 w 2488470"/>
              <a:gd name="connsiteY19" fmla="*/ 98696 h 1135960"/>
              <a:gd name="connsiteX20" fmla="*/ 1393096 w 2488470"/>
              <a:gd name="connsiteY20" fmla="*/ 12971 h 1135960"/>
              <a:gd name="connsiteX21" fmla="*/ 978758 w 2488470"/>
              <a:gd name="connsiteY21" fmla="*/ 8209 h 1135960"/>
              <a:gd name="connsiteX22" fmla="*/ 678720 w 2488470"/>
              <a:gd name="connsiteY22" fmla="*/ 89171 h 1135960"/>
              <a:gd name="connsiteX23" fmla="*/ 383446 w 2488470"/>
              <a:gd name="connsiteY23" fmla="*/ 284433 h 1135960"/>
              <a:gd name="connsiteX24" fmla="*/ 169133 w 2488470"/>
              <a:gd name="connsiteY24" fmla="*/ 579709 h 1135960"/>
              <a:gd name="connsiteX25" fmla="*/ 2447 w 2488470"/>
              <a:gd name="connsiteY25" fmla="*/ 1067865 h 1135960"/>
              <a:gd name="connsiteX26" fmla="*/ 254858 w 2488470"/>
              <a:gd name="connsiteY26" fmla="*/ 946421 h 1135960"/>
              <a:gd name="connsiteX0" fmla="*/ 254858 w 2488470"/>
              <a:gd name="connsiteY0" fmla="*/ 946421 h 1168783"/>
              <a:gd name="connsiteX1" fmla="*/ 390590 w 2488470"/>
              <a:gd name="connsiteY1" fmla="*/ 760683 h 1168783"/>
              <a:gd name="connsiteX2" fmla="*/ 514415 w 2488470"/>
              <a:gd name="connsiteY2" fmla="*/ 670196 h 1168783"/>
              <a:gd name="connsiteX3" fmla="*/ 659671 w 2488470"/>
              <a:gd name="connsiteY3" fmla="*/ 634477 h 1168783"/>
              <a:gd name="connsiteX4" fmla="*/ 812070 w 2488470"/>
              <a:gd name="connsiteY4" fmla="*/ 634477 h 1168783"/>
              <a:gd name="connsiteX5" fmla="*/ 990665 w 2488470"/>
              <a:gd name="connsiteY5" fmla="*/ 665433 h 1168783"/>
              <a:gd name="connsiteX6" fmla="*/ 1131158 w 2488470"/>
              <a:gd name="connsiteY6" fmla="*/ 689246 h 1168783"/>
              <a:gd name="connsiteX7" fmla="*/ 1274033 w 2488470"/>
              <a:gd name="connsiteY7" fmla="*/ 746397 h 1168783"/>
              <a:gd name="connsiteX8" fmla="*/ 1397858 w 2488470"/>
              <a:gd name="connsiteY8" fmla="*/ 760684 h 1168783"/>
              <a:gd name="connsiteX9" fmla="*/ 1657415 w 2488470"/>
              <a:gd name="connsiteY9" fmla="*/ 739252 h 1168783"/>
              <a:gd name="connsiteX10" fmla="*/ 1859821 w 2488470"/>
              <a:gd name="connsiteY10" fmla="*/ 717821 h 1168783"/>
              <a:gd name="connsiteX11" fmla="*/ 2064608 w 2488470"/>
              <a:gd name="connsiteY11" fmla="*/ 744015 h 1168783"/>
              <a:gd name="connsiteX12" fmla="*/ 2188434 w 2488470"/>
              <a:gd name="connsiteY12" fmla="*/ 796402 h 1168783"/>
              <a:gd name="connsiteX13" fmla="*/ 2252727 w 2488470"/>
              <a:gd name="connsiteY13" fmla="*/ 877366 h 1168783"/>
              <a:gd name="connsiteX14" fmla="*/ 2328613 w 2488470"/>
              <a:gd name="connsiteY14" fmla="*/ 969609 h 1168783"/>
              <a:gd name="connsiteX15" fmla="*/ 2488470 w 2488470"/>
              <a:gd name="connsiteY15" fmla="*/ 1165497 h 1168783"/>
              <a:gd name="connsiteX16" fmla="*/ 2350358 w 2488470"/>
              <a:gd name="connsiteY16" fmla="*/ 698771 h 1168783"/>
              <a:gd name="connsiteX17" fmla="*/ 2231295 w 2488470"/>
              <a:gd name="connsiteY17" fmla="*/ 479696 h 1168783"/>
              <a:gd name="connsiteX18" fmla="*/ 2036033 w 2488470"/>
              <a:gd name="connsiteY18" fmla="*/ 274909 h 1168783"/>
              <a:gd name="connsiteX19" fmla="*/ 1731233 w 2488470"/>
              <a:gd name="connsiteY19" fmla="*/ 98696 h 1168783"/>
              <a:gd name="connsiteX20" fmla="*/ 1393096 w 2488470"/>
              <a:gd name="connsiteY20" fmla="*/ 12971 h 1168783"/>
              <a:gd name="connsiteX21" fmla="*/ 978758 w 2488470"/>
              <a:gd name="connsiteY21" fmla="*/ 8209 h 1168783"/>
              <a:gd name="connsiteX22" fmla="*/ 678720 w 2488470"/>
              <a:gd name="connsiteY22" fmla="*/ 89171 h 1168783"/>
              <a:gd name="connsiteX23" fmla="*/ 383446 w 2488470"/>
              <a:gd name="connsiteY23" fmla="*/ 284433 h 1168783"/>
              <a:gd name="connsiteX24" fmla="*/ 169133 w 2488470"/>
              <a:gd name="connsiteY24" fmla="*/ 579709 h 1168783"/>
              <a:gd name="connsiteX25" fmla="*/ 2447 w 2488470"/>
              <a:gd name="connsiteY25" fmla="*/ 1067865 h 1168783"/>
              <a:gd name="connsiteX26" fmla="*/ 254858 w 2488470"/>
              <a:gd name="connsiteY26" fmla="*/ 946421 h 1168783"/>
              <a:gd name="connsiteX0" fmla="*/ 254858 w 2500377"/>
              <a:gd name="connsiteY0" fmla="*/ 946421 h 1168783"/>
              <a:gd name="connsiteX1" fmla="*/ 390590 w 2500377"/>
              <a:gd name="connsiteY1" fmla="*/ 760683 h 1168783"/>
              <a:gd name="connsiteX2" fmla="*/ 514415 w 2500377"/>
              <a:gd name="connsiteY2" fmla="*/ 670196 h 1168783"/>
              <a:gd name="connsiteX3" fmla="*/ 659671 w 2500377"/>
              <a:gd name="connsiteY3" fmla="*/ 634477 h 1168783"/>
              <a:gd name="connsiteX4" fmla="*/ 812070 w 2500377"/>
              <a:gd name="connsiteY4" fmla="*/ 634477 h 1168783"/>
              <a:gd name="connsiteX5" fmla="*/ 990665 w 2500377"/>
              <a:gd name="connsiteY5" fmla="*/ 665433 h 1168783"/>
              <a:gd name="connsiteX6" fmla="*/ 1131158 w 2500377"/>
              <a:gd name="connsiteY6" fmla="*/ 689246 h 1168783"/>
              <a:gd name="connsiteX7" fmla="*/ 1274033 w 2500377"/>
              <a:gd name="connsiteY7" fmla="*/ 746397 h 1168783"/>
              <a:gd name="connsiteX8" fmla="*/ 1397858 w 2500377"/>
              <a:gd name="connsiteY8" fmla="*/ 760684 h 1168783"/>
              <a:gd name="connsiteX9" fmla="*/ 1657415 w 2500377"/>
              <a:gd name="connsiteY9" fmla="*/ 739252 h 1168783"/>
              <a:gd name="connsiteX10" fmla="*/ 1859821 w 2500377"/>
              <a:gd name="connsiteY10" fmla="*/ 717821 h 1168783"/>
              <a:gd name="connsiteX11" fmla="*/ 2064608 w 2500377"/>
              <a:gd name="connsiteY11" fmla="*/ 744015 h 1168783"/>
              <a:gd name="connsiteX12" fmla="*/ 2188434 w 2500377"/>
              <a:gd name="connsiteY12" fmla="*/ 796402 h 1168783"/>
              <a:gd name="connsiteX13" fmla="*/ 2252727 w 2500377"/>
              <a:gd name="connsiteY13" fmla="*/ 877366 h 1168783"/>
              <a:gd name="connsiteX14" fmla="*/ 2328613 w 2500377"/>
              <a:gd name="connsiteY14" fmla="*/ 969609 h 1168783"/>
              <a:gd name="connsiteX15" fmla="*/ 2500377 w 2500377"/>
              <a:gd name="connsiteY15" fmla="*/ 1165497 h 1168783"/>
              <a:gd name="connsiteX16" fmla="*/ 2350358 w 2500377"/>
              <a:gd name="connsiteY16" fmla="*/ 698771 h 1168783"/>
              <a:gd name="connsiteX17" fmla="*/ 2231295 w 2500377"/>
              <a:gd name="connsiteY17" fmla="*/ 479696 h 1168783"/>
              <a:gd name="connsiteX18" fmla="*/ 2036033 w 2500377"/>
              <a:gd name="connsiteY18" fmla="*/ 274909 h 1168783"/>
              <a:gd name="connsiteX19" fmla="*/ 1731233 w 2500377"/>
              <a:gd name="connsiteY19" fmla="*/ 98696 h 1168783"/>
              <a:gd name="connsiteX20" fmla="*/ 1393096 w 2500377"/>
              <a:gd name="connsiteY20" fmla="*/ 12971 h 1168783"/>
              <a:gd name="connsiteX21" fmla="*/ 978758 w 2500377"/>
              <a:gd name="connsiteY21" fmla="*/ 8209 h 1168783"/>
              <a:gd name="connsiteX22" fmla="*/ 678720 w 2500377"/>
              <a:gd name="connsiteY22" fmla="*/ 89171 h 1168783"/>
              <a:gd name="connsiteX23" fmla="*/ 383446 w 2500377"/>
              <a:gd name="connsiteY23" fmla="*/ 284433 h 1168783"/>
              <a:gd name="connsiteX24" fmla="*/ 169133 w 2500377"/>
              <a:gd name="connsiteY24" fmla="*/ 579709 h 1168783"/>
              <a:gd name="connsiteX25" fmla="*/ 2447 w 2500377"/>
              <a:gd name="connsiteY25" fmla="*/ 1067865 h 1168783"/>
              <a:gd name="connsiteX26" fmla="*/ 254858 w 2500377"/>
              <a:gd name="connsiteY26" fmla="*/ 946421 h 1168783"/>
              <a:gd name="connsiteX0" fmla="*/ 254858 w 2500377"/>
              <a:gd name="connsiteY0" fmla="*/ 946421 h 1168783"/>
              <a:gd name="connsiteX1" fmla="*/ 390590 w 2500377"/>
              <a:gd name="connsiteY1" fmla="*/ 760683 h 1168783"/>
              <a:gd name="connsiteX2" fmla="*/ 514415 w 2500377"/>
              <a:gd name="connsiteY2" fmla="*/ 670196 h 1168783"/>
              <a:gd name="connsiteX3" fmla="*/ 659671 w 2500377"/>
              <a:gd name="connsiteY3" fmla="*/ 634477 h 1168783"/>
              <a:gd name="connsiteX4" fmla="*/ 812070 w 2500377"/>
              <a:gd name="connsiteY4" fmla="*/ 634477 h 1168783"/>
              <a:gd name="connsiteX5" fmla="*/ 990665 w 2500377"/>
              <a:gd name="connsiteY5" fmla="*/ 665433 h 1168783"/>
              <a:gd name="connsiteX6" fmla="*/ 1131158 w 2500377"/>
              <a:gd name="connsiteY6" fmla="*/ 689246 h 1168783"/>
              <a:gd name="connsiteX7" fmla="*/ 1274033 w 2500377"/>
              <a:gd name="connsiteY7" fmla="*/ 746397 h 1168783"/>
              <a:gd name="connsiteX8" fmla="*/ 1397858 w 2500377"/>
              <a:gd name="connsiteY8" fmla="*/ 760684 h 1168783"/>
              <a:gd name="connsiteX9" fmla="*/ 1657415 w 2500377"/>
              <a:gd name="connsiteY9" fmla="*/ 739252 h 1168783"/>
              <a:gd name="connsiteX10" fmla="*/ 1859821 w 2500377"/>
              <a:gd name="connsiteY10" fmla="*/ 717821 h 1168783"/>
              <a:gd name="connsiteX11" fmla="*/ 2064608 w 2500377"/>
              <a:gd name="connsiteY11" fmla="*/ 744015 h 1168783"/>
              <a:gd name="connsiteX12" fmla="*/ 2188434 w 2500377"/>
              <a:gd name="connsiteY12" fmla="*/ 796402 h 1168783"/>
              <a:gd name="connsiteX13" fmla="*/ 2252727 w 2500377"/>
              <a:gd name="connsiteY13" fmla="*/ 877366 h 1168783"/>
              <a:gd name="connsiteX14" fmla="*/ 2328613 w 2500377"/>
              <a:gd name="connsiteY14" fmla="*/ 969609 h 1168783"/>
              <a:gd name="connsiteX15" fmla="*/ 2500377 w 2500377"/>
              <a:gd name="connsiteY15" fmla="*/ 1165497 h 1168783"/>
              <a:gd name="connsiteX16" fmla="*/ 2359883 w 2500377"/>
              <a:gd name="connsiteY16" fmla="*/ 686864 h 1168783"/>
              <a:gd name="connsiteX17" fmla="*/ 2231295 w 2500377"/>
              <a:gd name="connsiteY17" fmla="*/ 479696 h 1168783"/>
              <a:gd name="connsiteX18" fmla="*/ 2036033 w 2500377"/>
              <a:gd name="connsiteY18" fmla="*/ 274909 h 1168783"/>
              <a:gd name="connsiteX19" fmla="*/ 1731233 w 2500377"/>
              <a:gd name="connsiteY19" fmla="*/ 98696 h 1168783"/>
              <a:gd name="connsiteX20" fmla="*/ 1393096 w 2500377"/>
              <a:gd name="connsiteY20" fmla="*/ 12971 h 1168783"/>
              <a:gd name="connsiteX21" fmla="*/ 978758 w 2500377"/>
              <a:gd name="connsiteY21" fmla="*/ 8209 h 1168783"/>
              <a:gd name="connsiteX22" fmla="*/ 678720 w 2500377"/>
              <a:gd name="connsiteY22" fmla="*/ 89171 h 1168783"/>
              <a:gd name="connsiteX23" fmla="*/ 383446 w 2500377"/>
              <a:gd name="connsiteY23" fmla="*/ 284433 h 1168783"/>
              <a:gd name="connsiteX24" fmla="*/ 169133 w 2500377"/>
              <a:gd name="connsiteY24" fmla="*/ 579709 h 1168783"/>
              <a:gd name="connsiteX25" fmla="*/ 2447 w 2500377"/>
              <a:gd name="connsiteY25" fmla="*/ 1067865 h 1168783"/>
              <a:gd name="connsiteX26" fmla="*/ 254858 w 2500377"/>
              <a:gd name="connsiteY26" fmla="*/ 946421 h 1168783"/>
              <a:gd name="connsiteX0" fmla="*/ 254858 w 2500377"/>
              <a:gd name="connsiteY0" fmla="*/ 946421 h 1168783"/>
              <a:gd name="connsiteX1" fmla="*/ 390590 w 2500377"/>
              <a:gd name="connsiteY1" fmla="*/ 760683 h 1168783"/>
              <a:gd name="connsiteX2" fmla="*/ 514415 w 2500377"/>
              <a:gd name="connsiteY2" fmla="*/ 670196 h 1168783"/>
              <a:gd name="connsiteX3" fmla="*/ 659671 w 2500377"/>
              <a:gd name="connsiteY3" fmla="*/ 634477 h 1168783"/>
              <a:gd name="connsiteX4" fmla="*/ 812070 w 2500377"/>
              <a:gd name="connsiteY4" fmla="*/ 634477 h 1168783"/>
              <a:gd name="connsiteX5" fmla="*/ 990665 w 2500377"/>
              <a:gd name="connsiteY5" fmla="*/ 665433 h 1168783"/>
              <a:gd name="connsiteX6" fmla="*/ 1131158 w 2500377"/>
              <a:gd name="connsiteY6" fmla="*/ 689246 h 1168783"/>
              <a:gd name="connsiteX7" fmla="*/ 1274033 w 2500377"/>
              <a:gd name="connsiteY7" fmla="*/ 746397 h 1168783"/>
              <a:gd name="connsiteX8" fmla="*/ 1397858 w 2500377"/>
              <a:gd name="connsiteY8" fmla="*/ 760684 h 1168783"/>
              <a:gd name="connsiteX9" fmla="*/ 1657415 w 2500377"/>
              <a:gd name="connsiteY9" fmla="*/ 739252 h 1168783"/>
              <a:gd name="connsiteX10" fmla="*/ 1859821 w 2500377"/>
              <a:gd name="connsiteY10" fmla="*/ 717821 h 1168783"/>
              <a:gd name="connsiteX11" fmla="*/ 2064608 w 2500377"/>
              <a:gd name="connsiteY11" fmla="*/ 744015 h 1168783"/>
              <a:gd name="connsiteX12" fmla="*/ 2188434 w 2500377"/>
              <a:gd name="connsiteY12" fmla="*/ 796402 h 1168783"/>
              <a:gd name="connsiteX13" fmla="*/ 2252727 w 2500377"/>
              <a:gd name="connsiteY13" fmla="*/ 877366 h 1168783"/>
              <a:gd name="connsiteX14" fmla="*/ 2328613 w 2500377"/>
              <a:gd name="connsiteY14" fmla="*/ 969609 h 1168783"/>
              <a:gd name="connsiteX15" fmla="*/ 2500377 w 2500377"/>
              <a:gd name="connsiteY15" fmla="*/ 1165497 h 1168783"/>
              <a:gd name="connsiteX16" fmla="*/ 2359883 w 2500377"/>
              <a:gd name="connsiteY16" fmla="*/ 686864 h 1168783"/>
              <a:gd name="connsiteX17" fmla="*/ 2228914 w 2500377"/>
              <a:gd name="connsiteY17" fmla="*/ 474933 h 1168783"/>
              <a:gd name="connsiteX18" fmla="*/ 2036033 w 2500377"/>
              <a:gd name="connsiteY18" fmla="*/ 274909 h 1168783"/>
              <a:gd name="connsiteX19" fmla="*/ 1731233 w 2500377"/>
              <a:gd name="connsiteY19" fmla="*/ 98696 h 1168783"/>
              <a:gd name="connsiteX20" fmla="*/ 1393096 w 2500377"/>
              <a:gd name="connsiteY20" fmla="*/ 12971 h 1168783"/>
              <a:gd name="connsiteX21" fmla="*/ 978758 w 2500377"/>
              <a:gd name="connsiteY21" fmla="*/ 8209 h 1168783"/>
              <a:gd name="connsiteX22" fmla="*/ 678720 w 2500377"/>
              <a:gd name="connsiteY22" fmla="*/ 89171 h 1168783"/>
              <a:gd name="connsiteX23" fmla="*/ 383446 w 2500377"/>
              <a:gd name="connsiteY23" fmla="*/ 284433 h 1168783"/>
              <a:gd name="connsiteX24" fmla="*/ 169133 w 2500377"/>
              <a:gd name="connsiteY24" fmla="*/ 579709 h 1168783"/>
              <a:gd name="connsiteX25" fmla="*/ 2447 w 2500377"/>
              <a:gd name="connsiteY25" fmla="*/ 1067865 h 1168783"/>
              <a:gd name="connsiteX26" fmla="*/ 254858 w 2500377"/>
              <a:gd name="connsiteY26" fmla="*/ 946421 h 1168783"/>
              <a:gd name="connsiteX0" fmla="*/ 254858 w 2500377"/>
              <a:gd name="connsiteY0" fmla="*/ 946421 h 1168783"/>
              <a:gd name="connsiteX1" fmla="*/ 390590 w 2500377"/>
              <a:gd name="connsiteY1" fmla="*/ 760683 h 1168783"/>
              <a:gd name="connsiteX2" fmla="*/ 514415 w 2500377"/>
              <a:gd name="connsiteY2" fmla="*/ 670196 h 1168783"/>
              <a:gd name="connsiteX3" fmla="*/ 659671 w 2500377"/>
              <a:gd name="connsiteY3" fmla="*/ 634477 h 1168783"/>
              <a:gd name="connsiteX4" fmla="*/ 812070 w 2500377"/>
              <a:gd name="connsiteY4" fmla="*/ 634477 h 1168783"/>
              <a:gd name="connsiteX5" fmla="*/ 990665 w 2500377"/>
              <a:gd name="connsiteY5" fmla="*/ 665433 h 1168783"/>
              <a:gd name="connsiteX6" fmla="*/ 1131158 w 2500377"/>
              <a:gd name="connsiteY6" fmla="*/ 689246 h 1168783"/>
              <a:gd name="connsiteX7" fmla="*/ 1274033 w 2500377"/>
              <a:gd name="connsiteY7" fmla="*/ 746397 h 1168783"/>
              <a:gd name="connsiteX8" fmla="*/ 1438339 w 2500377"/>
              <a:gd name="connsiteY8" fmla="*/ 760684 h 1168783"/>
              <a:gd name="connsiteX9" fmla="*/ 1657415 w 2500377"/>
              <a:gd name="connsiteY9" fmla="*/ 739252 h 1168783"/>
              <a:gd name="connsiteX10" fmla="*/ 1859821 w 2500377"/>
              <a:gd name="connsiteY10" fmla="*/ 717821 h 1168783"/>
              <a:gd name="connsiteX11" fmla="*/ 2064608 w 2500377"/>
              <a:gd name="connsiteY11" fmla="*/ 744015 h 1168783"/>
              <a:gd name="connsiteX12" fmla="*/ 2188434 w 2500377"/>
              <a:gd name="connsiteY12" fmla="*/ 796402 h 1168783"/>
              <a:gd name="connsiteX13" fmla="*/ 2252727 w 2500377"/>
              <a:gd name="connsiteY13" fmla="*/ 877366 h 1168783"/>
              <a:gd name="connsiteX14" fmla="*/ 2328613 w 2500377"/>
              <a:gd name="connsiteY14" fmla="*/ 969609 h 1168783"/>
              <a:gd name="connsiteX15" fmla="*/ 2500377 w 2500377"/>
              <a:gd name="connsiteY15" fmla="*/ 1165497 h 1168783"/>
              <a:gd name="connsiteX16" fmla="*/ 2359883 w 2500377"/>
              <a:gd name="connsiteY16" fmla="*/ 686864 h 1168783"/>
              <a:gd name="connsiteX17" fmla="*/ 2228914 w 2500377"/>
              <a:gd name="connsiteY17" fmla="*/ 474933 h 1168783"/>
              <a:gd name="connsiteX18" fmla="*/ 2036033 w 2500377"/>
              <a:gd name="connsiteY18" fmla="*/ 274909 h 1168783"/>
              <a:gd name="connsiteX19" fmla="*/ 1731233 w 2500377"/>
              <a:gd name="connsiteY19" fmla="*/ 98696 h 1168783"/>
              <a:gd name="connsiteX20" fmla="*/ 1393096 w 2500377"/>
              <a:gd name="connsiteY20" fmla="*/ 12971 h 1168783"/>
              <a:gd name="connsiteX21" fmla="*/ 978758 w 2500377"/>
              <a:gd name="connsiteY21" fmla="*/ 8209 h 1168783"/>
              <a:gd name="connsiteX22" fmla="*/ 678720 w 2500377"/>
              <a:gd name="connsiteY22" fmla="*/ 89171 h 1168783"/>
              <a:gd name="connsiteX23" fmla="*/ 383446 w 2500377"/>
              <a:gd name="connsiteY23" fmla="*/ 284433 h 1168783"/>
              <a:gd name="connsiteX24" fmla="*/ 169133 w 2500377"/>
              <a:gd name="connsiteY24" fmla="*/ 579709 h 1168783"/>
              <a:gd name="connsiteX25" fmla="*/ 2447 w 2500377"/>
              <a:gd name="connsiteY25" fmla="*/ 1067865 h 1168783"/>
              <a:gd name="connsiteX26" fmla="*/ 254858 w 2500377"/>
              <a:gd name="connsiteY26" fmla="*/ 946421 h 1168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500377" h="1168783">
                <a:moveTo>
                  <a:pt x="254858" y="946421"/>
                </a:moveTo>
                <a:cubicBezTo>
                  <a:pt x="307245" y="916259"/>
                  <a:pt x="347331" y="806720"/>
                  <a:pt x="390590" y="760683"/>
                </a:cubicBezTo>
                <a:cubicBezTo>
                  <a:pt x="433849" y="714646"/>
                  <a:pt x="469568" y="691230"/>
                  <a:pt x="514415" y="670196"/>
                </a:cubicBezTo>
                <a:cubicBezTo>
                  <a:pt x="559262" y="649162"/>
                  <a:pt x="610062" y="640430"/>
                  <a:pt x="659671" y="634477"/>
                </a:cubicBezTo>
                <a:cubicBezTo>
                  <a:pt x="709280" y="628524"/>
                  <a:pt x="756904" y="629318"/>
                  <a:pt x="812070" y="634477"/>
                </a:cubicBezTo>
                <a:cubicBezTo>
                  <a:pt x="867236" y="639636"/>
                  <a:pt x="937484" y="656305"/>
                  <a:pt x="990665" y="665433"/>
                </a:cubicBezTo>
                <a:cubicBezTo>
                  <a:pt x="1043846" y="674561"/>
                  <a:pt x="1083930" y="675752"/>
                  <a:pt x="1131158" y="689246"/>
                </a:cubicBezTo>
                <a:cubicBezTo>
                  <a:pt x="1178386" y="702740"/>
                  <a:pt x="1222836" y="734491"/>
                  <a:pt x="1274033" y="746397"/>
                </a:cubicBezTo>
                <a:cubicBezTo>
                  <a:pt x="1325230" y="758303"/>
                  <a:pt x="1381983" y="755128"/>
                  <a:pt x="1438339" y="760684"/>
                </a:cubicBezTo>
                <a:lnTo>
                  <a:pt x="1657415" y="739252"/>
                </a:lnTo>
                <a:cubicBezTo>
                  <a:pt x="1727662" y="732108"/>
                  <a:pt x="1791956" y="717027"/>
                  <a:pt x="1859821" y="717821"/>
                </a:cubicBezTo>
                <a:cubicBezTo>
                  <a:pt x="1927687" y="718615"/>
                  <a:pt x="2009839" y="730918"/>
                  <a:pt x="2064608" y="744015"/>
                </a:cubicBezTo>
                <a:cubicBezTo>
                  <a:pt x="2119377" y="757112"/>
                  <a:pt x="2157081" y="774177"/>
                  <a:pt x="2188434" y="796402"/>
                </a:cubicBezTo>
                <a:cubicBezTo>
                  <a:pt x="2219787" y="818627"/>
                  <a:pt x="2229364" y="848498"/>
                  <a:pt x="2252727" y="877366"/>
                </a:cubicBezTo>
                <a:cubicBezTo>
                  <a:pt x="2276090" y="906234"/>
                  <a:pt x="2294482" y="964847"/>
                  <a:pt x="2328613" y="969609"/>
                </a:cubicBezTo>
                <a:cubicBezTo>
                  <a:pt x="2362744" y="974371"/>
                  <a:pt x="2484450" y="1198334"/>
                  <a:pt x="2500377" y="1165497"/>
                </a:cubicBezTo>
                <a:cubicBezTo>
                  <a:pt x="2467833" y="903559"/>
                  <a:pt x="2401952" y="827358"/>
                  <a:pt x="2359883" y="686864"/>
                </a:cubicBezTo>
                <a:cubicBezTo>
                  <a:pt x="2323371" y="618602"/>
                  <a:pt x="2282889" y="543592"/>
                  <a:pt x="2228914" y="474933"/>
                </a:cubicBezTo>
                <a:cubicBezTo>
                  <a:pt x="2174939" y="406274"/>
                  <a:pt x="2118980" y="337615"/>
                  <a:pt x="2036033" y="274909"/>
                </a:cubicBezTo>
                <a:cubicBezTo>
                  <a:pt x="1953086" y="212203"/>
                  <a:pt x="1838389" y="142352"/>
                  <a:pt x="1731233" y="98696"/>
                </a:cubicBezTo>
                <a:cubicBezTo>
                  <a:pt x="1624077" y="55040"/>
                  <a:pt x="1518508" y="28052"/>
                  <a:pt x="1393096" y="12971"/>
                </a:cubicBezTo>
                <a:cubicBezTo>
                  <a:pt x="1267684" y="-2110"/>
                  <a:pt x="1097821" y="-4491"/>
                  <a:pt x="978758" y="8209"/>
                </a:cubicBezTo>
                <a:cubicBezTo>
                  <a:pt x="859695" y="20909"/>
                  <a:pt x="777939" y="43134"/>
                  <a:pt x="678720" y="89171"/>
                </a:cubicBezTo>
                <a:cubicBezTo>
                  <a:pt x="579501" y="135208"/>
                  <a:pt x="468377" y="202677"/>
                  <a:pt x="383446" y="284433"/>
                </a:cubicBezTo>
                <a:cubicBezTo>
                  <a:pt x="298515" y="366189"/>
                  <a:pt x="232633" y="449137"/>
                  <a:pt x="169133" y="579709"/>
                </a:cubicBezTo>
                <a:cubicBezTo>
                  <a:pt x="105633" y="710281"/>
                  <a:pt x="-18984" y="1018653"/>
                  <a:pt x="2447" y="1067865"/>
                </a:cubicBezTo>
                <a:lnTo>
                  <a:pt x="254858" y="94642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Rectangle: Top Corners Snipped 9">
            <a:extLst>
              <a:ext uri="{FF2B5EF4-FFF2-40B4-BE49-F238E27FC236}">
                <a16:creationId xmlns:a16="http://schemas.microsoft.com/office/drawing/2014/main" id="{AFB175F0-A591-4D92-928C-5069D456ADAB}"/>
              </a:ext>
            </a:extLst>
          </p:cNvPr>
          <p:cNvSpPr/>
          <p:nvPr/>
        </p:nvSpPr>
        <p:spPr bwMode="auto">
          <a:xfrm>
            <a:off x="5929802" y="4392817"/>
            <a:ext cx="103048" cy="470435"/>
          </a:xfrm>
          <a:prstGeom prst="snip2SameRect">
            <a:avLst>
              <a:gd name="adj1" fmla="val 19565"/>
              <a:gd name="adj2" fmla="val 0"/>
            </a:avLst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: Top Corners Snipped 10">
            <a:extLst>
              <a:ext uri="{FF2B5EF4-FFF2-40B4-BE49-F238E27FC236}">
                <a16:creationId xmlns:a16="http://schemas.microsoft.com/office/drawing/2014/main" id="{FD684723-C0DF-40FF-92B7-65C048F1252B}"/>
              </a:ext>
            </a:extLst>
          </p:cNvPr>
          <p:cNvSpPr/>
          <p:nvPr/>
        </p:nvSpPr>
        <p:spPr bwMode="auto">
          <a:xfrm>
            <a:off x="4061505" y="4392817"/>
            <a:ext cx="103048" cy="470435"/>
          </a:xfrm>
          <a:prstGeom prst="snip2SameRect">
            <a:avLst>
              <a:gd name="adj1" fmla="val 28080"/>
              <a:gd name="adj2" fmla="val 0"/>
            </a:avLst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7159EAA4-1FDE-40BB-8919-07231C439085}"/>
              </a:ext>
            </a:extLst>
          </p:cNvPr>
          <p:cNvSpPr/>
          <p:nvPr/>
        </p:nvSpPr>
        <p:spPr bwMode="auto">
          <a:xfrm>
            <a:off x="4487136" y="4044441"/>
            <a:ext cx="1120082" cy="343547"/>
          </a:xfrm>
          <a:prstGeom prst="blockArc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2FDB47B-79DE-4011-A819-D3A3A4E0B53D}"/>
              </a:ext>
            </a:extLst>
          </p:cNvPr>
          <p:cNvSpPr/>
          <p:nvPr/>
        </p:nvSpPr>
        <p:spPr bwMode="auto">
          <a:xfrm rot="726628">
            <a:off x="4651744" y="5203584"/>
            <a:ext cx="812164" cy="367903"/>
          </a:xfrm>
          <a:custGeom>
            <a:avLst/>
            <a:gdLst>
              <a:gd name="connsiteX0" fmla="*/ 0 w 1193006"/>
              <a:gd name="connsiteY0" fmla="*/ 188119 h 400050"/>
              <a:gd name="connsiteX1" fmla="*/ 90487 w 1193006"/>
              <a:gd name="connsiteY1" fmla="*/ 280987 h 400050"/>
              <a:gd name="connsiteX2" fmla="*/ 207168 w 1193006"/>
              <a:gd name="connsiteY2" fmla="*/ 357187 h 400050"/>
              <a:gd name="connsiteX3" fmla="*/ 350043 w 1193006"/>
              <a:gd name="connsiteY3" fmla="*/ 400050 h 400050"/>
              <a:gd name="connsiteX4" fmla="*/ 557212 w 1193006"/>
              <a:gd name="connsiteY4" fmla="*/ 400050 h 400050"/>
              <a:gd name="connsiteX5" fmla="*/ 733425 w 1193006"/>
              <a:gd name="connsiteY5" fmla="*/ 378619 h 400050"/>
              <a:gd name="connsiteX6" fmla="*/ 912018 w 1193006"/>
              <a:gd name="connsiteY6" fmla="*/ 330994 h 400050"/>
              <a:gd name="connsiteX7" fmla="*/ 1035843 w 1193006"/>
              <a:gd name="connsiteY7" fmla="*/ 261937 h 400050"/>
              <a:gd name="connsiteX8" fmla="*/ 1128712 w 1193006"/>
              <a:gd name="connsiteY8" fmla="*/ 178594 h 400050"/>
              <a:gd name="connsiteX9" fmla="*/ 1178718 w 1193006"/>
              <a:gd name="connsiteY9" fmla="*/ 71437 h 400050"/>
              <a:gd name="connsiteX10" fmla="*/ 1193006 w 1193006"/>
              <a:gd name="connsiteY10" fmla="*/ 0 h 400050"/>
              <a:gd name="connsiteX11" fmla="*/ 1078706 w 1193006"/>
              <a:gd name="connsiteY11" fmla="*/ 61912 h 400050"/>
              <a:gd name="connsiteX12" fmla="*/ 1116806 w 1193006"/>
              <a:gd name="connsiteY12" fmla="*/ 121444 h 400050"/>
              <a:gd name="connsiteX13" fmla="*/ 1052512 w 1193006"/>
              <a:gd name="connsiteY13" fmla="*/ 195262 h 400050"/>
              <a:gd name="connsiteX14" fmla="*/ 923925 w 1193006"/>
              <a:gd name="connsiteY14" fmla="*/ 257175 h 400050"/>
              <a:gd name="connsiteX15" fmla="*/ 766762 w 1193006"/>
              <a:gd name="connsiteY15" fmla="*/ 302419 h 400050"/>
              <a:gd name="connsiteX16" fmla="*/ 554831 w 1193006"/>
              <a:gd name="connsiteY16" fmla="*/ 340519 h 400050"/>
              <a:gd name="connsiteX17" fmla="*/ 369093 w 1193006"/>
              <a:gd name="connsiteY17" fmla="*/ 340519 h 400050"/>
              <a:gd name="connsiteX18" fmla="*/ 214312 w 1193006"/>
              <a:gd name="connsiteY18" fmla="*/ 311944 h 400050"/>
              <a:gd name="connsiteX19" fmla="*/ 135731 w 1193006"/>
              <a:gd name="connsiteY19" fmla="*/ 273844 h 400050"/>
              <a:gd name="connsiteX20" fmla="*/ 121443 w 1193006"/>
              <a:gd name="connsiteY20" fmla="*/ 204787 h 400050"/>
              <a:gd name="connsiteX21" fmla="*/ 0 w 1193006"/>
              <a:gd name="connsiteY21" fmla="*/ 188119 h 400050"/>
              <a:gd name="connsiteX0" fmla="*/ 0 w 1193006"/>
              <a:gd name="connsiteY0" fmla="*/ 188119 h 400050"/>
              <a:gd name="connsiteX1" fmla="*/ 90487 w 1193006"/>
              <a:gd name="connsiteY1" fmla="*/ 280987 h 400050"/>
              <a:gd name="connsiteX2" fmla="*/ 207168 w 1193006"/>
              <a:gd name="connsiteY2" fmla="*/ 357187 h 400050"/>
              <a:gd name="connsiteX3" fmla="*/ 350043 w 1193006"/>
              <a:gd name="connsiteY3" fmla="*/ 400050 h 400050"/>
              <a:gd name="connsiteX4" fmla="*/ 557212 w 1193006"/>
              <a:gd name="connsiteY4" fmla="*/ 400050 h 400050"/>
              <a:gd name="connsiteX5" fmla="*/ 733425 w 1193006"/>
              <a:gd name="connsiteY5" fmla="*/ 378619 h 400050"/>
              <a:gd name="connsiteX6" fmla="*/ 912018 w 1193006"/>
              <a:gd name="connsiteY6" fmla="*/ 330994 h 400050"/>
              <a:gd name="connsiteX7" fmla="*/ 1035843 w 1193006"/>
              <a:gd name="connsiteY7" fmla="*/ 261937 h 400050"/>
              <a:gd name="connsiteX8" fmla="*/ 1128712 w 1193006"/>
              <a:gd name="connsiteY8" fmla="*/ 178594 h 400050"/>
              <a:gd name="connsiteX9" fmla="*/ 1178718 w 1193006"/>
              <a:gd name="connsiteY9" fmla="*/ 71437 h 400050"/>
              <a:gd name="connsiteX10" fmla="*/ 1193006 w 1193006"/>
              <a:gd name="connsiteY10" fmla="*/ 0 h 400050"/>
              <a:gd name="connsiteX11" fmla="*/ 1075844 w 1193006"/>
              <a:gd name="connsiteY11" fmla="*/ 55316 h 400050"/>
              <a:gd name="connsiteX12" fmla="*/ 1116806 w 1193006"/>
              <a:gd name="connsiteY12" fmla="*/ 121444 h 400050"/>
              <a:gd name="connsiteX13" fmla="*/ 1052512 w 1193006"/>
              <a:gd name="connsiteY13" fmla="*/ 195262 h 400050"/>
              <a:gd name="connsiteX14" fmla="*/ 923925 w 1193006"/>
              <a:gd name="connsiteY14" fmla="*/ 257175 h 400050"/>
              <a:gd name="connsiteX15" fmla="*/ 766762 w 1193006"/>
              <a:gd name="connsiteY15" fmla="*/ 302419 h 400050"/>
              <a:gd name="connsiteX16" fmla="*/ 554831 w 1193006"/>
              <a:gd name="connsiteY16" fmla="*/ 340519 h 400050"/>
              <a:gd name="connsiteX17" fmla="*/ 369093 w 1193006"/>
              <a:gd name="connsiteY17" fmla="*/ 340519 h 400050"/>
              <a:gd name="connsiteX18" fmla="*/ 214312 w 1193006"/>
              <a:gd name="connsiteY18" fmla="*/ 311944 h 400050"/>
              <a:gd name="connsiteX19" fmla="*/ 135731 w 1193006"/>
              <a:gd name="connsiteY19" fmla="*/ 273844 h 400050"/>
              <a:gd name="connsiteX20" fmla="*/ 121443 w 1193006"/>
              <a:gd name="connsiteY20" fmla="*/ 204787 h 400050"/>
              <a:gd name="connsiteX21" fmla="*/ 0 w 119300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52512 w 1199556"/>
              <a:gd name="connsiteY13" fmla="*/ 195262 h 400050"/>
              <a:gd name="connsiteX14" fmla="*/ 923925 w 1199556"/>
              <a:gd name="connsiteY14" fmla="*/ 257175 h 400050"/>
              <a:gd name="connsiteX15" fmla="*/ 766762 w 1199556"/>
              <a:gd name="connsiteY15" fmla="*/ 302419 h 400050"/>
              <a:gd name="connsiteX16" fmla="*/ 554831 w 1199556"/>
              <a:gd name="connsiteY16" fmla="*/ 340519 h 400050"/>
              <a:gd name="connsiteX17" fmla="*/ 369093 w 1199556"/>
              <a:gd name="connsiteY17" fmla="*/ 340519 h 400050"/>
              <a:gd name="connsiteX18" fmla="*/ 214312 w 1199556"/>
              <a:gd name="connsiteY18" fmla="*/ 311944 h 400050"/>
              <a:gd name="connsiteX19" fmla="*/ 135731 w 1199556"/>
              <a:gd name="connsiteY19" fmla="*/ 273844 h 400050"/>
              <a:gd name="connsiteX20" fmla="*/ 121443 w 1199556"/>
              <a:gd name="connsiteY20" fmla="*/ 204787 h 400050"/>
              <a:gd name="connsiteX21" fmla="*/ 0 w 119955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29619 w 1199556"/>
              <a:gd name="connsiteY13" fmla="*/ 185367 h 400050"/>
              <a:gd name="connsiteX14" fmla="*/ 923925 w 1199556"/>
              <a:gd name="connsiteY14" fmla="*/ 257175 h 400050"/>
              <a:gd name="connsiteX15" fmla="*/ 766762 w 1199556"/>
              <a:gd name="connsiteY15" fmla="*/ 302419 h 400050"/>
              <a:gd name="connsiteX16" fmla="*/ 554831 w 1199556"/>
              <a:gd name="connsiteY16" fmla="*/ 340519 h 400050"/>
              <a:gd name="connsiteX17" fmla="*/ 369093 w 1199556"/>
              <a:gd name="connsiteY17" fmla="*/ 340519 h 400050"/>
              <a:gd name="connsiteX18" fmla="*/ 214312 w 1199556"/>
              <a:gd name="connsiteY18" fmla="*/ 311944 h 400050"/>
              <a:gd name="connsiteX19" fmla="*/ 135731 w 1199556"/>
              <a:gd name="connsiteY19" fmla="*/ 273844 h 400050"/>
              <a:gd name="connsiteX20" fmla="*/ 121443 w 1199556"/>
              <a:gd name="connsiteY20" fmla="*/ 204787 h 400050"/>
              <a:gd name="connsiteX21" fmla="*/ 0 w 119955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29619 w 1199556"/>
              <a:gd name="connsiteY13" fmla="*/ 185367 h 400050"/>
              <a:gd name="connsiteX14" fmla="*/ 909617 w 1199556"/>
              <a:gd name="connsiteY14" fmla="*/ 250578 h 400050"/>
              <a:gd name="connsiteX15" fmla="*/ 766762 w 1199556"/>
              <a:gd name="connsiteY15" fmla="*/ 302419 h 400050"/>
              <a:gd name="connsiteX16" fmla="*/ 554831 w 1199556"/>
              <a:gd name="connsiteY16" fmla="*/ 340519 h 400050"/>
              <a:gd name="connsiteX17" fmla="*/ 369093 w 1199556"/>
              <a:gd name="connsiteY17" fmla="*/ 340519 h 400050"/>
              <a:gd name="connsiteX18" fmla="*/ 214312 w 1199556"/>
              <a:gd name="connsiteY18" fmla="*/ 311944 h 400050"/>
              <a:gd name="connsiteX19" fmla="*/ 135731 w 1199556"/>
              <a:gd name="connsiteY19" fmla="*/ 273844 h 400050"/>
              <a:gd name="connsiteX20" fmla="*/ 121443 w 1199556"/>
              <a:gd name="connsiteY20" fmla="*/ 204787 h 400050"/>
              <a:gd name="connsiteX21" fmla="*/ 0 w 119955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29619 w 1199556"/>
              <a:gd name="connsiteY13" fmla="*/ 185367 h 400050"/>
              <a:gd name="connsiteX14" fmla="*/ 909617 w 1199556"/>
              <a:gd name="connsiteY14" fmla="*/ 250578 h 400050"/>
              <a:gd name="connsiteX15" fmla="*/ 762469 w 1199556"/>
              <a:gd name="connsiteY15" fmla="*/ 298021 h 400050"/>
              <a:gd name="connsiteX16" fmla="*/ 554831 w 1199556"/>
              <a:gd name="connsiteY16" fmla="*/ 340519 h 400050"/>
              <a:gd name="connsiteX17" fmla="*/ 369093 w 1199556"/>
              <a:gd name="connsiteY17" fmla="*/ 340519 h 400050"/>
              <a:gd name="connsiteX18" fmla="*/ 214312 w 1199556"/>
              <a:gd name="connsiteY18" fmla="*/ 311944 h 400050"/>
              <a:gd name="connsiteX19" fmla="*/ 135731 w 1199556"/>
              <a:gd name="connsiteY19" fmla="*/ 273844 h 400050"/>
              <a:gd name="connsiteX20" fmla="*/ 121443 w 1199556"/>
              <a:gd name="connsiteY20" fmla="*/ 204787 h 400050"/>
              <a:gd name="connsiteX21" fmla="*/ 0 w 119955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29619 w 1199556"/>
              <a:gd name="connsiteY13" fmla="*/ 185367 h 400050"/>
              <a:gd name="connsiteX14" fmla="*/ 909617 w 1199556"/>
              <a:gd name="connsiteY14" fmla="*/ 250578 h 400050"/>
              <a:gd name="connsiteX15" fmla="*/ 762469 w 1199556"/>
              <a:gd name="connsiteY15" fmla="*/ 303518 h 400050"/>
              <a:gd name="connsiteX16" fmla="*/ 554831 w 1199556"/>
              <a:gd name="connsiteY16" fmla="*/ 340519 h 400050"/>
              <a:gd name="connsiteX17" fmla="*/ 369093 w 1199556"/>
              <a:gd name="connsiteY17" fmla="*/ 340519 h 400050"/>
              <a:gd name="connsiteX18" fmla="*/ 214312 w 1199556"/>
              <a:gd name="connsiteY18" fmla="*/ 311944 h 400050"/>
              <a:gd name="connsiteX19" fmla="*/ 135731 w 1199556"/>
              <a:gd name="connsiteY19" fmla="*/ 273844 h 400050"/>
              <a:gd name="connsiteX20" fmla="*/ 121443 w 1199556"/>
              <a:gd name="connsiteY20" fmla="*/ 204787 h 400050"/>
              <a:gd name="connsiteX21" fmla="*/ 0 w 119955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29619 w 1199556"/>
              <a:gd name="connsiteY13" fmla="*/ 185367 h 400050"/>
              <a:gd name="connsiteX14" fmla="*/ 909617 w 1199556"/>
              <a:gd name="connsiteY14" fmla="*/ 250578 h 400050"/>
              <a:gd name="connsiteX15" fmla="*/ 762469 w 1199556"/>
              <a:gd name="connsiteY15" fmla="*/ 303518 h 400050"/>
              <a:gd name="connsiteX16" fmla="*/ 554831 w 1199556"/>
              <a:gd name="connsiteY16" fmla="*/ 340519 h 400050"/>
              <a:gd name="connsiteX17" fmla="*/ 367662 w 1199556"/>
              <a:gd name="connsiteY17" fmla="*/ 333923 h 400050"/>
              <a:gd name="connsiteX18" fmla="*/ 214312 w 1199556"/>
              <a:gd name="connsiteY18" fmla="*/ 311944 h 400050"/>
              <a:gd name="connsiteX19" fmla="*/ 135731 w 1199556"/>
              <a:gd name="connsiteY19" fmla="*/ 273844 h 400050"/>
              <a:gd name="connsiteX20" fmla="*/ 121443 w 1199556"/>
              <a:gd name="connsiteY20" fmla="*/ 204787 h 400050"/>
              <a:gd name="connsiteX21" fmla="*/ 0 w 119955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29619 w 1199556"/>
              <a:gd name="connsiteY13" fmla="*/ 185367 h 400050"/>
              <a:gd name="connsiteX14" fmla="*/ 909617 w 1199556"/>
              <a:gd name="connsiteY14" fmla="*/ 250578 h 400050"/>
              <a:gd name="connsiteX15" fmla="*/ 762469 w 1199556"/>
              <a:gd name="connsiteY15" fmla="*/ 303518 h 400050"/>
              <a:gd name="connsiteX16" fmla="*/ 554831 w 1199556"/>
              <a:gd name="connsiteY16" fmla="*/ 340519 h 400050"/>
              <a:gd name="connsiteX17" fmla="*/ 367662 w 1199556"/>
              <a:gd name="connsiteY17" fmla="*/ 333923 h 400050"/>
              <a:gd name="connsiteX18" fmla="*/ 228619 w 1199556"/>
              <a:gd name="connsiteY18" fmla="*/ 305347 h 400050"/>
              <a:gd name="connsiteX19" fmla="*/ 135731 w 1199556"/>
              <a:gd name="connsiteY19" fmla="*/ 273844 h 400050"/>
              <a:gd name="connsiteX20" fmla="*/ 121443 w 1199556"/>
              <a:gd name="connsiteY20" fmla="*/ 204787 h 400050"/>
              <a:gd name="connsiteX21" fmla="*/ 0 w 119955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29619 w 1199556"/>
              <a:gd name="connsiteY13" fmla="*/ 185367 h 400050"/>
              <a:gd name="connsiteX14" fmla="*/ 909617 w 1199556"/>
              <a:gd name="connsiteY14" fmla="*/ 250578 h 400050"/>
              <a:gd name="connsiteX15" fmla="*/ 762469 w 1199556"/>
              <a:gd name="connsiteY15" fmla="*/ 303518 h 400050"/>
              <a:gd name="connsiteX16" fmla="*/ 554831 w 1199556"/>
              <a:gd name="connsiteY16" fmla="*/ 340519 h 400050"/>
              <a:gd name="connsiteX17" fmla="*/ 367662 w 1199556"/>
              <a:gd name="connsiteY17" fmla="*/ 333923 h 400050"/>
              <a:gd name="connsiteX18" fmla="*/ 228619 w 1199556"/>
              <a:gd name="connsiteY18" fmla="*/ 305347 h 400050"/>
              <a:gd name="connsiteX19" fmla="*/ 148608 w 1199556"/>
              <a:gd name="connsiteY19" fmla="*/ 270546 h 400050"/>
              <a:gd name="connsiteX20" fmla="*/ 121443 w 1199556"/>
              <a:gd name="connsiteY20" fmla="*/ 204787 h 400050"/>
              <a:gd name="connsiteX21" fmla="*/ 0 w 1199556"/>
              <a:gd name="connsiteY21" fmla="*/ 188119 h 400050"/>
              <a:gd name="connsiteX0" fmla="*/ 0 w 1199556"/>
              <a:gd name="connsiteY0" fmla="*/ 188119 h 400050"/>
              <a:gd name="connsiteX1" fmla="*/ 90487 w 1199556"/>
              <a:gd name="connsiteY1" fmla="*/ 280987 h 400050"/>
              <a:gd name="connsiteX2" fmla="*/ 207168 w 1199556"/>
              <a:gd name="connsiteY2" fmla="*/ 357187 h 400050"/>
              <a:gd name="connsiteX3" fmla="*/ 350043 w 1199556"/>
              <a:gd name="connsiteY3" fmla="*/ 400050 h 400050"/>
              <a:gd name="connsiteX4" fmla="*/ 557212 w 1199556"/>
              <a:gd name="connsiteY4" fmla="*/ 400050 h 400050"/>
              <a:gd name="connsiteX5" fmla="*/ 733425 w 1199556"/>
              <a:gd name="connsiteY5" fmla="*/ 378619 h 400050"/>
              <a:gd name="connsiteX6" fmla="*/ 912018 w 1199556"/>
              <a:gd name="connsiteY6" fmla="*/ 330994 h 400050"/>
              <a:gd name="connsiteX7" fmla="*/ 1035843 w 1199556"/>
              <a:gd name="connsiteY7" fmla="*/ 261937 h 400050"/>
              <a:gd name="connsiteX8" fmla="*/ 1128712 w 1199556"/>
              <a:gd name="connsiteY8" fmla="*/ 178594 h 400050"/>
              <a:gd name="connsiteX9" fmla="*/ 1178718 w 1199556"/>
              <a:gd name="connsiteY9" fmla="*/ 71437 h 400050"/>
              <a:gd name="connsiteX10" fmla="*/ 1193006 w 1199556"/>
              <a:gd name="connsiteY10" fmla="*/ 0 h 400050"/>
              <a:gd name="connsiteX11" fmla="*/ 1075844 w 1199556"/>
              <a:gd name="connsiteY11" fmla="*/ 55316 h 400050"/>
              <a:gd name="connsiteX12" fmla="*/ 1116806 w 1199556"/>
              <a:gd name="connsiteY12" fmla="*/ 121444 h 400050"/>
              <a:gd name="connsiteX13" fmla="*/ 1029619 w 1199556"/>
              <a:gd name="connsiteY13" fmla="*/ 185367 h 400050"/>
              <a:gd name="connsiteX14" fmla="*/ 909617 w 1199556"/>
              <a:gd name="connsiteY14" fmla="*/ 250578 h 400050"/>
              <a:gd name="connsiteX15" fmla="*/ 762469 w 1199556"/>
              <a:gd name="connsiteY15" fmla="*/ 303518 h 400050"/>
              <a:gd name="connsiteX16" fmla="*/ 554831 w 1199556"/>
              <a:gd name="connsiteY16" fmla="*/ 340519 h 400050"/>
              <a:gd name="connsiteX17" fmla="*/ 367662 w 1199556"/>
              <a:gd name="connsiteY17" fmla="*/ 333923 h 400050"/>
              <a:gd name="connsiteX18" fmla="*/ 228619 w 1199556"/>
              <a:gd name="connsiteY18" fmla="*/ 305347 h 400050"/>
              <a:gd name="connsiteX19" fmla="*/ 148608 w 1199556"/>
              <a:gd name="connsiteY19" fmla="*/ 270546 h 400050"/>
              <a:gd name="connsiteX20" fmla="*/ 138612 w 1199556"/>
              <a:gd name="connsiteY20" fmla="*/ 197091 h 400050"/>
              <a:gd name="connsiteX21" fmla="*/ 0 w 1199556"/>
              <a:gd name="connsiteY21" fmla="*/ 188119 h 400050"/>
              <a:gd name="connsiteX0" fmla="*/ 0 w 1188110"/>
              <a:gd name="connsiteY0" fmla="*/ 173826 h 400050"/>
              <a:gd name="connsiteX1" fmla="*/ 79041 w 1188110"/>
              <a:gd name="connsiteY1" fmla="*/ 280987 h 400050"/>
              <a:gd name="connsiteX2" fmla="*/ 195722 w 1188110"/>
              <a:gd name="connsiteY2" fmla="*/ 357187 h 400050"/>
              <a:gd name="connsiteX3" fmla="*/ 338597 w 1188110"/>
              <a:gd name="connsiteY3" fmla="*/ 400050 h 400050"/>
              <a:gd name="connsiteX4" fmla="*/ 545766 w 1188110"/>
              <a:gd name="connsiteY4" fmla="*/ 400050 h 400050"/>
              <a:gd name="connsiteX5" fmla="*/ 721979 w 1188110"/>
              <a:gd name="connsiteY5" fmla="*/ 378619 h 400050"/>
              <a:gd name="connsiteX6" fmla="*/ 900572 w 1188110"/>
              <a:gd name="connsiteY6" fmla="*/ 330994 h 400050"/>
              <a:gd name="connsiteX7" fmla="*/ 1024397 w 1188110"/>
              <a:gd name="connsiteY7" fmla="*/ 261937 h 400050"/>
              <a:gd name="connsiteX8" fmla="*/ 1117266 w 1188110"/>
              <a:gd name="connsiteY8" fmla="*/ 178594 h 400050"/>
              <a:gd name="connsiteX9" fmla="*/ 1167272 w 1188110"/>
              <a:gd name="connsiteY9" fmla="*/ 71437 h 400050"/>
              <a:gd name="connsiteX10" fmla="*/ 1181560 w 1188110"/>
              <a:gd name="connsiteY10" fmla="*/ 0 h 400050"/>
              <a:gd name="connsiteX11" fmla="*/ 1064398 w 1188110"/>
              <a:gd name="connsiteY11" fmla="*/ 55316 h 400050"/>
              <a:gd name="connsiteX12" fmla="*/ 1105360 w 1188110"/>
              <a:gd name="connsiteY12" fmla="*/ 121444 h 400050"/>
              <a:gd name="connsiteX13" fmla="*/ 1018173 w 1188110"/>
              <a:gd name="connsiteY13" fmla="*/ 185367 h 400050"/>
              <a:gd name="connsiteX14" fmla="*/ 898171 w 1188110"/>
              <a:gd name="connsiteY14" fmla="*/ 250578 h 400050"/>
              <a:gd name="connsiteX15" fmla="*/ 751023 w 1188110"/>
              <a:gd name="connsiteY15" fmla="*/ 303518 h 400050"/>
              <a:gd name="connsiteX16" fmla="*/ 543385 w 1188110"/>
              <a:gd name="connsiteY16" fmla="*/ 340519 h 400050"/>
              <a:gd name="connsiteX17" fmla="*/ 356216 w 1188110"/>
              <a:gd name="connsiteY17" fmla="*/ 333923 h 400050"/>
              <a:gd name="connsiteX18" fmla="*/ 217173 w 1188110"/>
              <a:gd name="connsiteY18" fmla="*/ 305347 h 400050"/>
              <a:gd name="connsiteX19" fmla="*/ 137162 w 1188110"/>
              <a:gd name="connsiteY19" fmla="*/ 270546 h 400050"/>
              <a:gd name="connsiteX20" fmla="*/ 127166 w 1188110"/>
              <a:gd name="connsiteY20" fmla="*/ 197091 h 400050"/>
              <a:gd name="connsiteX21" fmla="*/ 0 w 1188110"/>
              <a:gd name="connsiteY21" fmla="*/ 173826 h 400050"/>
              <a:gd name="connsiteX0" fmla="*/ 0 w 1175233"/>
              <a:gd name="connsiteY0" fmla="*/ 171628 h 400050"/>
              <a:gd name="connsiteX1" fmla="*/ 66164 w 1175233"/>
              <a:gd name="connsiteY1" fmla="*/ 280987 h 400050"/>
              <a:gd name="connsiteX2" fmla="*/ 182845 w 1175233"/>
              <a:gd name="connsiteY2" fmla="*/ 357187 h 400050"/>
              <a:gd name="connsiteX3" fmla="*/ 325720 w 1175233"/>
              <a:gd name="connsiteY3" fmla="*/ 400050 h 400050"/>
              <a:gd name="connsiteX4" fmla="*/ 532889 w 1175233"/>
              <a:gd name="connsiteY4" fmla="*/ 400050 h 400050"/>
              <a:gd name="connsiteX5" fmla="*/ 709102 w 1175233"/>
              <a:gd name="connsiteY5" fmla="*/ 378619 h 400050"/>
              <a:gd name="connsiteX6" fmla="*/ 887695 w 1175233"/>
              <a:gd name="connsiteY6" fmla="*/ 330994 h 400050"/>
              <a:gd name="connsiteX7" fmla="*/ 1011520 w 1175233"/>
              <a:gd name="connsiteY7" fmla="*/ 261937 h 400050"/>
              <a:gd name="connsiteX8" fmla="*/ 1104389 w 1175233"/>
              <a:gd name="connsiteY8" fmla="*/ 178594 h 400050"/>
              <a:gd name="connsiteX9" fmla="*/ 1154395 w 1175233"/>
              <a:gd name="connsiteY9" fmla="*/ 71437 h 400050"/>
              <a:gd name="connsiteX10" fmla="*/ 1168683 w 1175233"/>
              <a:gd name="connsiteY10" fmla="*/ 0 h 400050"/>
              <a:gd name="connsiteX11" fmla="*/ 1051521 w 1175233"/>
              <a:gd name="connsiteY11" fmla="*/ 55316 h 400050"/>
              <a:gd name="connsiteX12" fmla="*/ 1092483 w 1175233"/>
              <a:gd name="connsiteY12" fmla="*/ 121444 h 400050"/>
              <a:gd name="connsiteX13" fmla="*/ 1005296 w 1175233"/>
              <a:gd name="connsiteY13" fmla="*/ 185367 h 400050"/>
              <a:gd name="connsiteX14" fmla="*/ 885294 w 1175233"/>
              <a:gd name="connsiteY14" fmla="*/ 250578 h 400050"/>
              <a:gd name="connsiteX15" fmla="*/ 738146 w 1175233"/>
              <a:gd name="connsiteY15" fmla="*/ 303518 h 400050"/>
              <a:gd name="connsiteX16" fmla="*/ 530508 w 1175233"/>
              <a:gd name="connsiteY16" fmla="*/ 340519 h 400050"/>
              <a:gd name="connsiteX17" fmla="*/ 343339 w 1175233"/>
              <a:gd name="connsiteY17" fmla="*/ 333923 h 400050"/>
              <a:gd name="connsiteX18" fmla="*/ 204296 w 1175233"/>
              <a:gd name="connsiteY18" fmla="*/ 305347 h 400050"/>
              <a:gd name="connsiteX19" fmla="*/ 124285 w 1175233"/>
              <a:gd name="connsiteY19" fmla="*/ 270546 h 400050"/>
              <a:gd name="connsiteX20" fmla="*/ 114289 w 1175233"/>
              <a:gd name="connsiteY20" fmla="*/ 197091 h 400050"/>
              <a:gd name="connsiteX21" fmla="*/ 0 w 1175233"/>
              <a:gd name="connsiteY21" fmla="*/ 171628 h 400050"/>
              <a:gd name="connsiteX0" fmla="*/ 0 w 1175233"/>
              <a:gd name="connsiteY0" fmla="*/ 171628 h 400050"/>
              <a:gd name="connsiteX1" fmla="*/ 74748 w 1175233"/>
              <a:gd name="connsiteY1" fmla="*/ 284286 h 400050"/>
              <a:gd name="connsiteX2" fmla="*/ 182845 w 1175233"/>
              <a:gd name="connsiteY2" fmla="*/ 357187 h 400050"/>
              <a:gd name="connsiteX3" fmla="*/ 325720 w 1175233"/>
              <a:gd name="connsiteY3" fmla="*/ 400050 h 400050"/>
              <a:gd name="connsiteX4" fmla="*/ 532889 w 1175233"/>
              <a:gd name="connsiteY4" fmla="*/ 400050 h 400050"/>
              <a:gd name="connsiteX5" fmla="*/ 709102 w 1175233"/>
              <a:gd name="connsiteY5" fmla="*/ 378619 h 400050"/>
              <a:gd name="connsiteX6" fmla="*/ 887695 w 1175233"/>
              <a:gd name="connsiteY6" fmla="*/ 330994 h 400050"/>
              <a:gd name="connsiteX7" fmla="*/ 1011520 w 1175233"/>
              <a:gd name="connsiteY7" fmla="*/ 261937 h 400050"/>
              <a:gd name="connsiteX8" fmla="*/ 1104389 w 1175233"/>
              <a:gd name="connsiteY8" fmla="*/ 178594 h 400050"/>
              <a:gd name="connsiteX9" fmla="*/ 1154395 w 1175233"/>
              <a:gd name="connsiteY9" fmla="*/ 71437 h 400050"/>
              <a:gd name="connsiteX10" fmla="*/ 1168683 w 1175233"/>
              <a:gd name="connsiteY10" fmla="*/ 0 h 400050"/>
              <a:gd name="connsiteX11" fmla="*/ 1051521 w 1175233"/>
              <a:gd name="connsiteY11" fmla="*/ 55316 h 400050"/>
              <a:gd name="connsiteX12" fmla="*/ 1092483 w 1175233"/>
              <a:gd name="connsiteY12" fmla="*/ 121444 h 400050"/>
              <a:gd name="connsiteX13" fmla="*/ 1005296 w 1175233"/>
              <a:gd name="connsiteY13" fmla="*/ 185367 h 400050"/>
              <a:gd name="connsiteX14" fmla="*/ 885294 w 1175233"/>
              <a:gd name="connsiteY14" fmla="*/ 250578 h 400050"/>
              <a:gd name="connsiteX15" fmla="*/ 738146 w 1175233"/>
              <a:gd name="connsiteY15" fmla="*/ 303518 h 400050"/>
              <a:gd name="connsiteX16" fmla="*/ 530508 w 1175233"/>
              <a:gd name="connsiteY16" fmla="*/ 340519 h 400050"/>
              <a:gd name="connsiteX17" fmla="*/ 343339 w 1175233"/>
              <a:gd name="connsiteY17" fmla="*/ 333923 h 400050"/>
              <a:gd name="connsiteX18" fmla="*/ 204296 w 1175233"/>
              <a:gd name="connsiteY18" fmla="*/ 305347 h 400050"/>
              <a:gd name="connsiteX19" fmla="*/ 124285 w 1175233"/>
              <a:gd name="connsiteY19" fmla="*/ 270546 h 400050"/>
              <a:gd name="connsiteX20" fmla="*/ 114289 w 1175233"/>
              <a:gd name="connsiteY20" fmla="*/ 197091 h 400050"/>
              <a:gd name="connsiteX21" fmla="*/ 0 w 1175233"/>
              <a:gd name="connsiteY21" fmla="*/ 171628 h 400050"/>
              <a:gd name="connsiteX0" fmla="*/ 0 w 1175233"/>
              <a:gd name="connsiteY0" fmla="*/ 171628 h 400050"/>
              <a:gd name="connsiteX1" fmla="*/ 74748 w 1175233"/>
              <a:gd name="connsiteY1" fmla="*/ 284286 h 400050"/>
              <a:gd name="connsiteX2" fmla="*/ 211461 w 1175233"/>
              <a:gd name="connsiteY2" fmla="*/ 361585 h 400050"/>
              <a:gd name="connsiteX3" fmla="*/ 325720 w 1175233"/>
              <a:gd name="connsiteY3" fmla="*/ 400050 h 400050"/>
              <a:gd name="connsiteX4" fmla="*/ 532889 w 1175233"/>
              <a:gd name="connsiteY4" fmla="*/ 400050 h 400050"/>
              <a:gd name="connsiteX5" fmla="*/ 709102 w 1175233"/>
              <a:gd name="connsiteY5" fmla="*/ 378619 h 400050"/>
              <a:gd name="connsiteX6" fmla="*/ 887695 w 1175233"/>
              <a:gd name="connsiteY6" fmla="*/ 330994 h 400050"/>
              <a:gd name="connsiteX7" fmla="*/ 1011520 w 1175233"/>
              <a:gd name="connsiteY7" fmla="*/ 261937 h 400050"/>
              <a:gd name="connsiteX8" fmla="*/ 1104389 w 1175233"/>
              <a:gd name="connsiteY8" fmla="*/ 178594 h 400050"/>
              <a:gd name="connsiteX9" fmla="*/ 1154395 w 1175233"/>
              <a:gd name="connsiteY9" fmla="*/ 71437 h 400050"/>
              <a:gd name="connsiteX10" fmla="*/ 1168683 w 1175233"/>
              <a:gd name="connsiteY10" fmla="*/ 0 h 400050"/>
              <a:gd name="connsiteX11" fmla="*/ 1051521 w 1175233"/>
              <a:gd name="connsiteY11" fmla="*/ 55316 h 400050"/>
              <a:gd name="connsiteX12" fmla="*/ 1092483 w 1175233"/>
              <a:gd name="connsiteY12" fmla="*/ 121444 h 400050"/>
              <a:gd name="connsiteX13" fmla="*/ 1005296 w 1175233"/>
              <a:gd name="connsiteY13" fmla="*/ 185367 h 400050"/>
              <a:gd name="connsiteX14" fmla="*/ 885294 w 1175233"/>
              <a:gd name="connsiteY14" fmla="*/ 250578 h 400050"/>
              <a:gd name="connsiteX15" fmla="*/ 738146 w 1175233"/>
              <a:gd name="connsiteY15" fmla="*/ 303518 h 400050"/>
              <a:gd name="connsiteX16" fmla="*/ 530508 w 1175233"/>
              <a:gd name="connsiteY16" fmla="*/ 340519 h 400050"/>
              <a:gd name="connsiteX17" fmla="*/ 343339 w 1175233"/>
              <a:gd name="connsiteY17" fmla="*/ 333923 h 400050"/>
              <a:gd name="connsiteX18" fmla="*/ 204296 w 1175233"/>
              <a:gd name="connsiteY18" fmla="*/ 305347 h 400050"/>
              <a:gd name="connsiteX19" fmla="*/ 124285 w 1175233"/>
              <a:gd name="connsiteY19" fmla="*/ 270546 h 400050"/>
              <a:gd name="connsiteX20" fmla="*/ 114289 w 1175233"/>
              <a:gd name="connsiteY20" fmla="*/ 197091 h 400050"/>
              <a:gd name="connsiteX21" fmla="*/ 0 w 1175233"/>
              <a:gd name="connsiteY21" fmla="*/ 171628 h 400050"/>
              <a:gd name="connsiteX0" fmla="*/ 0 w 1175233"/>
              <a:gd name="connsiteY0" fmla="*/ 171628 h 400050"/>
              <a:gd name="connsiteX1" fmla="*/ 74748 w 1175233"/>
              <a:gd name="connsiteY1" fmla="*/ 284286 h 400050"/>
              <a:gd name="connsiteX2" fmla="*/ 211461 w 1175233"/>
              <a:gd name="connsiteY2" fmla="*/ 361585 h 400050"/>
              <a:gd name="connsiteX3" fmla="*/ 338597 w 1175233"/>
              <a:gd name="connsiteY3" fmla="*/ 400050 h 400050"/>
              <a:gd name="connsiteX4" fmla="*/ 532889 w 1175233"/>
              <a:gd name="connsiteY4" fmla="*/ 400050 h 400050"/>
              <a:gd name="connsiteX5" fmla="*/ 709102 w 1175233"/>
              <a:gd name="connsiteY5" fmla="*/ 378619 h 400050"/>
              <a:gd name="connsiteX6" fmla="*/ 887695 w 1175233"/>
              <a:gd name="connsiteY6" fmla="*/ 330994 h 400050"/>
              <a:gd name="connsiteX7" fmla="*/ 1011520 w 1175233"/>
              <a:gd name="connsiteY7" fmla="*/ 261937 h 400050"/>
              <a:gd name="connsiteX8" fmla="*/ 1104389 w 1175233"/>
              <a:gd name="connsiteY8" fmla="*/ 178594 h 400050"/>
              <a:gd name="connsiteX9" fmla="*/ 1154395 w 1175233"/>
              <a:gd name="connsiteY9" fmla="*/ 71437 h 400050"/>
              <a:gd name="connsiteX10" fmla="*/ 1168683 w 1175233"/>
              <a:gd name="connsiteY10" fmla="*/ 0 h 400050"/>
              <a:gd name="connsiteX11" fmla="*/ 1051521 w 1175233"/>
              <a:gd name="connsiteY11" fmla="*/ 55316 h 400050"/>
              <a:gd name="connsiteX12" fmla="*/ 1092483 w 1175233"/>
              <a:gd name="connsiteY12" fmla="*/ 121444 h 400050"/>
              <a:gd name="connsiteX13" fmla="*/ 1005296 w 1175233"/>
              <a:gd name="connsiteY13" fmla="*/ 185367 h 400050"/>
              <a:gd name="connsiteX14" fmla="*/ 885294 w 1175233"/>
              <a:gd name="connsiteY14" fmla="*/ 250578 h 400050"/>
              <a:gd name="connsiteX15" fmla="*/ 738146 w 1175233"/>
              <a:gd name="connsiteY15" fmla="*/ 303518 h 400050"/>
              <a:gd name="connsiteX16" fmla="*/ 530508 w 1175233"/>
              <a:gd name="connsiteY16" fmla="*/ 340519 h 400050"/>
              <a:gd name="connsiteX17" fmla="*/ 343339 w 1175233"/>
              <a:gd name="connsiteY17" fmla="*/ 333923 h 400050"/>
              <a:gd name="connsiteX18" fmla="*/ 204296 w 1175233"/>
              <a:gd name="connsiteY18" fmla="*/ 305347 h 400050"/>
              <a:gd name="connsiteX19" fmla="*/ 124285 w 1175233"/>
              <a:gd name="connsiteY19" fmla="*/ 270546 h 400050"/>
              <a:gd name="connsiteX20" fmla="*/ 114289 w 1175233"/>
              <a:gd name="connsiteY20" fmla="*/ 197091 h 400050"/>
              <a:gd name="connsiteX21" fmla="*/ 0 w 1175233"/>
              <a:gd name="connsiteY21" fmla="*/ 171628 h 400050"/>
              <a:gd name="connsiteX0" fmla="*/ 0 w 1175233"/>
              <a:gd name="connsiteY0" fmla="*/ 171628 h 403348"/>
              <a:gd name="connsiteX1" fmla="*/ 74748 w 1175233"/>
              <a:gd name="connsiteY1" fmla="*/ 284286 h 403348"/>
              <a:gd name="connsiteX2" fmla="*/ 211461 w 1175233"/>
              <a:gd name="connsiteY2" fmla="*/ 361585 h 403348"/>
              <a:gd name="connsiteX3" fmla="*/ 338597 w 1175233"/>
              <a:gd name="connsiteY3" fmla="*/ 400050 h 403348"/>
              <a:gd name="connsiteX4" fmla="*/ 562935 w 1175233"/>
              <a:gd name="connsiteY4" fmla="*/ 403348 h 403348"/>
              <a:gd name="connsiteX5" fmla="*/ 709102 w 1175233"/>
              <a:gd name="connsiteY5" fmla="*/ 378619 h 403348"/>
              <a:gd name="connsiteX6" fmla="*/ 887695 w 1175233"/>
              <a:gd name="connsiteY6" fmla="*/ 330994 h 403348"/>
              <a:gd name="connsiteX7" fmla="*/ 1011520 w 1175233"/>
              <a:gd name="connsiteY7" fmla="*/ 261937 h 403348"/>
              <a:gd name="connsiteX8" fmla="*/ 1104389 w 1175233"/>
              <a:gd name="connsiteY8" fmla="*/ 178594 h 403348"/>
              <a:gd name="connsiteX9" fmla="*/ 1154395 w 1175233"/>
              <a:gd name="connsiteY9" fmla="*/ 71437 h 403348"/>
              <a:gd name="connsiteX10" fmla="*/ 1168683 w 1175233"/>
              <a:gd name="connsiteY10" fmla="*/ 0 h 403348"/>
              <a:gd name="connsiteX11" fmla="*/ 1051521 w 1175233"/>
              <a:gd name="connsiteY11" fmla="*/ 55316 h 403348"/>
              <a:gd name="connsiteX12" fmla="*/ 1092483 w 1175233"/>
              <a:gd name="connsiteY12" fmla="*/ 121444 h 403348"/>
              <a:gd name="connsiteX13" fmla="*/ 1005296 w 1175233"/>
              <a:gd name="connsiteY13" fmla="*/ 185367 h 403348"/>
              <a:gd name="connsiteX14" fmla="*/ 885294 w 1175233"/>
              <a:gd name="connsiteY14" fmla="*/ 250578 h 403348"/>
              <a:gd name="connsiteX15" fmla="*/ 738146 w 1175233"/>
              <a:gd name="connsiteY15" fmla="*/ 303518 h 403348"/>
              <a:gd name="connsiteX16" fmla="*/ 530508 w 1175233"/>
              <a:gd name="connsiteY16" fmla="*/ 340519 h 403348"/>
              <a:gd name="connsiteX17" fmla="*/ 343339 w 1175233"/>
              <a:gd name="connsiteY17" fmla="*/ 333923 h 403348"/>
              <a:gd name="connsiteX18" fmla="*/ 204296 w 1175233"/>
              <a:gd name="connsiteY18" fmla="*/ 305347 h 403348"/>
              <a:gd name="connsiteX19" fmla="*/ 124285 w 1175233"/>
              <a:gd name="connsiteY19" fmla="*/ 270546 h 403348"/>
              <a:gd name="connsiteX20" fmla="*/ 114289 w 1175233"/>
              <a:gd name="connsiteY20" fmla="*/ 197091 h 403348"/>
              <a:gd name="connsiteX21" fmla="*/ 0 w 1175233"/>
              <a:gd name="connsiteY21" fmla="*/ 171628 h 403348"/>
              <a:gd name="connsiteX0" fmla="*/ 0 w 1175233"/>
              <a:gd name="connsiteY0" fmla="*/ 171628 h 403348"/>
              <a:gd name="connsiteX1" fmla="*/ 74748 w 1175233"/>
              <a:gd name="connsiteY1" fmla="*/ 284286 h 403348"/>
              <a:gd name="connsiteX2" fmla="*/ 211461 w 1175233"/>
              <a:gd name="connsiteY2" fmla="*/ 361585 h 403348"/>
              <a:gd name="connsiteX3" fmla="*/ 338597 w 1175233"/>
              <a:gd name="connsiteY3" fmla="*/ 400050 h 403348"/>
              <a:gd name="connsiteX4" fmla="*/ 562935 w 1175233"/>
              <a:gd name="connsiteY4" fmla="*/ 403348 h 403348"/>
              <a:gd name="connsiteX5" fmla="*/ 729134 w 1175233"/>
              <a:gd name="connsiteY5" fmla="*/ 386315 h 403348"/>
              <a:gd name="connsiteX6" fmla="*/ 887695 w 1175233"/>
              <a:gd name="connsiteY6" fmla="*/ 330994 h 403348"/>
              <a:gd name="connsiteX7" fmla="*/ 1011520 w 1175233"/>
              <a:gd name="connsiteY7" fmla="*/ 261937 h 403348"/>
              <a:gd name="connsiteX8" fmla="*/ 1104389 w 1175233"/>
              <a:gd name="connsiteY8" fmla="*/ 178594 h 403348"/>
              <a:gd name="connsiteX9" fmla="*/ 1154395 w 1175233"/>
              <a:gd name="connsiteY9" fmla="*/ 71437 h 403348"/>
              <a:gd name="connsiteX10" fmla="*/ 1168683 w 1175233"/>
              <a:gd name="connsiteY10" fmla="*/ 0 h 403348"/>
              <a:gd name="connsiteX11" fmla="*/ 1051521 w 1175233"/>
              <a:gd name="connsiteY11" fmla="*/ 55316 h 403348"/>
              <a:gd name="connsiteX12" fmla="*/ 1092483 w 1175233"/>
              <a:gd name="connsiteY12" fmla="*/ 121444 h 403348"/>
              <a:gd name="connsiteX13" fmla="*/ 1005296 w 1175233"/>
              <a:gd name="connsiteY13" fmla="*/ 185367 h 403348"/>
              <a:gd name="connsiteX14" fmla="*/ 885294 w 1175233"/>
              <a:gd name="connsiteY14" fmla="*/ 250578 h 403348"/>
              <a:gd name="connsiteX15" fmla="*/ 738146 w 1175233"/>
              <a:gd name="connsiteY15" fmla="*/ 303518 h 403348"/>
              <a:gd name="connsiteX16" fmla="*/ 530508 w 1175233"/>
              <a:gd name="connsiteY16" fmla="*/ 340519 h 403348"/>
              <a:gd name="connsiteX17" fmla="*/ 343339 w 1175233"/>
              <a:gd name="connsiteY17" fmla="*/ 333923 h 403348"/>
              <a:gd name="connsiteX18" fmla="*/ 204296 w 1175233"/>
              <a:gd name="connsiteY18" fmla="*/ 305347 h 403348"/>
              <a:gd name="connsiteX19" fmla="*/ 124285 w 1175233"/>
              <a:gd name="connsiteY19" fmla="*/ 270546 h 403348"/>
              <a:gd name="connsiteX20" fmla="*/ 114289 w 1175233"/>
              <a:gd name="connsiteY20" fmla="*/ 197091 h 403348"/>
              <a:gd name="connsiteX21" fmla="*/ 0 w 1175233"/>
              <a:gd name="connsiteY21" fmla="*/ 171628 h 403348"/>
              <a:gd name="connsiteX0" fmla="*/ 0 w 1175233"/>
              <a:gd name="connsiteY0" fmla="*/ 171628 h 411044"/>
              <a:gd name="connsiteX1" fmla="*/ 74748 w 1175233"/>
              <a:gd name="connsiteY1" fmla="*/ 284286 h 411044"/>
              <a:gd name="connsiteX2" fmla="*/ 211461 w 1175233"/>
              <a:gd name="connsiteY2" fmla="*/ 361585 h 411044"/>
              <a:gd name="connsiteX3" fmla="*/ 338597 w 1175233"/>
              <a:gd name="connsiteY3" fmla="*/ 400050 h 411044"/>
              <a:gd name="connsiteX4" fmla="*/ 591551 w 1175233"/>
              <a:gd name="connsiteY4" fmla="*/ 411044 h 411044"/>
              <a:gd name="connsiteX5" fmla="*/ 729134 w 1175233"/>
              <a:gd name="connsiteY5" fmla="*/ 386315 h 411044"/>
              <a:gd name="connsiteX6" fmla="*/ 887695 w 1175233"/>
              <a:gd name="connsiteY6" fmla="*/ 330994 h 411044"/>
              <a:gd name="connsiteX7" fmla="*/ 1011520 w 1175233"/>
              <a:gd name="connsiteY7" fmla="*/ 261937 h 411044"/>
              <a:gd name="connsiteX8" fmla="*/ 1104389 w 1175233"/>
              <a:gd name="connsiteY8" fmla="*/ 178594 h 411044"/>
              <a:gd name="connsiteX9" fmla="*/ 1154395 w 1175233"/>
              <a:gd name="connsiteY9" fmla="*/ 71437 h 411044"/>
              <a:gd name="connsiteX10" fmla="*/ 1168683 w 1175233"/>
              <a:gd name="connsiteY10" fmla="*/ 0 h 411044"/>
              <a:gd name="connsiteX11" fmla="*/ 1051521 w 1175233"/>
              <a:gd name="connsiteY11" fmla="*/ 55316 h 411044"/>
              <a:gd name="connsiteX12" fmla="*/ 1092483 w 1175233"/>
              <a:gd name="connsiteY12" fmla="*/ 121444 h 411044"/>
              <a:gd name="connsiteX13" fmla="*/ 1005296 w 1175233"/>
              <a:gd name="connsiteY13" fmla="*/ 185367 h 411044"/>
              <a:gd name="connsiteX14" fmla="*/ 885294 w 1175233"/>
              <a:gd name="connsiteY14" fmla="*/ 250578 h 411044"/>
              <a:gd name="connsiteX15" fmla="*/ 738146 w 1175233"/>
              <a:gd name="connsiteY15" fmla="*/ 303518 h 411044"/>
              <a:gd name="connsiteX16" fmla="*/ 530508 w 1175233"/>
              <a:gd name="connsiteY16" fmla="*/ 340519 h 411044"/>
              <a:gd name="connsiteX17" fmla="*/ 343339 w 1175233"/>
              <a:gd name="connsiteY17" fmla="*/ 333923 h 411044"/>
              <a:gd name="connsiteX18" fmla="*/ 204296 w 1175233"/>
              <a:gd name="connsiteY18" fmla="*/ 305347 h 411044"/>
              <a:gd name="connsiteX19" fmla="*/ 124285 w 1175233"/>
              <a:gd name="connsiteY19" fmla="*/ 270546 h 411044"/>
              <a:gd name="connsiteX20" fmla="*/ 114289 w 1175233"/>
              <a:gd name="connsiteY20" fmla="*/ 197091 h 411044"/>
              <a:gd name="connsiteX21" fmla="*/ 0 w 1175233"/>
              <a:gd name="connsiteY21" fmla="*/ 171628 h 411044"/>
              <a:gd name="connsiteX0" fmla="*/ 0 w 1175233"/>
              <a:gd name="connsiteY0" fmla="*/ 171628 h 411044"/>
              <a:gd name="connsiteX1" fmla="*/ 74748 w 1175233"/>
              <a:gd name="connsiteY1" fmla="*/ 284286 h 411044"/>
              <a:gd name="connsiteX2" fmla="*/ 211461 w 1175233"/>
              <a:gd name="connsiteY2" fmla="*/ 361585 h 411044"/>
              <a:gd name="connsiteX3" fmla="*/ 338597 w 1175233"/>
              <a:gd name="connsiteY3" fmla="*/ 400050 h 411044"/>
              <a:gd name="connsiteX4" fmla="*/ 591551 w 1175233"/>
              <a:gd name="connsiteY4" fmla="*/ 411044 h 411044"/>
              <a:gd name="connsiteX5" fmla="*/ 600658 w 1175233"/>
              <a:gd name="connsiteY5" fmla="*/ 398604 h 411044"/>
              <a:gd name="connsiteX6" fmla="*/ 729134 w 1175233"/>
              <a:gd name="connsiteY6" fmla="*/ 386315 h 411044"/>
              <a:gd name="connsiteX7" fmla="*/ 887695 w 1175233"/>
              <a:gd name="connsiteY7" fmla="*/ 330994 h 411044"/>
              <a:gd name="connsiteX8" fmla="*/ 1011520 w 1175233"/>
              <a:gd name="connsiteY8" fmla="*/ 261937 h 411044"/>
              <a:gd name="connsiteX9" fmla="*/ 1104389 w 1175233"/>
              <a:gd name="connsiteY9" fmla="*/ 178594 h 411044"/>
              <a:gd name="connsiteX10" fmla="*/ 1154395 w 1175233"/>
              <a:gd name="connsiteY10" fmla="*/ 71437 h 411044"/>
              <a:gd name="connsiteX11" fmla="*/ 1168683 w 1175233"/>
              <a:gd name="connsiteY11" fmla="*/ 0 h 411044"/>
              <a:gd name="connsiteX12" fmla="*/ 1051521 w 1175233"/>
              <a:gd name="connsiteY12" fmla="*/ 55316 h 411044"/>
              <a:gd name="connsiteX13" fmla="*/ 1092483 w 1175233"/>
              <a:gd name="connsiteY13" fmla="*/ 121444 h 411044"/>
              <a:gd name="connsiteX14" fmla="*/ 1005296 w 1175233"/>
              <a:gd name="connsiteY14" fmla="*/ 185367 h 411044"/>
              <a:gd name="connsiteX15" fmla="*/ 885294 w 1175233"/>
              <a:gd name="connsiteY15" fmla="*/ 250578 h 411044"/>
              <a:gd name="connsiteX16" fmla="*/ 738146 w 1175233"/>
              <a:gd name="connsiteY16" fmla="*/ 303518 h 411044"/>
              <a:gd name="connsiteX17" fmla="*/ 530508 w 1175233"/>
              <a:gd name="connsiteY17" fmla="*/ 340519 h 411044"/>
              <a:gd name="connsiteX18" fmla="*/ 343339 w 1175233"/>
              <a:gd name="connsiteY18" fmla="*/ 333923 h 411044"/>
              <a:gd name="connsiteX19" fmla="*/ 204296 w 1175233"/>
              <a:gd name="connsiteY19" fmla="*/ 305347 h 411044"/>
              <a:gd name="connsiteX20" fmla="*/ 124285 w 1175233"/>
              <a:gd name="connsiteY20" fmla="*/ 270546 h 411044"/>
              <a:gd name="connsiteX21" fmla="*/ 114289 w 1175233"/>
              <a:gd name="connsiteY21" fmla="*/ 197091 h 411044"/>
              <a:gd name="connsiteX22" fmla="*/ 0 w 1175233"/>
              <a:gd name="connsiteY22" fmla="*/ 171628 h 411044"/>
              <a:gd name="connsiteX0" fmla="*/ 0 w 1175233"/>
              <a:gd name="connsiteY0" fmla="*/ 171628 h 402248"/>
              <a:gd name="connsiteX1" fmla="*/ 74748 w 1175233"/>
              <a:gd name="connsiteY1" fmla="*/ 284286 h 402248"/>
              <a:gd name="connsiteX2" fmla="*/ 211461 w 1175233"/>
              <a:gd name="connsiteY2" fmla="*/ 361585 h 402248"/>
              <a:gd name="connsiteX3" fmla="*/ 338597 w 1175233"/>
              <a:gd name="connsiteY3" fmla="*/ 400050 h 402248"/>
              <a:gd name="connsiteX4" fmla="*/ 565797 w 1175233"/>
              <a:gd name="connsiteY4" fmla="*/ 402248 h 402248"/>
              <a:gd name="connsiteX5" fmla="*/ 600658 w 1175233"/>
              <a:gd name="connsiteY5" fmla="*/ 398604 h 402248"/>
              <a:gd name="connsiteX6" fmla="*/ 729134 w 1175233"/>
              <a:gd name="connsiteY6" fmla="*/ 386315 h 402248"/>
              <a:gd name="connsiteX7" fmla="*/ 887695 w 1175233"/>
              <a:gd name="connsiteY7" fmla="*/ 330994 h 402248"/>
              <a:gd name="connsiteX8" fmla="*/ 1011520 w 1175233"/>
              <a:gd name="connsiteY8" fmla="*/ 261937 h 402248"/>
              <a:gd name="connsiteX9" fmla="*/ 1104389 w 1175233"/>
              <a:gd name="connsiteY9" fmla="*/ 178594 h 402248"/>
              <a:gd name="connsiteX10" fmla="*/ 1154395 w 1175233"/>
              <a:gd name="connsiteY10" fmla="*/ 71437 h 402248"/>
              <a:gd name="connsiteX11" fmla="*/ 1168683 w 1175233"/>
              <a:gd name="connsiteY11" fmla="*/ 0 h 402248"/>
              <a:gd name="connsiteX12" fmla="*/ 1051521 w 1175233"/>
              <a:gd name="connsiteY12" fmla="*/ 55316 h 402248"/>
              <a:gd name="connsiteX13" fmla="*/ 1092483 w 1175233"/>
              <a:gd name="connsiteY13" fmla="*/ 121444 h 402248"/>
              <a:gd name="connsiteX14" fmla="*/ 1005296 w 1175233"/>
              <a:gd name="connsiteY14" fmla="*/ 185367 h 402248"/>
              <a:gd name="connsiteX15" fmla="*/ 885294 w 1175233"/>
              <a:gd name="connsiteY15" fmla="*/ 250578 h 402248"/>
              <a:gd name="connsiteX16" fmla="*/ 738146 w 1175233"/>
              <a:gd name="connsiteY16" fmla="*/ 303518 h 402248"/>
              <a:gd name="connsiteX17" fmla="*/ 530508 w 1175233"/>
              <a:gd name="connsiteY17" fmla="*/ 340519 h 402248"/>
              <a:gd name="connsiteX18" fmla="*/ 343339 w 1175233"/>
              <a:gd name="connsiteY18" fmla="*/ 333923 h 402248"/>
              <a:gd name="connsiteX19" fmla="*/ 204296 w 1175233"/>
              <a:gd name="connsiteY19" fmla="*/ 305347 h 402248"/>
              <a:gd name="connsiteX20" fmla="*/ 124285 w 1175233"/>
              <a:gd name="connsiteY20" fmla="*/ 270546 h 402248"/>
              <a:gd name="connsiteX21" fmla="*/ 114289 w 1175233"/>
              <a:gd name="connsiteY21" fmla="*/ 197091 h 402248"/>
              <a:gd name="connsiteX22" fmla="*/ 0 w 1175233"/>
              <a:gd name="connsiteY22" fmla="*/ 171628 h 402248"/>
              <a:gd name="connsiteX0" fmla="*/ 0 w 1175233"/>
              <a:gd name="connsiteY0" fmla="*/ 171628 h 401149"/>
              <a:gd name="connsiteX1" fmla="*/ 74748 w 1175233"/>
              <a:gd name="connsiteY1" fmla="*/ 284286 h 401149"/>
              <a:gd name="connsiteX2" fmla="*/ 211461 w 1175233"/>
              <a:gd name="connsiteY2" fmla="*/ 361585 h 401149"/>
              <a:gd name="connsiteX3" fmla="*/ 338597 w 1175233"/>
              <a:gd name="connsiteY3" fmla="*/ 400050 h 401149"/>
              <a:gd name="connsiteX4" fmla="*/ 522873 w 1175233"/>
              <a:gd name="connsiteY4" fmla="*/ 401149 h 401149"/>
              <a:gd name="connsiteX5" fmla="*/ 600658 w 1175233"/>
              <a:gd name="connsiteY5" fmla="*/ 398604 h 401149"/>
              <a:gd name="connsiteX6" fmla="*/ 729134 w 1175233"/>
              <a:gd name="connsiteY6" fmla="*/ 386315 h 401149"/>
              <a:gd name="connsiteX7" fmla="*/ 887695 w 1175233"/>
              <a:gd name="connsiteY7" fmla="*/ 330994 h 401149"/>
              <a:gd name="connsiteX8" fmla="*/ 1011520 w 1175233"/>
              <a:gd name="connsiteY8" fmla="*/ 261937 h 401149"/>
              <a:gd name="connsiteX9" fmla="*/ 1104389 w 1175233"/>
              <a:gd name="connsiteY9" fmla="*/ 178594 h 401149"/>
              <a:gd name="connsiteX10" fmla="*/ 1154395 w 1175233"/>
              <a:gd name="connsiteY10" fmla="*/ 71437 h 401149"/>
              <a:gd name="connsiteX11" fmla="*/ 1168683 w 1175233"/>
              <a:gd name="connsiteY11" fmla="*/ 0 h 401149"/>
              <a:gd name="connsiteX12" fmla="*/ 1051521 w 1175233"/>
              <a:gd name="connsiteY12" fmla="*/ 55316 h 401149"/>
              <a:gd name="connsiteX13" fmla="*/ 1092483 w 1175233"/>
              <a:gd name="connsiteY13" fmla="*/ 121444 h 401149"/>
              <a:gd name="connsiteX14" fmla="*/ 1005296 w 1175233"/>
              <a:gd name="connsiteY14" fmla="*/ 185367 h 401149"/>
              <a:gd name="connsiteX15" fmla="*/ 885294 w 1175233"/>
              <a:gd name="connsiteY15" fmla="*/ 250578 h 401149"/>
              <a:gd name="connsiteX16" fmla="*/ 738146 w 1175233"/>
              <a:gd name="connsiteY16" fmla="*/ 303518 h 401149"/>
              <a:gd name="connsiteX17" fmla="*/ 530508 w 1175233"/>
              <a:gd name="connsiteY17" fmla="*/ 340519 h 401149"/>
              <a:gd name="connsiteX18" fmla="*/ 343339 w 1175233"/>
              <a:gd name="connsiteY18" fmla="*/ 333923 h 401149"/>
              <a:gd name="connsiteX19" fmla="*/ 204296 w 1175233"/>
              <a:gd name="connsiteY19" fmla="*/ 305347 h 401149"/>
              <a:gd name="connsiteX20" fmla="*/ 124285 w 1175233"/>
              <a:gd name="connsiteY20" fmla="*/ 270546 h 401149"/>
              <a:gd name="connsiteX21" fmla="*/ 114289 w 1175233"/>
              <a:gd name="connsiteY21" fmla="*/ 197091 h 401149"/>
              <a:gd name="connsiteX22" fmla="*/ 0 w 1175233"/>
              <a:gd name="connsiteY22" fmla="*/ 171628 h 401149"/>
              <a:gd name="connsiteX0" fmla="*/ 0 w 1175233"/>
              <a:gd name="connsiteY0" fmla="*/ 171628 h 401149"/>
              <a:gd name="connsiteX1" fmla="*/ 74748 w 1175233"/>
              <a:gd name="connsiteY1" fmla="*/ 284286 h 401149"/>
              <a:gd name="connsiteX2" fmla="*/ 211461 w 1175233"/>
              <a:gd name="connsiteY2" fmla="*/ 361585 h 401149"/>
              <a:gd name="connsiteX3" fmla="*/ 352905 w 1175233"/>
              <a:gd name="connsiteY3" fmla="*/ 396752 h 401149"/>
              <a:gd name="connsiteX4" fmla="*/ 522873 w 1175233"/>
              <a:gd name="connsiteY4" fmla="*/ 401149 h 401149"/>
              <a:gd name="connsiteX5" fmla="*/ 600658 w 1175233"/>
              <a:gd name="connsiteY5" fmla="*/ 398604 h 401149"/>
              <a:gd name="connsiteX6" fmla="*/ 729134 w 1175233"/>
              <a:gd name="connsiteY6" fmla="*/ 386315 h 401149"/>
              <a:gd name="connsiteX7" fmla="*/ 887695 w 1175233"/>
              <a:gd name="connsiteY7" fmla="*/ 330994 h 401149"/>
              <a:gd name="connsiteX8" fmla="*/ 1011520 w 1175233"/>
              <a:gd name="connsiteY8" fmla="*/ 261937 h 401149"/>
              <a:gd name="connsiteX9" fmla="*/ 1104389 w 1175233"/>
              <a:gd name="connsiteY9" fmla="*/ 178594 h 401149"/>
              <a:gd name="connsiteX10" fmla="*/ 1154395 w 1175233"/>
              <a:gd name="connsiteY10" fmla="*/ 71437 h 401149"/>
              <a:gd name="connsiteX11" fmla="*/ 1168683 w 1175233"/>
              <a:gd name="connsiteY11" fmla="*/ 0 h 401149"/>
              <a:gd name="connsiteX12" fmla="*/ 1051521 w 1175233"/>
              <a:gd name="connsiteY12" fmla="*/ 55316 h 401149"/>
              <a:gd name="connsiteX13" fmla="*/ 1092483 w 1175233"/>
              <a:gd name="connsiteY13" fmla="*/ 121444 h 401149"/>
              <a:gd name="connsiteX14" fmla="*/ 1005296 w 1175233"/>
              <a:gd name="connsiteY14" fmla="*/ 185367 h 401149"/>
              <a:gd name="connsiteX15" fmla="*/ 885294 w 1175233"/>
              <a:gd name="connsiteY15" fmla="*/ 250578 h 401149"/>
              <a:gd name="connsiteX16" fmla="*/ 738146 w 1175233"/>
              <a:gd name="connsiteY16" fmla="*/ 303518 h 401149"/>
              <a:gd name="connsiteX17" fmla="*/ 530508 w 1175233"/>
              <a:gd name="connsiteY17" fmla="*/ 340519 h 401149"/>
              <a:gd name="connsiteX18" fmla="*/ 343339 w 1175233"/>
              <a:gd name="connsiteY18" fmla="*/ 333923 h 401149"/>
              <a:gd name="connsiteX19" fmla="*/ 204296 w 1175233"/>
              <a:gd name="connsiteY19" fmla="*/ 305347 h 401149"/>
              <a:gd name="connsiteX20" fmla="*/ 124285 w 1175233"/>
              <a:gd name="connsiteY20" fmla="*/ 270546 h 401149"/>
              <a:gd name="connsiteX21" fmla="*/ 114289 w 1175233"/>
              <a:gd name="connsiteY21" fmla="*/ 197091 h 401149"/>
              <a:gd name="connsiteX22" fmla="*/ 0 w 1175233"/>
              <a:gd name="connsiteY22" fmla="*/ 171628 h 401149"/>
              <a:gd name="connsiteX0" fmla="*/ 0 w 1175233"/>
              <a:gd name="connsiteY0" fmla="*/ 171628 h 401149"/>
              <a:gd name="connsiteX1" fmla="*/ 74748 w 1175233"/>
              <a:gd name="connsiteY1" fmla="*/ 284286 h 401149"/>
              <a:gd name="connsiteX2" fmla="*/ 230062 w 1175233"/>
              <a:gd name="connsiteY2" fmla="*/ 361585 h 401149"/>
              <a:gd name="connsiteX3" fmla="*/ 352905 w 1175233"/>
              <a:gd name="connsiteY3" fmla="*/ 396752 h 401149"/>
              <a:gd name="connsiteX4" fmla="*/ 522873 w 1175233"/>
              <a:gd name="connsiteY4" fmla="*/ 401149 h 401149"/>
              <a:gd name="connsiteX5" fmla="*/ 600658 w 1175233"/>
              <a:gd name="connsiteY5" fmla="*/ 398604 h 401149"/>
              <a:gd name="connsiteX6" fmla="*/ 729134 w 1175233"/>
              <a:gd name="connsiteY6" fmla="*/ 386315 h 401149"/>
              <a:gd name="connsiteX7" fmla="*/ 887695 w 1175233"/>
              <a:gd name="connsiteY7" fmla="*/ 330994 h 401149"/>
              <a:gd name="connsiteX8" fmla="*/ 1011520 w 1175233"/>
              <a:gd name="connsiteY8" fmla="*/ 261937 h 401149"/>
              <a:gd name="connsiteX9" fmla="*/ 1104389 w 1175233"/>
              <a:gd name="connsiteY9" fmla="*/ 178594 h 401149"/>
              <a:gd name="connsiteX10" fmla="*/ 1154395 w 1175233"/>
              <a:gd name="connsiteY10" fmla="*/ 71437 h 401149"/>
              <a:gd name="connsiteX11" fmla="*/ 1168683 w 1175233"/>
              <a:gd name="connsiteY11" fmla="*/ 0 h 401149"/>
              <a:gd name="connsiteX12" fmla="*/ 1051521 w 1175233"/>
              <a:gd name="connsiteY12" fmla="*/ 55316 h 401149"/>
              <a:gd name="connsiteX13" fmla="*/ 1092483 w 1175233"/>
              <a:gd name="connsiteY13" fmla="*/ 121444 h 401149"/>
              <a:gd name="connsiteX14" fmla="*/ 1005296 w 1175233"/>
              <a:gd name="connsiteY14" fmla="*/ 185367 h 401149"/>
              <a:gd name="connsiteX15" fmla="*/ 885294 w 1175233"/>
              <a:gd name="connsiteY15" fmla="*/ 250578 h 401149"/>
              <a:gd name="connsiteX16" fmla="*/ 738146 w 1175233"/>
              <a:gd name="connsiteY16" fmla="*/ 303518 h 401149"/>
              <a:gd name="connsiteX17" fmla="*/ 530508 w 1175233"/>
              <a:gd name="connsiteY17" fmla="*/ 340519 h 401149"/>
              <a:gd name="connsiteX18" fmla="*/ 343339 w 1175233"/>
              <a:gd name="connsiteY18" fmla="*/ 333923 h 401149"/>
              <a:gd name="connsiteX19" fmla="*/ 204296 w 1175233"/>
              <a:gd name="connsiteY19" fmla="*/ 305347 h 401149"/>
              <a:gd name="connsiteX20" fmla="*/ 124285 w 1175233"/>
              <a:gd name="connsiteY20" fmla="*/ 270546 h 401149"/>
              <a:gd name="connsiteX21" fmla="*/ 114289 w 1175233"/>
              <a:gd name="connsiteY21" fmla="*/ 197091 h 401149"/>
              <a:gd name="connsiteX22" fmla="*/ 0 w 1175233"/>
              <a:gd name="connsiteY22" fmla="*/ 171628 h 401149"/>
              <a:gd name="connsiteX0" fmla="*/ 0 w 1175233"/>
              <a:gd name="connsiteY0" fmla="*/ 171628 h 401149"/>
              <a:gd name="connsiteX1" fmla="*/ 74748 w 1175233"/>
              <a:gd name="connsiteY1" fmla="*/ 284286 h 401149"/>
              <a:gd name="connsiteX2" fmla="*/ 221477 w 1175233"/>
              <a:gd name="connsiteY2" fmla="*/ 361585 h 401149"/>
              <a:gd name="connsiteX3" fmla="*/ 352905 w 1175233"/>
              <a:gd name="connsiteY3" fmla="*/ 396752 h 401149"/>
              <a:gd name="connsiteX4" fmla="*/ 522873 w 1175233"/>
              <a:gd name="connsiteY4" fmla="*/ 401149 h 401149"/>
              <a:gd name="connsiteX5" fmla="*/ 600658 w 1175233"/>
              <a:gd name="connsiteY5" fmla="*/ 398604 h 401149"/>
              <a:gd name="connsiteX6" fmla="*/ 729134 w 1175233"/>
              <a:gd name="connsiteY6" fmla="*/ 386315 h 401149"/>
              <a:gd name="connsiteX7" fmla="*/ 887695 w 1175233"/>
              <a:gd name="connsiteY7" fmla="*/ 330994 h 401149"/>
              <a:gd name="connsiteX8" fmla="*/ 1011520 w 1175233"/>
              <a:gd name="connsiteY8" fmla="*/ 261937 h 401149"/>
              <a:gd name="connsiteX9" fmla="*/ 1104389 w 1175233"/>
              <a:gd name="connsiteY9" fmla="*/ 178594 h 401149"/>
              <a:gd name="connsiteX10" fmla="*/ 1154395 w 1175233"/>
              <a:gd name="connsiteY10" fmla="*/ 71437 h 401149"/>
              <a:gd name="connsiteX11" fmla="*/ 1168683 w 1175233"/>
              <a:gd name="connsiteY11" fmla="*/ 0 h 401149"/>
              <a:gd name="connsiteX12" fmla="*/ 1051521 w 1175233"/>
              <a:gd name="connsiteY12" fmla="*/ 55316 h 401149"/>
              <a:gd name="connsiteX13" fmla="*/ 1092483 w 1175233"/>
              <a:gd name="connsiteY13" fmla="*/ 121444 h 401149"/>
              <a:gd name="connsiteX14" fmla="*/ 1005296 w 1175233"/>
              <a:gd name="connsiteY14" fmla="*/ 185367 h 401149"/>
              <a:gd name="connsiteX15" fmla="*/ 885294 w 1175233"/>
              <a:gd name="connsiteY15" fmla="*/ 250578 h 401149"/>
              <a:gd name="connsiteX16" fmla="*/ 738146 w 1175233"/>
              <a:gd name="connsiteY16" fmla="*/ 303518 h 401149"/>
              <a:gd name="connsiteX17" fmla="*/ 530508 w 1175233"/>
              <a:gd name="connsiteY17" fmla="*/ 340519 h 401149"/>
              <a:gd name="connsiteX18" fmla="*/ 343339 w 1175233"/>
              <a:gd name="connsiteY18" fmla="*/ 333923 h 401149"/>
              <a:gd name="connsiteX19" fmla="*/ 204296 w 1175233"/>
              <a:gd name="connsiteY19" fmla="*/ 305347 h 401149"/>
              <a:gd name="connsiteX20" fmla="*/ 124285 w 1175233"/>
              <a:gd name="connsiteY20" fmla="*/ 270546 h 401149"/>
              <a:gd name="connsiteX21" fmla="*/ 114289 w 1175233"/>
              <a:gd name="connsiteY21" fmla="*/ 197091 h 401149"/>
              <a:gd name="connsiteX22" fmla="*/ 0 w 1175233"/>
              <a:gd name="connsiteY22" fmla="*/ 171628 h 401149"/>
              <a:gd name="connsiteX0" fmla="*/ 0 w 1175233"/>
              <a:gd name="connsiteY0" fmla="*/ 171628 h 401149"/>
              <a:gd name="connsiteX1" fmla="*/ 63301 w 1175233"/>
              <a:gd name="connsiteY1" fmla="*/ 286485 h 401149"/>
              <a:gd name="connsiteX2" fmla="*/ 221477 w 1175233"/>
              <a:gd name="connsiteY2" fmla="*/ 361585 h 401149"/>
              <a:gd name="connsiteX3" fmla="*/ 352905 w 1175233"/>
              <a:gd name="connsiteY3" fmla="*/ 396752 h 401149"/>
              <a:gd name="connsiteX4" fmla="*/ 522873 w 1175233"/>
              <a:gd name="connsiteY4" fmla="*/ 401149 h 401149"/>
              <a:gd name="connsiteX5" fmla="*/ 600658 w 1175233"/>
              <a:gd name="connsiteY5" fmla="*/ 398604 h 401149"/>
              <a:gd name="connsiteX6" fmla="*/ 729134 w 1175233"/>
              <a:gd name="connsiteY6" fmla="*/ 386315 h 401149"/>
              <a:gd name="connsiteX7" fmla="*/ 887695 w 1175233"/>
              <a:gd name="connsiteY7" fmla="*/ 330994 h 401149"/>
              <a:gd name="connsiteX8" fmla="*/ 1011520 w 1175233"/>
              <a:gd name="connsiteY8" fmla="*/ 261937 h 401149"/>
              <a:gd name="connsiteX9" fmla="*/ 1104389 w 1175233"/>
              <a:gd name="connsiteY9" fmla="*/ 178594 h 401149"/>
              <a:gd name="connsiteX10" fmla="*/ 1154395 w 1175233"/>
              <a:gd name="connsiteY10" fmla="*/ 71437 h 401149"/>
              <a:gd name="connsiteX11" fmla="*/ 1168683 w 1175233"/>
              <a:gd name="connsiteY11" fmla="*/ 0 h 401149"/>
              <a:gd name="connsiteX12" fmla="*/ 1051521 w 1175233"/>
              <a:gd name="connsiteY12" fmla="*/ 55316 h 401149"/>
              <a:gd name="connsiteX13" fmla="*/ 1092483 w 1175233"/>
              <a:gd name="connsiteY13" fmla="*/ 121444 h 401149"/>
              <a:gd name="connsiteX14" fmla="*/ 1005296 w 1175233"/>
              <a:gd name="connsiteY14" fmla="*/ 185367 h 401149"/>
              <a:gd name="connsiteX15" fmla="*/ 885294 w 1175233"/>
              <a:gd name="connsiteY15" fmla="*/ 250578 h 401149"/>
              <a:gd name="connsiteX16" fmla="*/ 738146 w 1175233"/>
              <a:gd name="connsiteY16" fmla="*/ 303518 h 401149"/>
              <a:gd name="connsiteX17" fmla="*/ 530508 w 1175233"/>
              <a:gd name="connsiteY17" fmla="*/ 340519 h 401149"/>
              <a:gd name="connsiteX18" fmla="*/ 343339 w 1175233"/>
              <a:gd name="connsiteY18" fmla="*/ 333923 h 401149"/>
              <a:gd name="connsiteX19" fmla="*/ 204296 w 1175233"/>
              <a:gd name="connsiteY19" fmla="*/ 305347 h 401149"/>
              <a:gd name="connsiteX20" fmla="*/ 124285 w 1175233"/>
              <a:gd name="connsiteY20" fmla="*/ 270546 h 401149"/>
              <a:gd name="connsiteX21" fmla="*/ 114289 w 1175233"/>
              <a:gd name="connsiteY21" fmla="*/ 197091 h 401149"/>
              <a:gd name="connsiteX22" fmla="*/ 0 w 1175233"/>
              <a:gd name="connsiteY22" fmla="*/ 171628 h 401149"/>
              <a:gd name="connsiteX0" fmla="*/ 1290 w 1176523"/>
              <a:gd name="connsiteY0" fmla="*/ 171628 h 401149"/>
              <a:gd name="connsiteX1" fmla="*/ 64591 w 1176523"/>
              <a:gd name="connsiteY1" fmla="*/ 286485 h 401149"/>
              <a:gd name="connsiteX2" fmla="*/ 222767 w 1176523"/>
              <a:gd name="connsiteY2" fmla="*/ 361585 h 401149"/>
              <a:gd name="connsiteX3" fmla="*/ 354195 w 1176523"/>
              <a:gd name="connsiteY3" fmla="*/ 396752 h 401149"/>
              <a:gd name="connsiteX4" fmla="*/ 524163 w 1176523"/>
              <a:gd name="connsiteY4" fmla="*/ 401149 h 401149"/>
              <a:gd name="connsiteX5" fmla="*/ 601948 w 1176523"/>
              <a:gd name="connsiteY5" fmla="*/ 398604 h 401149"/>
              <a:gd name="connsiteX6" fmla="*/ 730424 w 1176523"/>
              <a:gd name="connsiteY6" fmla="*/ 386315 h 401149"/>
              <a:gd name="connsiteX7" fmla="*/ 888985 w 1176523"/>
              <a:gd name="connsiteY7" fmla="*/ 330994 h 401149"/>
              <a:gd name="connsiteX8" fmla="*/ 1012810 w 1176523"/>
              <a:gd name="connsiteY8" fmla="*/ 261937 h 401149"/>
              <a:gd name="connsiteX9" fmla="*/ 1105679 w 1176523"/>
              <a:gd name="connsiteY9" fmla="*/ 178594 h 401149"/>
              <a:gd name="connsiteX10" fmla="*/ 1155685 w 1176523"/>
              <a:gd name="connsiteY10" fmla="*/ 71437 h 401149"/>
              <a:gd name="connsiteX11" fmla="*/ 1169973 w 1176523"/>
              <a:gd name="connsiteY11" fmla="*/ 0 h 401149"/>
              <a:gd name="connsiteX12" fmla="*/ 1052811 w 1176523"/>
              <a:gd name="connsiteY12" fmla="*/ 55316 h 401149"/>
              <a:gd name="connsiteX13" fmla="*/ 1093773 w 1176523"/>
              <a:gd name="connsiteY13" fmla="*/ 121444 h 401149"/>
              <a:gd name="connsiteX14" fmla="*/ 1006586 w 1176523"/>
              <a:gd name="connsiteY14" fmla="*/ 185367 h 401149"/>
              <a:gd name="connsiteX15" fmla="*/ 886584 w 1176523"/>
              <a:gd name="connsiteY15" fmla="*/ 250578 h 401149"/>
              <a:gd name="connsiteX16" fmla="*/ 739436 w 1176523"/>
              <a:gd name="connsiteY16" fmla="*/ 303518 h 401149"/>
              <a:gd name="connsiteX17" fmla="*/ 531798 w 1176523"/>
              <a:gd name="connsiteY17" fmla="*/ 340519 h 401149"/>
              <a:gd name="connsiteX18" fmla="*/ 344629 w 1176523"/>
              <a:gd name="connsiteY18" fmla="*/ 333923 h 401149"/>
              <a:gd name="connsiteX19" fmla="*/ 205586 w 1176523"/>
              <a:gd name="connsiteY19" fmla="*/ 305347 h 401149"/>
              <a:gd name="connsiteX20" fmla="*/ 125575 w 1176523"/>
              <a:gd name="connsiteY20" fmla="*/ 270546 h 401149"/>
              <a:gd name="connsiteX21" fmla="*/ 115579 w 1176523"/>
              <a:gd name="connsiteY21" fmla="*/ 197091 h 401149"/>
              <a:gd name="connsiteX22" fmla="*/ 1290 w 1176523"/>
              <a:gd name="connsiteY22" fmla="*/ 171628 h 401149"/>
              <a:gd name="connsiteX0" fmla="*/ 1290 w 1176523"/>
              <a:gd name="connsiteY0" fmla="*/ 171628 h 401149"/>
              <a:gd name="connsiteX1" fmla="*/ 64591 w 1176523"/>
              <a:gd name="connsiteY1" fmla="*/ 286485 h 401149"/>
              <a:gd name="connsiteX2" fmla="*/ 222767 w 1176523"/>
              <a:gd name="connsiteY2" fmla="*/ 361585 h 401149"/>
              <a:gd name="connsiteX3" fmla="*/ 354195 w 1176523"/>
              <a:gd name="connsiteY3" fmla="*/ 396752 h 401149"/>
              <a:gd name="connsiteX4" fmla="*/ 524163 w 1176523"/>
              <a:gd name="connsiteY4" fmla="*/ 401149 h 401149"/>
              <a:gd name="connsiteX5" fmla="*/ 601948 w 1176523"/>
              <a:gd name="connsiteY5" fmla="*/ 398604 h 401149"/>
              <a:gd name="connsiteX6" fmla="*/ 730424 w 1176523"/>
              <a:gd name="connsiteY6" fmla="*/ 386315 h 401149"/>
              <a:gd name="connsiteX7" fmla="*/ 888985 w 1176523"/>
              <a:gd name="connsiteY7" fmla="*/ 330994 h 401149"/>
              <a:gd name="connsiteX8" fmla="*/ 1012810 w 1176523"/>
              <a:gd name="connsiteY8" fmla="*/ 261937 h 401149"/>
              <a:gd name="connsiteX9" fmla="*/ 1105679 w 1176523"/>
              <a:gd name="connsiteY9" fmla="*/ 178594 h 401149"/>
              <a:gd name="connsiteX10" fmla="*/ 1155685 w 1176523"/>
              <a:gd name="connsiteY10" fmla="*/ 71437 h 401149"/>
              <a:gd name="connsiteX11" fmla="*/ 1169973 w 1176523"/>
              <a:gd name="connsiteY11" fmla="*/ 0 h 401149"/>
              <a:gd name="connsiteX12" fmla="*/ 1052811 w 1176523"/>
              <a:gd name="connsiteY12" fmla="*/ 55316 h 401149"/>
              <a:gd name="connsiteX13" fmla="*/ 1093773 w 1176523"/>
              <a:gd name="connsiteY13" fmla="*/ 121444 h 401149"/>
              <a:gd name="connsiteX14" fmla="*/ 1006586 w 1176523"/>
              <a:gd name="connsiteY14" fmla="*/ 185367 h 401149"/>
              <a:gd name="connsiteX15" fmla="*/ 886584 w 1176523"/>
              <a:gd name="connsiteY15" fmla="*/ 250578 h 401149"/>
              <a:gd name="connsiteX16" fmla="*/ 739436 w 1176523"/>
              <a:gd name="connsiteY16" fmla="*/ 303518 h 401149"/>
              <a:gd name="connsiteX17" fmla="*/ 531798 w 1176523"/>
              <a:gd name="connsiteY17" fmla="*/ 340519 h 401149"/>
              <a:gd name="connsiteX18" fmla="*/ 344629 w 1176523"/>
              <a:gd name="connsiteY18" fmla="*/ 333923 h 401149"/>
              <a:gd name="connsiteX19" fmla="*/ 205586 w 1176523"/>
              <a:gd name="connsiteY19" fmla="*/ 305347 h 401149"/>
              <a:gd name="connsiteX20" fmla="*/ 125575 w 1176523"/>
              <a:gd name="connsiteY20" fmla="*/ 270546 h 401149"/>
              <a:gd name="connsiteX21" fmla="*/ 115579 w 1176523"/>
              <a:gd name="connsiteY21" fmla="*/ 197091 h 401149"/>
              <a:gd name="connsiteX22" fmla="*/ 1290 w 1176523"/>
              <a:gd name="connsiteY22" fmla="*/ 171628 h 401149"/>
              <a:gd name="connsiteX0" fmla="*/ 1214 w 1176447"/>
              <a:gd name="connsiteY0" fmla="*/ 171628 h 401149"/>
              <a:gd name="connsiteX1" fmla="*/ 64515 w 1176447"/>
              <a:gd name="connsiteY1" fmla="*/ 286485 h 401149"/>
              <a:gd name="connsiteX2" fmla="*/ 205522 w 1176447"/>
              <a:gd name="connsiteY2" fmla="*/ 364883 h 401149"/>
              <a:gd name="connsiteX3" fmla="*/ 354119 w 1176447"/>
              <a:gd name="connsiteY3" fmla="*/ 396752 h 401149"/>
              <a:gd name="connsiteX4" fmla="*/ 524087 w 1176447"/>
              <a:gd name="connsiteY4" fmla="*/ 401149 h 401149"/>
              <a:gd name="connsiteX5" fmla="*/ 601872 w 1176447"/>
              <a:gd name="connsiteY5" fmla="*/ 398604 h 401149"/>
              <a:gd name="connsiteX6" fmla="*/ 730348 w 1176447"/>
              <a:gd name="connsiteY6" fmla="*/ 386315 h 401149"/>
              <a:gd name="connsiteX7" fmla="*/ 888909 w 1176447"/>
              <a:gd name="connsiteY7" fmla="*/ 330994 h 401149"/>
              <a:gd name="connsiteX8" fmla="*/ 1012734 w 1176447"/>
              <a:gd name="connsiteY8" fmla="*/ 261937 h 401149"/>
              <a:gd name="connsiteX9" fmla="*/ 1105603 w 1176447"/>
              <a:gd name="connsiteY9" fmla="*/ 178594 h 401149"/>
              <a:gd name="connsiteX10" fmla="*/ 1155609 w 1176447"/>
              <a:gd name="connsiteY10" fmla="*/ 71437 h 401149"/>
              <a:gd name="connsiteX11" fmla="*/ 1169897 w 1176447"/>
              <a:gd name="connsiteY11" fmla="*/ 0 h 401149"/>
              <a:gd name="connsiteX12" fmla="*/ 1052735 w 1176447"/>
              <a:gd name="connsiteY12" fmla="*/ 55316 h 401149"/>
              <a:gd name="connsiteX13" fmla="*/ 1093697 w 1176447"/>
              <a:gd name="connsiteY13" fmla="*/ 121444 h 401149"/>
              <a:gd name="connsiteX14" fmla="*/ 1006510 w 1176447"/>
              <a:gd name="connsiteY14" fmla="*/ 185367 h 401149"/>
              <a:gd name="connsiteX15" fmla="*/ 886508 w 1176447"/>
              <a:gd name="connsiteY15" fmla="*/ 250578 h 401149"/>
              <a:gd name="connsiteX16" fmla="*/ 739360 w 1176447"/>
              <a:gd name="connsiteY16" fmla="*/ 303518 h 401149"/>
              <a:gd name="connsiteX17" fmla="*/ 531722 w 1176447"/>
              <a:gd name="connsiteY17" fmla="*/ 340519 h 401149"/>
              <a:gd name="connsiteX18" fmla="*/ 344553 w 1176447"/>
              <a:gd name="connsiteY18" fmla="*/ 333923 h 401149"/>
              <a:gd name="connsiteX19" fmla="*/ 205510 w 1176447"/>
              <a:gd name="connsiteY19" fmla="*/ 305347 h 401149"/>
              <a:gd name="connsiteX20" fmla="*/ 125499 w 1176447"/>
              <a:gd name="connsiteY20" fmla="*/ 270546 h 401149"/>
              <a:gd name="connsiteX21" fmla="*/ 115503 w 1176447"/>
              <a:gd name="connsiteY21" fmla="*/ 197091 h 401149"/>
              <a:gd name="connsiteX22" fmla="*/ 1214 w 1176447"/>
              <a:gd name="connsiteY22" fmla="*/ 171628 h 401149"/>
              <a:gd name="connsiteX0" fmla="*/ 1263 w 1176496"/>
              <a:gd name="connsiteY0" fmla="*/ 171628 h 401149"/>
              <a:gd name="connsiteX1" fmla="*/ 64564 w 1176496"/>
              <a:gd name="connsiteY1" fmla="*/ 286485 h 401149"/>
              <a:gd name="connsiteX2" fmla="*/ 217017 w 1176496"/>
              <a:gd name="connsiteY2" fmla="*/ 362684 h 401149"/>
              <a:gd name="connsiteX3" fmla="*/ 354168 w 1176496"/>
              <a:gd name="connsiteY3" fmla="*/ 396752 h 401149"/>
              <a:gd name="connsiteX4" fmla="*/ 524136 w 1176496"/>
              <a:gd name="connsiteY4" fmla="*/ 401149 h 401149"/>
              <a:gd name="connsiteX5" fmla="*/ 601921 w 1176496"/>
              <a:gd name="connsiteY5" fmla="*/ 398604 h 401149"/>
              <a:gd name="connsiteX6" fmla="*/ 730397 w 1176496"/>
              <a:gd name="connsiteY6" fmla="*/ 386315 h 401149"/>
              <a:gd name="connsiteX7" fmla="*/ 888958 w 1176496"/>
              <a:gd name="connsiteY7" fmla="*/ 330994 h 401149"/>
              <a:gd name="connsiteX8" fmla="*/ 1012783 w 1176496"/>
              <a:gd name="connsiteY8" fmla="*/ 261937 h 401149"/>
              <a:gd name="connsiteX9" fmla="*/ 1105652 w 1176496"/>
              <a:gd name="connsiteY9" fmla="*/ 178594 h 401149"/>
              <a:gd name="connsiteX10" fmla="*/ 1155658 w 1176496"/>
              <a:gd name="connsiteY10" fmla="*/ 71437 h 401149"/>
              <a:gd name="connsiteX11" fmla="*/ 1169946 w 1176496"/>
              <a:gd name="connsiteY11" fmla="*/ 0 h 401149"/>
              <a:gd name="connsiteX12" fmla="*/ 1052784 w 1176496"/>
              <a:gd name="connsiteY12" fmla="*/ 55316 h 401149"/>
              <a:gd name="connsiteX13" fmla="*/ 1093746 w 1176496"/>
              <a:gd name="connsiteY13" fmla="*/ 121444 h 401149"/>
              <a:gd name="connsiteX14" fmla="*/ 1006559 w 1176496"/>
              <a:gd name="connsiteY14" fmla="*/ 185367 h 401149"/>
              <a:gd name="connsiteX15" fmla="*/ 886557 w 1176496"/>
              <a:gd name="connsiteY15" fmla="*/ 250578 h 401149"/>
              <a:gd name="connsiteX16" fmla="*/ 739409 w 1176496"/>
              <a:gd name="connsiteY16" fmla="*/ 303518 h 401149"/>
              <a:gd name="connsiteX17" fmla="*/ 531771 w 1176496"/>
              <a:gd name="connsiteY17" fmla="*/ 340519 h 401149"/>
              <a:gd name="connsiteX18" fmla="*/ 344602 w 1176496"/>
              <a:gd name="connsiteY18" fmla="*/ 333923 h 401149"/>
              <a:gd name="connsiteX19" fmla="*/ 205559 w 1176496"/>
              <a:gd name="connsiteY19" fmla="*/ 305347 h 401149"/>
              <a:gd name="connsiteX20" fmla="*/ 125548 w 1176496"/>
              <a:gd name="connsiteY20" fmla="*/ 270546 h 401149"/>
              <a:gd name="connsiteX21" fmla="*/ 115552 w 1176496"/>
              <a:gd name="connsiteY21" fmla="*/ 197091 h 401149"/>
              <a:gd name="connsiteX22" fmla="*/ 1263 w 1176496"/>
              <a:gd name="connsiteY22" fmla="*/ 171628 h 401149"/>
              <a:gd name="connsiteX0" fmla="*/ 1263 w 1176496"/>
              <a:gd name="connsiteY0" fmla="*/ 171628 h 407746"/>
              <a:gd name="connsiteX1" fmla="*/ 64564 w 1176496"/>
              <a:gd name="connsiteY1" fmla="*/ 286485 h 407746"/>
              <a:gd name="connsiteX2" fmla="*/ 217017 w 1176496"/>
              <a:gd name="connsiteY2" fmla="*/ 362684 h 407746"/>
              <a:gd name="connsiteX3" fmla="*/ 354168 w 1176496"/>
              <a:gd name="connsiteY3" fmla="*/ 396752 h 407746"/>
              <a:gd name="connsiteX4" fmla="*/ 484074 w 1176496"/>
              <a:gd name="connsiteY4" fmla="*/ 407746 h 407746"/>
              <a:gd name="connsiteX5" fmla="*/ 601921 w 1176496"/>
              <a:gd name="connsiteY5" fmla="*/ 398604 h 407746"/>
              <a:gd name="connsiteX6" fmla="*/ 730397 w 1176496"/>
              <a:gd name="connsiteY6" fmla="*/ 386315 h 407746"/>
              <a:gd name="connsiteX7" fmla="*/ 888958 w 1176496"/>
              <a:gd name="connsiteY7" fmla="*/ 330994 h 407746"/>
              <a:gd name="connsiteX8" fmla="*/ 1012783 w 1176496"/>
              <a:gd name="connsiteY8" fmla="*/ 261937 h 407746"/>
              <a:gd name="connsiteX9" fmla="*/ 1105652 w 1176496"/>
              <a:gd name="connsiteY9" fmla="*/ 178594 h 407746"/>
              <a:gd name="connsiteX10" fmla="*/ 1155658 w 1176496"/>
              <a:gd name="connsiteY10" fmla="*/ 71437 h 407746"/>
              <a:gd name="connsiteX11" fmla="*/ 1169946 w 1176496"/>
              <a:gd name="connsiteY11" fmla="*/ 0 h 407746"/>
              <a:gd name="connsiteX12" fmla="*/ 1052784 w 1176496"/>
              <a:gd name="connsiteY12" fmla="*/ 55316 h 407746"/>
              <a:gd name="connsiteX13" fmla="*/ 1093746 w 1176496"/>
              <a:gd name="connsiteY13" fmla="*/ 121444 h 407746"/>
              <a:gd name="connsiteX14" fmla="*/ 1006559 w 1176496"/>
              <a:gd name="connsiteY14" fmla="*/ 185367 h 407746"/>
              <a:gd name="connsiteX15" fmla="*/ 886557 w 1176496"/>
              <a:gd name="connsiteY15" fmla="*/ 250578 h 407746"/>
              <a:gd name="connsiteX16" fmla="*/ 739409 w 1176496"/>
              <a:gd name="connsiteY16" fmla="*/ 303518 h 407746"/>
              <a:gd name="connsiteX17" fmla="*/ 531771 w 1176496"/>
              <a:gd name="connsiteY17" fmla="*/ 340519 h 407746"/>
              <a:gd name="connsiteX18" fmla="*/ 344602 w 1176496"/>
              <a:gd name="connsiteY18" fmla="*/ 333923 h 407746"/>
              <a:gd name="connsiteX19" fmla="*/ 205559 w 1176496"/>
              <a:gd name="connsiteY19" fmla="*/ 305347 h 407746"/>
              <a:gd name="connsiteX20" fmla="*/ 125548 w 1176496"/>
              <a:gd name="connsiteY20" fmla="*/ 270546 h 407746"/>
              <a:gd name="connsiteX21" fmla="*/ 115552 w 1176496"/>
              <a:gd name="connsiteY21" fmla="*/ 197091 h 407746"/>
              <a:gd name="connsiteX22" fmla="*/ 1263 w 1176496"/>
              <a:gd name="connsiteY22" fmla="*/ 171628 h 407746"/>
              <a:gd name="connsiteX0" fmla="*/ 1263 w 1176496"/>
              <a:gd name="connsiteY0" fmla="*/ 171628 h 407746"/>
              <a:gd name="connsiteX1" fmla="*/ 64564 w 1176496"/>
              <a:gd name="connsiteY1" fmla="*/ 286485 h 407746"/>
              <a:gd name="connsiteX2" fmla="*/ 217017 w 1176496"/>
              <a:gd name="connsiteY2" fmla="*/ 362684 h 407746"/>
              <a:gd name="connsiteX3" fmla="*/ 354168 w 1176496"/>
              <a:gd name="connsiteY3" fmla="*/ 396752 h 407746"/>
              <a:gd name="connsiteX4" fmla="*/ 484074 w 1176496"/>
              <a:gd name="connsiteY4" fmla="*/ 407746 h 407746"/>
              <a:gd name="connsiteX5" fmla="*/ 601921 w 1176496"/>
              <a:gd name="connsiteY5" fmla="*/ 398604 h 407746"/>
              <a:gd name="connsiteX6" fmla="*/ 730397 w 1176496"/>
              <a:gd name="connsiteY6" fmla="*/ 386315 h 407746"/>
              <a:gd name="connsiteX7" fmla="*/ 888958 w 1176496"/>
              <a:gd name="connsiteY7" fmla="*/ 330994 h 407746"/>
              <a:gd name="connsiteX8" fmla="*/ 1012783 w 1176496"/>
              <a:gd name="connsiteY8" fmla="*/ 261937 h 407746"/>
              <a:gd name="connsiteX9" fmla="*/ 1105652 w 1176496"/>
              <a:gd name="connsiteY9" fmla="*/ 178594 h 407746"/>
              <a:gd name="connsiteX10" fmla="*/ 1155658 w 1176496"/>
              <a:gd name="connsiteY10" fmla="*/ 71437 h 407746"/>
              <a:gd name="connsiteX11" fmla="*/ 1169946 w 1176496"/>
              <a:gd name="connsiteY11" fmla="*/ 0 h 407746"/>
              <a:gd name="connsiteX12" fmla="*/ 1052784 w 1176496"/>
              <a:gd name="connsiteY12" fmla="*/ 55316 h 407746"/>
              <a:gd name="connsiteX13" fmla="*/ 1093746 w 1176496"/>
              <a:gd name="connsiteY13" fmla="*/ 121444 h 407746"/>
              <a:gd name="connsiteX14" fmla="*/ 1006559 w 1176496"/>
              <a:gd name="connsiteY14" fmla="*/ 185367 h 407746"/>
              <a:gd name="connsiteX15" fmla="*/ 886557 w 1176496"/>
              <a:gd name="connsiteY15" fmla="*/ 250578 h 407746"/>
              <a:gd name="connsiteX16" fmla="*/ 739409 w 1176496"/>
              <a:gd name="connsiteY16" fmla="*/ 303518 h 407746"/>
              <a:gd name="connsiteX17" fmla="*/ 531771 w 1176496"/>
              <a:gd name="connsiteY17" fmla="*/ 340519 h 407746"/>
              <a:gd name="connsiteX18" fmla="*/ 344602 w 1176496"/>
              <a:gd name="connsiteY18" fmla="*/ 333923 h 407746"/>
              <a:gd name="connsiteX19" fmla="*/ 205559 w 1176496"/>
              <a:gd name="connsiteY19" fmla="*/ 305347 h 407746"/>
              <a:gd name="connsiteX20" fmla="*/ 125548 w 1176496"/>
              <a:gd name="connsiteY20" fmla="*/ 270546 h 407746"/>
              <a:gd name="connsiteX21" fmla="*/ 115552 w 1176496"/>
              <a:gd name="connsiteY21" fmla="*/ 197091 h 407746"/>
              <a:gd name="connsiteX22" fmla="*/ 1263 w 1176496"/>
              <a:gd name="connsiteY22" fmla="*/ 171628 h 407746"/>
              <a:gd name="connsiteX0" fmla="*/ 1263 w 1176496"/>
              <a:gd name="connsiteY0" fmla="*/ 171628 h 408174"/>
              <a:gd name="connsiteX1" fmla="*/ 64564 w 1176496"/>
              <a:gd name="connsiteY1" fmla="*/ 286485 h 408174"/>
              <a:gd name="connsiteX2" fmla="*/ 217017 w 1176496"/>
              <a:gd name="connsiteY2" fmla="*/ 362684 h 408174"/>
              <a:gd name="connsiteX3" fmla="*/ 345584 w 1176496"/>
              <a:gd name="connsiteY3" fmla="*/ 400051 h 408174"/>
              <a:gd name="connsiteX4" fmla="*/ 484074 w 1176496"/>
              <a:gd name="connsiteY4" fmla="*/ 407746 h 408174"/>
              <a:gd name="connsiteX5" fmla="*/ 601921 w 1176496"/>
              <a:gd name="connsiteY5" fmla="*/ 398604 h 408174"/>
              <a:gd name="connsiteX6" fmla="*/ 730397 w 1176496"/>
              <a:gd name="connsiteY6" fmla="*/ 386315 h 408174"/>
              <a:gd name="connsiteX7" fmla="*/ 888958 w 1176496"/>
              <a:gd name="connsiteY7" fmla="*/ 330994 h 408174"/>
              <a:gd name="connsiteX8" fmla="*/ 1012783 w 1176496"/>
              <a:gd name="connsiteY8" fmla="*/ 261937 h 408174"/>
              <a:gd name="connsiteX9" fmla="*/ 1105652 w 1176496"/>
              <a:gd name="connsiteY9" fmla="*/ 178594 h 408174"/>
              <a:gd name="connsiteX10" fmla="*/ 1155658 w 1176496"/>
              <a:gd name="connsiteY10" fmla="*/ 71437 h 408174"/>
              <a:gd name="connsiteX11" fmla="*/ 1169946 w 1176496"/>
              <a:gd name="connsiteY11" fmla="*/ 0 h 408174"/>
              <a:gd name="connsiteX12" fmla="*/ 1052784 w 1176496"/>
              <a:gd name="connsiteY12" fmla="*/ 55316 h 408174"/>
              <a:gd name="connsiteX13" fmla="*/ 1093746 w 1176496"/>
              <a:gd name="connsiteY13" fmla="*/ 121444 h 408174"/>
              <a:gd name="connsiteX14" fmla="*/ 1006559 w 1176496"/>
              <a:gd name="connsiteY14" fmla="*/ 185367 h 408174"/>
              <a:gd name="connsiteX15" fmla="*/ 886557 w 1176496"/>
              <a:gd name="connsiteY15" fmla="*/ 250578 h 408174"/>
              <a:gd name="connsiteX16" fmla="*/ 739409 w 1176496"/>
              <a:gd name="connsiteY16" fmla="*/ 303518 h 408174"/>
              <a:gd name="connsiteX17" fmla="*/ 531771 w 1176496"/>
              <a:gd name="connsiteY17" fmla="*/ 340519 h 408174"/>
              <a:gd name="connsiteX18" fmla="*/ 344602 w 1176496"/>
              <a:gd name="connsiteY18" fmla="*/ 333923 h 408174"/>
              <a:gd name="connsiteX19" fmla="*/ 205559 w 1176496"/>
              <a:gd name="connsiteY19" fmla="*/ 305347 h 408174"/>
              <a:gd name="connsiteX20" fmla="*/ 125548 w 1176496"/>
              <a:gd name="connsiteY20" fmla="*/ 270546 h 408174"/>
              <a:gd name="connsiteX21" fmla="*/ 115552 w 1176496"/>
              <a:gd name="connsiteY21" fmla="*/ 197091 h 408174"/>
              <a:gd name="connsiteX22" fmla="*/ 1263 w 1176496"/>
              <a:gd name="connsiteY22" fmla="*/ 171628 h 408174"/>
              <a:gd name="connsiteX0" fmla="*/ 1263 w 1176496"/>
              <a:gd name="connsiteY0" fmla="*/ 171628 h 407746"/>
              <a:gd name="connsiteX1" fmla="*/ 64564 w 1176496"/>
              <a:gd name="connsiteY1" fmla="*/ 286485 h 407746"/>
              <a:gd name="connsiteX2" fmla="*/ 217017 w 1176496"/>
              <a:gd name="connsiteY2" fmla="*/ 362684 h 407746"/>
              <a:gd name="connsiteX3" fmla="*/ 345584 w 1176496"/>
              <a:gd name="connsiteY3" fmla="*/ 400051 h 407746"/>
              <a:gd name="connsiteX4" fmla="*/ 484074 w 1176496"/>
              <a:gd name="connsiteY4" fmla="*/ 407746 h 407746"/>
              <a:gd name="connsiteX5" fmla="*/ 601921 w 1176496"/>
              <a:gd name="connsiteY5" fmla="*/ 398604 h 407746"/>
              <a:gd name="connsiteX6" fmla="*/ 730397 w 1176496"/>
              <a:gd name="connsiteY6" fmla="*/ 386315 h 407746"/>
              <a:gd name="connsiteX7" fmla="*/ 888958 w 1176496"/>
              <a:gd name="connsiteY7" fmla="*/ 330994 h 407746"/>
              <a:gd name="connsiteX8" fmla="*/ 1012783 w 1176496"/>
              <a:gd name="connsiteY8" fmla="*/ 261937 h 407746"/>
              <a:gd name="connsiteX9" fmla="*/ 1105652 w 1176496"/>
              <a:gd name="connsiteY9" fmla="*/ 178594 h 407746"/>
              <a:gd name="connsiteX10" fmla="*/ 1155658 w 1176496"/>
              <a:gd name="connsiteY10" fmla="*/ 71437 h 407746"/>
              <a:gd name="connsiteX11" fmla="*/ 1169946 w 1176496"/>
              <a:gd name="connsiteY11" fmla="*/ 0 h 407746"/>
              <a:gd name="connsiteX12" fmla="*/ 1052784 w 1176496"/>
              <a:gd name="connsiteY12" fmla="*/ 55316 h 407746"/>
              <a:gd name="connsiteX13" fmla="*/ 1093746 w 1176496"/>
              <a:gd name="connsiteY13" fmla="*/ 121444 h 407746"/>
              <a:gd name="connsiteX14" fmla="*/ 1006559 w 1176496"/>
              <a:gd name="connsiteY14" fmla="*/ 185367 h 407746"/>
              <a:gd name="connsiteX15" fmla="*/ 886557 w 1176496"/>
              <a:gd name="connsiteY15" fmla="*/ 250578 h 407746"/>
              <a:gd name="connsiteX16" fmla="*/ 739409 w 1176496"/>
              <a:gd name="connsiteY16" fmla="*/ 303518 h 407746"/>
              <a:gd name="connsiteX17" fmla="*/ 531771 w 1176496"/>
              <a:gd name="connsiteY17" fmla="*/ 340519 h 407746"/>
              <a:gd name="connsiteX18" fmla="*/ 344602 w 1176496"/>
              <a:gd name="connsiteY18" fmla="*/ 333923 h 407746"/>
              <a:gd name="connsiteX19" fmla="*/ 205559 w 1176496"/>
              <a:gd name="connsiteY19" fmla="*/ 305347 h 407746"/>
              <a:gd name="connsiteX20" fmla="*/ 125548 w 1176496"/>
              <a:gd name="connsiteY20" fmla="*/ 270546 h 407746"/>
              <a:gd name="connsiteX21" fmla="*/ 115552 w 1176496"/>
              <a:gd name="connsiteY21" fmla="*/ 197091 h 407746"/>
              <a:gd name="connsiteX22" fmla="*/ 1263 w 1176496"/>
              <a:gd name="connsiteY22" fmla="*/ 171628 h 407746"/>
              <a:gd name="connsiteX0" fmla="*/ 1263 w 1176496"/>
              <a:gd name="connsiteY0" fmla="*/ 171628 h 407746"/>
              <a:gd name="connsiteX1" fmla="*/ 64564 w 1176496"/>
              <a:gd name="connsiteY1" fmla="*/ 286485 h 407746"/>
              <a:gd name="connsiteX2" fmla="*/ 217017 w 1176496"/>
              <a:gd name="connsiteY2" fmla="*/ 362684 h 407746"/>
              <a:gd name="connsiteX3" fmla="*/ 345584 w 1176496"/>
              <a:gd name="connsiteY3" fmla="*/ 400051 h 407746"/>
              <a:gd name="connsiteX4" fmla="*/ 484074 w 1176496"/>
              <a:gd name="connsiteY4" fmla="*/ 407746 h 407746"/>
              <a:gd name="connsiteX5" fmla="*/ 601921 w 1176496"/>
              <a:gd name="connsiteY5" fmla="*/ 398604 h 407746"/>
              <a:gd name="connsiteX6" fmla="*/ 730397 w 1176496"/>
              <a:gd name="connsiteY6" fmla="*/ 386315 h 407746"/>
              <a:gd name="connsiteX7" fmla="*/ 888958 w 1176496"/>
              <a:gd name="connsiteY7" fmla="*/ 330994 h 407746"/>
              <a:gd name="connsiteX8" fmla="*/ 1012783 w 1176496"/>
              <a:gd name="connsiteY8" fmla="*/ 261937 h 407746"/>
              <a:gd name="connsiteX9" fmla="*/ 1105652 w 1176496"/>
              <a:gd name="connsiteY9" fmla="*/ 178594 h 407746"/>
              <a:gd name="connsiteX10" fmla="*/ 1155658 w 1176496"/>
              <a:gd name="connsiteY10" fmla="*/ 71437 h 407746"/>
              <a:gd name="connsiteX11" fmla="*/ 1169946 w 1176496"/>
              <a:gd name="connsiteY11" fmla="*/ 0 h 407746"/>
              <a:gd name="connsiteX12" fmla="*/ 1052784 w 1176496"/>
              <a:gd name="connsiteY12" fmla="*/ 55316 h 407746"/>
              <a:gd name="connsiteX13" fmla="*/ 1093746 w 1176496"/>
              <a:gd name="connsiteY13" fmla="*/ 121444 h 407746"/>
              <a:gd name="connsiteX14" fmla="*/ 1006559 w 1176496"/>
              <a:gd name="connsiteY14" fmla="*/ 185367 h 407746"/>
              <a:gd name="connsiteX15" fmla="*/ 886557 w 1176496"/>
              <a:gd name="connsiteY15" fmla="*/ 250578 h 407746"/>
              <a:gd name="connsiteX16" fmla="*/ 739409 w 1176496"/>
              <a:gd name="connsiteY16" fmla="*/ 303518 h 407746"/>
              <a:gd name="connsiteX17" fmla="*/ 531771 w 1176496"/>
              <a:gd name="connsiteY17" fmla="*/ 340519 h 407746"/>
              <a:gd name="connsiteX18" fmla="*/ 344602 w 1176496"/>
              <a:gd name="connsiteY18" fmla="*/ 333923 h 407746"/>
              <a:gd name="connsiteX19" fmla="*/ 205559 w 1176496"/>
              <a:gd name="connsiteY19" fmla="*/ 305347 h 407746"/>
              <a:gd name="connsiteX20" fmla="*/ 125548 w 1176496"/>
              <a:gd name="connsiteY20" fmla="*/ 270546 h 407746"/>
              <a:gd name="connsiteX21" fmla="*/ 115552 w 1176496"/>
              <a:gd name="connsiteY21" fmla="*/ 197091 h 407746"/>
              <a:gd name="connsiteX22" fmla="*/ 1263 w 1176496"/>
              <a:gd name="connsiteY22" fmla="*/ 171628 h 407746"/>
              <a:gd name="connsiteX0" fmla="*/ 1263 w 1176496"/>
              <a:gd name="connsiteY0" fmla="*/ 171628 h 407746"/>
              <a:gd name="connsiteX1" fmla="*/ 64564 w 1176496"/>
              <a:gd name="connsiteY1" fmla="*/ 286485 h 407746"/>
              <a:gd name="connsiteX2" fmla="*/ 217017 w 1176496"/>
              <a:gd name="connsiteY2" fmla="*/ 362684 h 407746"/>
              <a:gd name="connsiteX3" fmla="*/ 345584 w 1176496"/>
              <a:gd name="connsiteY3" fmla="*/ 400051 h 407746"/>
              <a:gd name="connsiteX4" fmla="*/ 484074 w 1176496"/>
              <a:gd name="connsiteY4" fmla="*/ 407746 h 407746"/>
              <a:gd name="connsiteX5" fmla="*/ 600490 w 1176496"/>
              <a:gd name="connsiteY5" fmla="*/ 404101 h 407746"/>
              <a:gd name="connsiteX6" fmla="*/ 730397 w 1176496"/>
              <a:gd name="connsiteY6" fmla="*/ 386315 h 407746"/>
              <a:gd name="connsiteX7" fmla="*/ 888958 w 1176496"/>
              <a:gd name="connsiteY7" fmla="*/ 330994 h 407746"/>
              <a:gd name="connsiteX8" fmla="*/ 1012783 w 1176496"/>
              <a:gd name="connsiteY8" fmla="*/ 261937 h 407746"/>
              <a:gd name="connsiteX9" fmla="*/ 1105652 w 1176496"/>
              <a:gd name="connsiteY9" fmla="*/ 178594 h 407746"/>
              <a:gd name="connsiteX10" fmla="*/ 1155658 w 1176496"/>
              <a:gd name="connsiteY10" fmla="*/ 71437 h 407746"/>
              <a:gd name="connsiteX11" fmla="*/ 1169946 w 1176496"/>
              <a:gd name="connsiteY11" fmla="*/ 0 h 407746"/>
              <a:gd name="connsiteX12" fmla="*/ 1052784 w 1176496"/>
              <a:gd name="connsiteY12" fmla="*/ 55316 h 407746"/>
              <a:gd name="connsiteX13" fmla="*/ 1093746 w 1176496"/>
              <a:gd name="connsiteY13" fmla="*/ 121444 h 407746"/>
              <a:gd name="connsiteX14" fmla="*/ 1006559 w 1176496"/>
              <a:gd name="connsiteY14" fmla="*/ 185367 h 407746"/>
              <a:gd name="connsiteX15" fmla="*/ 886557 w 1176496"/>
              <a:gd name="connsiteY15" fmla="*/ 250578 h 407746"/>
              <a:gd name="connsiteX16" fmla="*/ 739409 w 1176496"/>
              <a:gd name="connsiteY16" fmla="*/ 303518 h 407746"/>
              <a:gd name="connsiteX17" fmla="*/ 531771 w 1176496"/>
              <a:gd name="connsiteY17" fmla="*/ 340519 h 407746"/>
              <a:gd name="connsiteX18" fmla="*/ 344602 w 1176496"/>
              <a:gd name="connsiteY18" fmla="*/ 333923 h 407746"/>
              <a:gd name="connsiteX19" fmla="*/ 205559 w 1176496"/>
              <a:gd name="connsiteY19" fmla="*/ 305347 h 407746"/>
              <a:gd name="connsiteX20" fmla="*/ 125548 w 1176496"/>
              <a:gd name="connsiteY20" fmla="*/ 270546 h 407746"/>
              <a:gd name="connsiteX21" fmla="*/ 115552 w 1176496"/>
              <a:gd name="connsiteY21" fmla="*/ 197091 h 407746"/>
              <a:gd name="connsiteX22" fmla="*/ 1263 w 1176496"/>
              <a:gd name="connsiteY22" fmla="*/ 171628 h 407746"/>
              <a:gd name="connsiteX0" fmla="*/ 1263 w 1176496"/>
              <a:gd name="connsiteY0" fmla="*/ 171628 h 407746"/>
              <a:gd name="connsiteX1" fmla="*/ 64564 w 1176496"/>
              <a:gd name="connsiteY1" fmla="*/ 286485 h 407746"/>
              <a:gd name="connsiteX2" fmla="*/ 217017 w 1176496"/>
              <a:gd name="connsiteY2" fmla="*/ 362684 h 407746"/>
              <a:gd name="connsiteX3" fmla="*/ 345584 w 1176496"/>
              <a:gd name="connsiteY3" fmla="*/ 400051 h 407746"/>
              <a:gd name="connsiteX4" fmla="*/ 484074 w 1176496"/>
              <a:gd name="connsiteY4" fmla="*/ 407746 h 407746"/>
              <a:gd name="connsiteX5" fmla="*/ 600490 w 1176496"/>
              <a:gd name="connsiteY5" fmla="*/ 404101 h 407746"/>
              <a:gd name="connsiteX6" fmla="*/ 730397 w 1176496"/>
              <a:gd name="connsiteY6" fmla="*/ 386315 h 407746"/>
              <a:gd name="connsiteX7" fmla="*/ 888958 w 1176496"/>
              <a:gd name="connsiteY7" fmla="*/ 330994 h 407746"/>
              <a:gd name="connsiteX8" fmla="*/ 1012783 w 1176496"/>
              <a:gd name="connsiteY8" fmla="*/ 261937 h 407746"/>
              <a:gd name="connsiteX9" fmla="*/ 1105652 w 1176496"/>
              <a:gd name="connsiteY9" fmla="*/ 178594 h 407746"/>
              <a:gd name="connsiteX10" fmla="*/ 1155658 w 1176496"/>
              <a:gd name="connsiteY10" fmla="*/ 71437 h 407746"/>
              <a:gd name="connsiteX11" fmla="*/ 1169946 w 1176496"/>
              <a:gd name="connsiteY11" fmla="*/ 0 h 407746"/>
              <a:gd name="connsiteX12" fmla="*/ 1052784 w 1176496"/>
              <a:gd name="connsiteY12" fmla="*/ 55316 h 407746"/>
              <a:gd name="connsiteX13" fmla="*/ 1093746 w 1176496"/>
              <a:gd name="connsiteY13" fmla="*/ 121444 h 407746"/>
              <a:gd name="connsiteX14" fmla="*/ 1006559 w 1176496"/>
              <a:gd name="connsiteY14" fmla="*/ 185367 h 407746"/>
              <a:gd name="connsiteX15" fmla="*/ 886557 w 1176496"/>
              <a:gd name="connsiteY15" fmla="*/ 250578 h 407746"/>
              <a:gd name="connsiteX16" fmla="*/ 739409 w 1176496"/>
              <a:gd name="connsiteY16" fmla="*/ 303518 h 407746"/>
              <a:gd name="connsiteX17" fmla="*/ 531771 w 1176496"/>
              <a:gd name="connsiteY17" fmla="*/ 340519 h 407746"/>
              <a:gd name="connsiteX18" fmla="*/ 344602 w 1176496"/>
              <a:gd name="connsiteY18" fmla="*/ 333923 h 407746"/>
              <a:gd name="connsiteX19" fmla="*/ 205559 w 1176496"/>
              <a:gd name="connsiteY19" fmla="*/ 305347 h 407746"/>
              <a:gd name="connsiteX20" fmla="*/ 125548 w 1176496"/>
              <a:gd name="connsiteY20" fmla="*/ 270546 h 407746"/>
              <a:gd name="connsiteX21" fmla="*/ 115552 w 1176496"/>
              <a:gd name="connsiteY21" fmla="*/ 197091 h 407746"/>
              <a:gd name="connsiteX22" fmla="*/ 1263 w 1176496"/>
              <a:gd name="connsiteY22" fmla="*/ 171628 h 407746"/>
              <a:gd name="connsiteX0" fmla="*/ 1263 w 1176496"/>
              <a:gd name="connsiteY0" fmla="*/ 171628 h 407746"/>
              <a:gd name="connsiteX1" fmla="*/ 64564 w 1176496"/>
              <a:gd name="connsiteY1" fmla="*/ 286485 h 407746"/>
              <a:gd name="connsiteX2" fmla="*/ 217017 w 1176496"/>
              <a:gd name="connsiteY2" fmla="*/ 362684 h 407746"/>
              <a:gd name="connsiteX3" fmla="*/ 345584 w 1176496"/>
              <a:gd name="connsiteY3" fmla="*/ 400051 h 407746"/>
              <a:gd name="connsiteX4" fmla="*/ 484074 w 1176496"/>
              <a:gd name="connsiteY4" fmla="*/ 407746 h 407746"/>
              <a:gd name="connsiteX5" fmla="*/ 600490 w 1176496"/>
              <a:gd name="connsiteY5" fmla="*/ 404101 h 407746"/>
              <a:gd name="connsiteX6" fmla="*/ 730397 w 1176496"/>
              <a:gd name="connsiteY6" fmla="*/ 386315 h 407746"/>
              <a:gd name="connsiteX7" fmla="*/ 888958 w 1176496"/>
              <a:gd name="connsiteY7" fmla="*/ 330994 h 407746"/>
              <a:gd name="connsiteX8" fmla="*/ 997044 w 1176496"/>
              <a:gd name="connsiteY8" fmla="*/ 235550 h 407746"/>
              <a:gd name="connsiteX9" fmla="*/ 1105652 w 1176496"/>
              <a:gd name="connsiteY9" fmla="*/ 178594 h 407746"/>
              <a:gd name="connsiteX10" fmla="*/ 1155658 w 1176496"/>
              <a:gd name="connsiteY10" fmla="*/ 71437 h 407746"/>
              <a:gd name="connsiteX11" fmla="*/ 1169946 w 1176496"/>
              <a:gd name="connsiteY11" fmla="*/ 0 h 407746"/>
              <a:gd name="connsiteX12" fmla="*/ 1052784 w 1176496"/>
              <a:gd name="connsiteY12" fmla="*/ 55316 h 407746"/>
              <a:gd name="connsiteX13" fmla="*/ 1093746 w 1176496"/>
              <a:gd name="connsiteY13" fmla="*/ 121444 h 407746"/>
              <a:gd name="connsiteX14" fmla="*/ 1006559 w 1176496"/>
              <a:gd name="connsiteY14" fmla="*/ 185367 h 407746"/>
              <a:gd name="connsiteX15" fmla="*/ 886557 w 1176496"/>
              <a:gd name="connsiteY15" fmla="*/ 250578 h 407746"/>
              <a:gd name="connsiteX16" fmla="*/ 739409 w 1176496"/>
              <a:gd name="connsiteY16" fmla="*/ 303518 h 407746"/>
              <a:gd name="connsiteX17" fmla="*/ 531771 w 1176496"/>
              <a:gd name="connsiteY17" fmla="*/ 340519 h 407746"/>
              <a:gd name="connsiteX18" fmla="*/ 344602 w 1176496"/>
              <a:gd name="connsiteY18" fmla="*/ 333923 h 407746"/>
              <a:gd name="connsiteX19" fmla="*/ 205559 w 1176496"/>
              <a:gd name="connsiteY19" fmla="*/ 305347 h 407746"/>
              <a:gd name="connsiteX20" fmla="*/ 125548 w 1176496"/>
              <a:gd name="connsiteY20" fmla="*/ 270546 h 407746"/>
              <a:gd name="connsiteX21" fmla="*/ 115552 w 1176496"/>
              <a:gd name="connsiteY21" fmla="*/ 197091 h 407746"/>
              <a:gd name="connsiteX22" fmla="*/ 1263 w 1176496"/>
              <a:gd name="connsiteY22" fmla="*/ 171628 h 407746"/>
              <a:gd name="connsiteX0" fmla="*/ 1263 w 1176575"/>
              <a:gd name="connsiteY0" fmla="*/ 171628 h 407746"/>
              <a:gd name="connsiteX1" fmla="*/ 64564 w 1176575"/>
              <a:gd name="connsiteY1" fmla="*/ 286485 h 407746"/>
              <a:gd name="connsiteX2" fmla="*/ 217017 w 1176575"/>
              <a:gd name="connsiteY2" fmla="*/ 362684 h 407746"/>
              <a:gd name="connsiteX3" fmla="*/ 345584 w 1176575"/>
              <a:gd name="connsiteY3" fmla="*/ 400051 h 407746"/>
              <a:gd name="connsiteX4" fmla="*/ 484074 w 1176575"/>
              <a:gd name="connsiteY4" fmla="*/ 407746 h 407746"/>
              <a:gd name="connsiteX5" fmla="*/ 600490 w 1176575"/>
              <a:gd name="connsiteY5" fmla="*/ 404101 h 407746"/>
              <a:gd name="connsiteX6" fmla="*/ 730397 w 1176575"/>
              <a:gd name="connsiteY6" fmla="*/ 386315 h 407746"/>
              <a:gd name="connsiteX7" fmla="*/ 888958 w 1176575"/>
              <a:gd name="connsiteY7" fmla="*/ 330994 h 407746"/>
              <a:gd name="connsiteX8" fmla="*/ 997044 w 1176575"/>
              <a:gd name="connsiteY8" fmla="*/ 235550 h 407746"/>
              <a:gd name="connsiteX9" fmla="*/ 1102790 w 1176575"/>
              <a:gd name="connsiteY9" fmla="*/ 173097 h 407746"/>
              <a:gd name="connsiteX10" fmla="*/ 1155658 w 1176575"/>
              <a:gd name="connsiteY10" fmla="*/ 71437 h 407746"/>
              <a:gd name="connsiteX11" fmla="*/ 1169946 w 1176575"/>
              <a:gd name="connsiteY11" fmla="*/ 0 h 407746"/>
              <a:gd name="connsiteX12" fmla="*/ 1052784 w 1176575"/>
              <a:gd name="connsiteY12" fmla="*/ 55316 h 407746"/>
              <a:gd name="connsiteX13" fmla="*/ 1093746 w 1176575"/>
              <a:gd name="connsiteY13" fmla="*/ 121444 h 407746"/>
              <a:gd name="connsiteX14" fmla="*/ 1006559 w 1176575"/>
              <a:gd name="connsiteY14" fmla="*/ 185367 h 407746"/>
              <a:gd name="connsiteX15" fmla="*/ 886557 w 1176575"/>
              <a:gd name="connsiteY15" fmla="*/ 250578 h 407746"/>
              <a:gd name="connsiteX16" fmla="*/ 739409 w 1176575"/>
              <a:gd name="connsiteY16" fmla="*/ 303518 h 407746"/>
              <a:gd name="connsiteX17" fmla="*/ 531771 w 1176575"/>
              <a:gd name="connsiteY17" fmla="*/ 340519 h 407746"/>
              <a:gd name="connsiteX18" fmla="*/ 344602 w 1176575"/>
              <a:gd name="connsiteY18" fmla="*/ 333923 h 407746"/>
              <a:gd name="connsiteX19" fmla="*/ 205559 w 1176575"/>
              <a:gd name="connsiteY19" fmla="*/ 305347 h 407746"/>
              <a:gd name="connsiteX20" fmla="*/ 125548 w 1176575"/>
              <a:gd name="connsiteY20" fmla="*/ 270546 h 407746"/>
              <a:gd name="connsiteX21" fmla="*/ 115552 w 1176575"/>
              <a:gd name="connsiteY21" fmla="*/ 197091 h 407746"/>
              <a:gd name="connsiteX22" fmla="*/ 1263 w 1176575"/>
              <a:gd name="connsiteY22" fmla="*/ 171628 h 407746"/>
              <a:gd name="connsiteX0" fmla="*/ 1263 w 1176575"/>
              <a:gd name="connsiteY0" fmla="*/ 171628 h 407746"/>
              <a:gd name="connsiteX1" fmla="*/ 64564 w 1176575"/>
              <a:gd name="connsiteY1" fmla="*/ 286485 h 407746"/>
              <a:gd name="connsiteX2" fmla="*/ 217017 w 1176575"/>
              <a:gd name="connsiteY2" fmla="*/ 362684 h 407746"/>
              <a:gd name="connsiteX3" fmla="*/ 345584 w 1176575"/>
              <a:gd name="connsiteY3" fmla="*/ 400051 h 407746"/>
              <a:gd name="connsiteX4" fmla="*/ 484074 w 1176575"/>
              <a:gd name="connsiteY4" fmla="*/ 407746 h 407746"/>
              <a:gd name="connsiteX5" fmla="*/ 600490 w 1176575"/>
              <a:gd name="connsiteY5" fmla="*/ 404101 h 407746"/>
              <a:gd name="connsiteX6" fmla="*/ 730397 w 1176575"/>
              <a:gd name="connsiteY6" fmla="*/ 386315 h 407746"/>
              <a:gd name="connsiteX7" fmla="*/ 888958 w 1176575"/>
              <a:gd name="connsiteY7" fmla="*/ 330994 h 407746"/>
              <a:gd name="connsiteX8" fmla="*/ 997044 w 1176575"/>
              <a:gd name="connsiteY8" fmla="*/ 235550 h 407746"/>
              <a:gd name="connsiteX9" fmla="*/ 1102790 w 1176575"/>
              <a:gd name="connsiteY9" fmla="*/ 173097 h 407746"/>
              <a:gd name="connsiteX10" fmla="*/ 1155658 w 1176575"/>
              <a:gd name="connsiteY10" fmla="*/ 71437 h 407746"/>
              <a:gd name="connsiteX11" fmla="*/ 1169946 w 1176575"/>
              <a:gd name="connsiteY11" fmla="*/ 0 h 407746"/>
              <a:gd name="connsiteX12" fmla="*/ 1052784 w 1176575"/>
              <a:gd name="connsiteY12" fmla="*/ 55316 h 407746"/>
              <a:gd name="connsiteX13" fmla="*/ 1093746 w 1176575"/>
              <a:gd name="connsiteY13" fmla="*/ 121444 h 407746"/>
              <a:gd name="connsiteX14" fmla="*/ 1006559 w 1176575"/>
              <a:gd name="connsiteY14" fmla="*/ 185367 h 407746"/>
              <a:gd name="connsiteX15" fmla="*/ 886557 w 1176575"/>
              <a:gd name="connsiteY15" fmla="*/ 250578 h 407746"/>
              <a:gd name="connsiteX16" fmla="*/ 739409 w 1176575"/>
              <a:gd name="connsiteY16" fmla="*/ 303518 h 407746"/>
              <a:gd name="connsiteX17" fmla="*/ 531771 w 1176575"/>
              <a:gd name="connsiteY17" fmla="*/ 340519 h 407746"/>
              <a:gd name="connsiteX18" fmla="*/ 344602 w 1176575"/>
              <a:gd name="connsiteY18" fmla="*/ 333923 h 407746"/>
              <a:gd name="connsiteX19" fmla="*/ 205559 w 1176575"/>
              <a:gd name="connsiteY19" fmla="*/ 305347 h 407746"/>
              <a:gd name="connsiteX20" fmla="*/ 125548 w 1176575"/>
              <a:gd name="connsiteY20" fmla="*/ 270546 h 407746"/>
              <a:gd name="connsiteX21" fmla="*/ 115552 w 1176575"/>
              <a:gd name="connsiteY21" fmla="*/ 197091 h 407746"/>
              <a:gd name="connsiteX22" fmla="*/ 1263 w 1176575"/>
              <a:gd name="connsiteY22" fmla="*/ 171628 h 407746"/>
              <a:gd name="connsiteX0" fmla="*/ 1263 w 1176861"/>
              <a:gd name="connsiteY0" fmla="*/ 171628 h 407746"/>
              <a:gd name="connsiteX1" fmla="*/ 64564 w 1176861"/>
              <a:gd name="connsiteY1" fmla="*/ 286485 h 407746"/>
              <a:gd name="connsiteX2" fmla="*/ 217017 w 1176861"/>
              <a:gd name="connsiteY2" fmla="*/ 362684 h 407746"/>
              <a:gd name="connsiteX3" fmla="*/ 345584 w 1176861"/>
              <a:gd name="connsiteY3" fmla="*/ 400051 h 407746"/>
              <a:gd name="connsiteX4" fmla="*/ 484074 w 1176861"/>
              <a:gd name="connsiteY4" fmla="*/ 407746 h 407746"/>
              <a:gd name="connsiteX5" fmla="*/ 600490 w 1176861"/>
              <a:gd name="connsiteY5" fmla="*/ 404101 h 407746"/>
              <a:gd name="connsiteX6" fmla="*/ 730397 w 1176861"/>
              <a:gd name="connsiteY6" fmla="*/ 386315 h 407746"/>
              <a:gd name="connsiteX7" fmla="*/ 888958 w 1176861"/>
              <a:gd name="connsiteY7" fmla="*/ 330994 h 407746"/>
              <a:gd name="connsiteX8" fmla="*/ 997044 w 1176861"/>
              <a:gd name="connsiteY8" fmla="*/ 235550 h 407746"/>
              <a:gd name="connsiteX9" fmla="*/ 1092774 w 1176861"/>
              <a:gd name="connsiteY9" fmla="*/ 163201 h 407746"/>
              <a:gd name="connsiteX10" fmla="*/ 1155658 w 1176861"/>
              <a:gd name="connsiteY10" fmla="*/ 71437 h 407746"/>
              <a:gd name="connsiteX11" fmla="*/ 1169946 w 1176861"/>
              <a:gd name="connsiteY11" fmla="*/ 0 h 407746"/>
              <a:gd name="connsiteX12" fmla="*/ 1052784 w 1176861"/>
              <a:gd name="connsiteY12" fmla="*/ 55316 h 407746"/>
              <a:gd name="connsiteX13" fmla="*/ 1093746 w 1176861"/>
              <a:gd name="connsiteY13" fmla="*/ 121444 h 407746"/>
              <a:gd name="connsiteX14" fmla="*/ 1006559 w 1176861"/>
              <a:gd name="connsiteY14" fmla="*/ 185367 h 407746"/>
              <a:gd name="connsiteX15" fmla="*/ 886557 w 1176861"/>
              <a:gd name="connsiteY15" fmla="*/ 250578 h 407746"/>
              <a:gd name="connsiteX16" fmla="*/ 739409 w 1176861"/>
              <a:gd name="connsiteY16" fmla="*/ 303518 h 407746"/>
              <a:gd name="connsiteX17" fmla="*/ 531771 w 1176861"/>
              <a:gd name="connsiteY17" fmla="*/ 340519 h 407746"/>
              <a:gd name="connsiteX18" fmla="*/ 344602 w 1176861"/>
              <a:gd name="connsiteY18" fmla="*/ 333923 h 407746"/>
              <a:gd name="connsiteX19" fmla="*/ 205559 w 1176861"/>
              <a:gd name="connsiteY19" fmla="*/ 305347 h 407746"/>
              <a:gd name="connsiteX20" fmla="*/ 125548 w 1176861"/>
              <a:gd name="connsiteY20" fmla="*/ 270546 h 407746"/>
              <a:gd name="connsiteX21" fmla="*/ 115552 w 1176861"/>
              <a:gd name="connsiteY21" fmla="*/ 197091 h 407746"/>
              <a:gd name="connsiteX22" fmla="*/ 1263 w 1176861"/>
              <a:gd name="connsiteY22" fmla="*/ 171628 h 407746"/>
              <a:gd name="connsiteX0" fmla="*/ 1263 w 1176861"/>
              <a:gd name="connsiteY0" fmla="*/ 171628 h 407746"/>
              <a:gd name="connsiteX1" fmla="*/ 64564 w 1176861"/>
              <a:gd name="connsiteY1" fmla="*/ 286485 h 407746"/>
              <a:gd name="connsiteX2" fmla="*/ 217017 w 1176861"/>
              <a:gd name="connsiteY2" fmla="*/ 362684 h 407746"/>
              <a:gd name="connsiteX3" fmla="*/ 345584 w 1176861"/>
              <a:gd name="connsiteY3" fmla="*/ 400051 h 407746"/>
              <a:gd name="connsiteX4" fmla="*/ 484074 w 1176861"/>
              <a:gd name="connsiteY4" fmla="*/ 407746 h 407746"/>
              <a:gd name="connsiteX5" fmla="*/ 600490 w 1176861"/>
              <a:gd name="connsiteY5" fmla="*/ 404101 h 407746"/>
              <a:gd name="connsiteX6" fmla="*/ 730397 w 1176861"/>
              <a:gd name="connsiteY6" fmla="*/ 386315 h 407746"/>
              <a:gd name="connsiteX7" fmla="*/ 888958 w 1176861"/>
              <a:gd name="connsiteY7" fmla="*/ 330994 h 407746"/>
              <a:gd name="connsiteX8" fmla="*/ 997044 w 1176861"/>
              <a:gd name="connsiteY8" fmla="*/ 235550 h 407746"/>
              <a:gd name="connsiteX9" fmla="*/ 1092774 w 1176861"/>
              <a:gd name="connsiteY9" fmla="*/ 163201 h 407746"/>
              <a:gd name="connsiteX10" fmla="*/ 1155658 w 1176861"/>
              <a:gd name="connsiteY10" fmla="*/ 71437 h 407746"/>
              <a:gd name="connsiteX11" fmla="*/ 1169946 w 1176861"/>
              <a:gd name="connsiteY11" fmla="*/ 0 h 407746"/>
              <a:gd name="connsiteX12" fmla="*/ 1052784 w 1176861"/>
              <a:gd name="connsiteY12" fmla="*/ 55316 h 407746"/>
              <a:gd name="connsiteX13" fmla="*/ 1093746 w 1176861"/>
              <a:gd name="connsiteY13" fmla="*/ 121444 h 407746"/>
              <a:gd name="connsiteX14" fmla="*/ 1006559 w 1176861"/>
              <a:gd name="connsiteY14" fmla="*/ 185367 h 407746"/>
              <a:gd name="connsiteX15" fmla="*/ 886557 w 1176861"/>
              <a:gd name="connsiteY15" fmla="*/ 250578 h 407746"/>
              <a:gd name="connsiteX16" fmla="*/ 739409 w 1176861"/>
              <a:gd name="connsiteY16" fmla="*/ 303518 h 407746"/>
              <a:gd name="connsiteX17" fmla="*/ 531771 w 1176861"/>
              <a:gd name="connsiteY17" fmla="*/ 340519 h 407746"/>
              <a:gd name="connsiteX18" fmla="*/ 344602 w 1176861"/>
              <a:gd name="connsiteY18" fmla="*/ 333923 h 407746"/>
              <a:gd name="connsiteX19" fmla="*/ 205559 w 1176861"/>
              <a:gd name="connsiteY19" fmla="*/ 305347 h 407746"/>
              <a:gd name="connsiteX20" fmla="*/ 125548 w 1176861"/>
              <a:gd name="connsiteY20" fmla="*/ 270546 h 407746"/>
              <a:gd name="connsiteX21" fmla="*/ 121924 w 1176861"/>
              <a:gd name="connsiteY21" fmla="*/ 188931 h 407746"/>
              <a:gd name="connsiteX22" fmla="*/ 1263 w 1176861"/>
              <a:gd name="connsiteY22" fmla="*/ 171628 h 407746"/>
              <a:gd name="connsiteX0" fmla="*/ 1317 w 1174791"/>
              <a:gd name="connsiteY0" fmla="*/ 161835 h 407746"/>
              <a:gd name="connsiteX1" fmla="*/ 62494 w 1174791"/>
              <a:gd name="connsiteY1" fmla="*/ 286485 h 407746"/>
              <a:gd name="connsiteX2" fmla="*/ 214947 w 1174791"/>
              <a:gd name="connsiteY2" fmla="*/ 362684 h 407746"/>
              <a:gd name="connsiteX3" fmla="*/ 343514 w 1174791"/>
              <a:gd name="connsiteY3" fmla="*/ 400051 h 407746"/>
              <a:gd name="connsiteX4" fmla="*/ 482004 w 1174791"/>
              <a:gd name="connsiteY4" fmla="*/ 407746 h 407746"/>
              <a:gd name="connsiteX5" fmla="*/ 598420 w 1174791"/>
              <a:gd name="connsiteY5" fmla="*/ 404101 h 407746"/>
              <a:gd name="connsiteX6" fmla="*/ 728327 w 1174791"/>
              <a:gd name="connsiteY6" fmla="*/ 386315 h 407746"/>
              <a:gd name="connsiteX7" fmla="*/ 886888 w 1174791"/>
              <a:gd name="connsiteY7" fmla="*/ 330994 h 407746"/>
              <a:gd name="connsiteX8" fmla="*/ 994974 w 1174791"/>
              <a:gd name="connsiteY8" fmla="*/ 235550 h 407746"/>
              <a:gd name="connsiteX9" fmla="*/ 1090704 w 1174791"/>
              <a:gd name="connsiteY9" fmla="*/ 163201 h 407746"/>
              <a:gd name="connsiteX10" fmla="*/ 1153588 w 1174791"/>
              <a:gd name="connsiteY10" fmla="*/ 71437 h 407746"/>
              <a:gd name="connsiteX11" fmla="*/ 1167876 w 1174791"/>
              <a:gd name="connsiteY11" fmla="*/ 0 h 407746"/>
              <a:gd name="connsiteX12" fmla="*/ 1050714 w 1174791"/>
              <a:gd name="connsiteY12" fmla="*/ 55316 h 407746"/>
              <a:gd name="connsiteX13" fmla="*/ 1091676 w 1174791"/>
              <a:gd name="connsiteY13" fmla="*/ 121444 h 407746"/>
              <a:gd name="connsiteX14" fmla="*/ 1004489 w 1174791"/>
              <a:gd name="connsiteY14" fmla="*/ 185367 h 407746"/>
              <a:gd name="connsiteX15" fmla="*/ 884487 w 1174791"/>
              <a:gd name="connsiteY15" fmla="*/ 250578 h 407746"/>
              <a:gd name="connsiteX16" fmla="*/ 737339 w 1174791"/>
              <a:gd name="connsiteY16" fmla="*/ 303518 h 407746"/>
              <a:gd name="connsiteX17" fmla="*/ 529701 w 1174791"/>
              <a:gd name="connsiteY17" fmla="*/ 340519 h 407746"/>
              <a:gd name="connsiteX18" fmla="*/ 342532 w 1174791"/>
              <a:gd name="connsiteY18" fmla="*/ 333923 h 407746"/>
              <a:gd name="connsiteX19" fmla="*/ 203489 w 1174791"/>
              <a:gd name="connsiteY19" fmla="*/ 305347 h 407746"/>
              <a:gd name="connsiteX20" fmla="*/ 123478 w 1174791"/>
              <a:gd name="connsiteY20" fmla="*/ 270546 h 407746"/>
              <a:gd name="connsiteX21" fmla="*/ 119854 w 1174791"/>
              <a:gd name="connsiteY21" fmla="*/ 188931 h 407746"/>
              <a:gd name="connsiteX22" fmla="*/ 1317 w 1174791"/>
              <a:gd name="connsiteY22" fmla="*/ 161835 h 407746"/>
              <a:gd name="connsiteX0" fmla="*/ 1317 w 1174791"/>
              <a:gd name="connsiteY0" fmla="*/ 161835 h 407746"/>
              <a:gd name="connsiteX1" fmla="*/ 62494 w 1174791"/>
              <a:gd name="connsiteY1" fmla="*/ 286485 h 407746"/>
              <a:gd name="connsiteX2" fmla="*/ 214947 w 1174791"/>
              <a:gd name="connsiteY2" fmla="*/ 362684 h 407746"/>
              <a:gd name="connsiteX3" fmla="*/ 343514 w 1174791"/>
              <a:gd name="connsiteY3" fmla="*/ 400051 h 407746"/>
              <a:gd name="connsiteX4" fmla="*/ 482004 w 1174791"/>
              <a:gd name="connsiteY4" fmla="*/ 407746 h 407746"/>
              <a:gd name="connsiteX5" fmla="*/ 598420 w 1174791"/>
              <a:gd name="connsiteY5" fmla="*/ 404101 h 407746"/>
              <a:gd name="connsiteX6" fmla="*/ 728327 w 1174791"/>
              <a:gd name="connsiteY6" fmla="*/ 386315 h 407746"/>
              <a:gd name="connsiteX7" fmla="*/ 886888 w 1174791"/>
              <a:gd name="connsiteY7" fmla="*/ 330994 h 407746"/>
              <a:gd name="connsiteX8" fmla="*/ 994974 w 1174791"/>
              <a:gd name="connsiteY8" fmla="*/ 235550 h 407746"/>
              <a:gd name="connsiteX9" fmla="*/ 1090704 w 1174791"/>
              <a:gd name="connsiteY9" fmla="*/ 163201 h 407746"/>
              <a:gd name="connsiteX10" fmla="*/ 1153588 w 1174791"/>
              <a:gd name="connsiteY10" fmla="*/ 71437 h 407746"/>
              <a:gd name="connsiteX11" fmla="*/ 1167876 w 1174791"/>
              <a:gd name="connsiteY11" fmla="*/ 0 h 407746"/>
              <a:gd name="connsiteX12" fmla="*/ 1050714 w 1174791"/>
              <a:gd name="connsiteY12" fmla="*/ 55316 h 407746"/>
              <a:gd name="connsiteX13" fmla="*/ 1091676 w 1174791"/>
              <a:gd name="connsiteY13" fmla="*/ 121444 h 407746"/>
              <a:gd name="connsiteX14" fmla="*/ 1004489 w 1174791"/>
              <a:gd name="connsiteY14" fmla="*/ 185367 h 407746"/>
              <a:gd name="connsiteX15" fmla="*/ 884487 w 1174791"/>
              <a:gd name="connsiteY15" fmla="*/ 250578 h 407746"/>
              <a:gd name="connsiteX16" fmla="*/ 737339 w 1174791"/>
              <a:gd name="connsiteY16" fmla="*/ 303518 h 407746"/>
              <a:gd name="connsiteX17" fmla="*/ 529701 w 1174791"/>
              <a:gd name="connsiteY17" fmla="*/ 340519 h 407746"/>
              <a:gd name="connsiteX18" fmla="*/ 342532 w 1174791"/>
              <a:gd name="connsiteY18" fmla="*/ 333923 h 407746"/>
              <a:gd name="connsiteX19" fmla="*/ 203489 w 1174791"/>
              <a:gd name="connsiteY19" fmla="*/ 305347 h 407746"/>
              <a:gd name="connsiteX20" fmla="*/ 123478 w 1174791"/>
              <a:gd name="connsiteY20" fmla="*/ 270546 h 407746"/>
              <a:gd name="connsiteX21" fmla="*/ 113482 w 1174791"/>
              <a:gd name="connsiteY21" fmla="*/ 188931 h 407746"/>
              <a:gd name="connsiteX22" fmla="*/ 1317 w 1174791"/>
              <a:gd name="connsiteY22" fmla="*/ 161835 h 407746"/>
              <a:gd name="connsiteX0" fmla="*/ 1374 w 1172725"/>
              <a:gd name="connsiteY0" fmla="*/ 152043 h 407746"/>
              <a:gd name="connsiteX1" fmla="*/ 60428 w 1172725"/>
              <a:gd name="connsiteY1" fmla="*/ 286485 h 407746"/>
              <a:gd name="connsiteX2" fmla="*/ 212881 w 1172725"/>
              <a:gd name="connsiteY2" fmla="*/ 362684 h 407746"/>
              <a:gd name="connsiteX3" fmla="*/ 341448 w 1172725"/>
              <a:gd name="connsiteY3" fmla="*/ 400051 h 407746"/>
              <a:gd name="connsiteX4" fmla="*/ 479938 w 1172725"/>
              <a:gd name="connsiteY4" fmla="*/ 407746 h 407746"/>
              <a:gd name="connsiteX5" fmla="*/ 596354 w 1172725"/>
              <a:gd name="connsiteY5" fmla="*/ 404101 h 407746"/>
              <a:gd name="connsiteX6" fmla="*/ 726261 w 1172725"/>
              <a:gd name="connsiteY6" fmla="*/ 386315 h 407746"/>
              <a:gd name="connsiteX7" fmla="*/ 884822 w 1172725"/>
              <a:gd name="connsiteY7" fmla="*/ 330994 h 407746"/>
              <a:gd name="connsiteX8" fmla="*/ 992908 w 1172725"/>
              <a:gd name="connsiteY8" fmla="*/ 235550 h 407746"/>
              <a:gd name="connsiteX9" fmla="*/ 1088638 w 1172725"/>
              <a:gd name="connsiteY9" fmla="*/ 163201 h 407746"/>
              <a:gd name="connsiteX10" fmla="*/ 1151522 w 1172725"/>
              <a:gd name="connsiteY10" fmla="*/ 71437 h 407746"/>
              <a:gd name="connsiteX11" fmla="*/ 1165810 w 1172725"/>
              <a:gd name="connsiteY11" fmla="*/ 0 h 407746"/>
              <a:gd name="connsiteX12" fmla="*/ 1048648 w 1172725"/>
              <a:gd name="connsiteY12" fmla="*/ 55316 h 407746"/>
              <a:gd name="connsiteX13" fmla="*/ 1089610 w 1172725"/>
              <a:gd name="connsiteY13" fmla="*/ 121444 h 407746"/>
              <a:gd name="connsiteX14" fmla="*/ 1002423 w 1172725"/>
              <a:gd name="connsiteY14" fmla="*/ 185367 h 407746"/>
              <a:gd name="connsiteX15" fmla="*/ 882421 w 1172725"/>
              <a:gd name="connsiteY15" fmla="*/ 250578 h 407746"/>
              <a:gd name="connsiteX16" fmla="*/ 735273 w 1172725"/>
              <a:gd name="connsiteY16" fmla="*/ 303518 h 407746"/>
              <a:gd name="connsiteX17" fmla="*/ 527635 w 1172725"/>
              <a:gd name="connsiteY17" fmla="*/ 340519 h 407746"/>
              <a:gd name="connsiteX18" fmla="*/ 340466 w 1172725"/>
              <a:gd name="connsiteY18" fmla="*/ 333923 h 407746"/>
              <a:gd name="connsiteX19" fmla="*/ 201423 w 1172725"/>
              <a:gd name="connsiteY19" fmla="*/ 305347 h 407746"/>
              <a:gd name="connsiteX20" fmla="*/ 121412 w 1172725"/>
              <a:gd name="connsiteY20" fmla="*/ 270546 h 407746"/>
              <a:gd name="connsiteX21" fmla="*/ 111416 w 1172725"/>
              <a:gd name="connsiteY21" fmla="*/ 188931 h 407746"/>
              <a:gd name="connsiteX22" fmla="*/ 1374 w 1172725"/>
              <a:gd name="connsiteY22" fmla="*/ 152043 h 407746"/>
              <a:gd name="connsiteX0" fmla="*/ 1851 w 1160458"/>
              <a:gd name="connsiteY0" fmla="*/ 152043 h 407746"/>
              <a:gd name="connsiteX1" fmla="*/ 48161 w 1160458"/>
              <a:gd name="connsiteY1" fmla="*/ 286485 h 407746"/>
              <a:gd name="connsiteX2" fmla="*/ 200614 w 1160458"/>
              <a:gd name="connsiteY2" fmla="*/ 362684 h 407746"/>
              <a:gd name="connsiteX3" fmla="*/ 329181 w 1160458"/>
              <a:gd name="connsiteY3" fmla="*/ 400051 h 407746"/>
              <a:gd name="connsiteX4" fmla="*/ 467671 w 1160458"/>
              <a:gd name="connsiteY4" fmla="*/ 407746 h 407746"/>
              <a:gd name="connsiteX5" fmla="*/ 584087 w 1160458"/>
              <a:gd name="connsiteY5" fmla="*/ 404101 h 407746"/>
              <a:gd name="connsiteX6" fmla="*/ 713994 w 1160458"/>
              <a:gd name="connsiteY6" fmla="*/ 386315 h 407746"/>
              <a:gd name="connsiteX7" fmla="*/ 872555 w 1160458"/>
              <a:gd name="connsiteY7" fmla="*/ 330994 h 407746"/>
              <a:gd name="connsiteX8" fmla="*/ 980641 w 1160458"/>
              <a:gd name="connsiteY8" fmla="*/ 235550 h 407746"/>
              <a:gd name="connsiteX9" fmla="*/ 1076371 w 1160458"/>
              <a:gd name="connsiteY9" fmla="*/ 163201 h 407746"/>
              <a:gd name="connsiteX10" fmla="*/ 1139255 w 1160458"/>
              <a:gd name="connsiteY10" fmla="*/ 71437 h 407746"/>
              <a:gd name="connsiteX11" fmla="*/ 1153543 w 1160458"/>
              <a:gd name="connsiteY11" fmla="*/ 0 h 407746"/>
              <a:gd name="connsiteX12" fmla="*/ 1036381 w 1160458"/>
              <a:gd name="connsiteY12" fmla="*/ 55316 h 407746"/>
              <a:gd name="connsiteX13" fmla="*/ 1077343 w 1160458"/>
              <a:gd name="connsiteY13" fmla="*/ 121444 h 407746"/>
              <a:gd name="connsiteX14" fmla="*/ 990156 w 1160458"/>
              <a:gd name="connsiteY14" fmla="*/ 185367 h 407746"/>
              <a:gd name="connsiteX15" fmla="*/ 870154 w 1160458"/>
              <a:gd name="connsiteY15" fmla="*/ 250578 h 407746"/>
              <a:gd name="connsiteX16" fmla="*/ 723006 w 1160458"/>
              <a:gd name="connsiteY16" fmla="*/ 303518 h 407746"/>
              <a:gd name="connsiteX17" fmla="*/ 515368 w 1160458"/>
              <a:gd name="connsiteY17" fmla="*/ 340519 h 407746"/>
              <a:gd name="connsiteX18" fmla="*/ 328199 w 1160458"/>
              <a:gd name="connsiteY18" fmla="*/ 333923 h 407746"/>
              <a:gd name="connsiteX19" fmla="*/ 189156 w 1160458"/>
              <a:gd name="connsiteY19" fmla="*/ 305347 h 407746"/>
              <a:gd name="connsiteX20" fmla="*/ 109145 w 1160458"/>
              <a:gd name="connsiteY20" fmla="*/ 270546 h 407746"/>
              <a:gd name="connsiteX21" fmla="*/ 99149 w 1160458"/>
              <a:gd name="connsiteY21" fmla="*/ 188931 h 407746"/>
              <a:gd name="connsiteX22" fmla="*/ 1851 w 1160458"/>
              <a:gd name="connsiteY22" fmla="*/ 152043 h 407746"/>
              <a:gd name="connsiteX0" fmla="*/ 1309 w 1159916"/>
              <a:gd name="connsiteY0" fmla="*/ 152043 h 407746"/>
              <a:gd name="connsiteX1" fmla="*/ 60364 w 1159916"/>
              <a:gd name="connsiteY1" fmla="*/ 286485 h 407746"/>
              <a:gd name="connsiteX2" fmla="*/ 200072 w 1159916"/>
              <a:gd name="connsiteY2" fmla="*/ 362684 h 407746"/>
              <a:gd name="connsiteX3" fmla="*/ 328639 w 1159916"/>
              <a:gd name="connsiteY3" fmla="*/ 400051 h 407746"/>
              <a:gd name="connsiteX4" fmla="*/ 467129 w 1159916"/>
              <a:gd name="connsiteY4" fmla="*/ 407746 h 407746"/>
              <a:gd name="connsiteX5" fmla="*/ 583545 w 1159916"/>
              <a:gd name="connsiteY5" fmla="*/ 404101 h 407746"/>
              <a:gd name="connsiteX6" fmla="*/ 713452 w 1159916"/>
              <a:gd name="connsiteY6" fmla="*/ 386315 h 407746"/>
              <a:gd name="connsiteX7" fmla="*/ 872013 w 1159916"/>
              <a:gd name="connsiteY7" fmla="*/ 330994 h 407746"/>
              <a:gd name="connsiteX8" fmla="*/ 980099 w 1159916"/>
              <a:gd name="connsiteY8" fmla="*/ 235550 h 407746"/>
              <a:gd name="connsiteX9" fmla="*/ 1075829 w 1159916"/>
              <a:gd name="connsiteY9" fmla="*/ 163201 h 407746"/>
              <a:gd name="connsiteX10" fmla="*/ 1138713 w 1159916"/>
              <a:gd name="connsiteY10" fmla="*/ 71437 h 407746"/>
              <a:gd name="connsiteX11" fmla="*/ 1153001 w 1159916"/>
              <a:gd name="connsiteY11" fmla="*/ 0 h 407746"/>
              <a:gd name="connsiteX12" fmla="*/ 1035839 w 1159916"/>
              <a:gd name="connsiteY12" fmla="*/ 55316 h 407746"/>
              <a:gd name="connsiteX13" fmla="*/ 1076801 w 1159916"/>
              <a:gd name="connsiteY13" fmla="*/ 121444 h 407746"/>
              <a:gd name="connsiteX14" fmla="*/ 989614 w 1159916"/>
              <a:gd name="connsiteY14" fmla="*/ 185367 h 407746"/>
              <a:gd name="connsiteX15" fmla="*/ 869612 w 1159916"/>
              <a:gd name="connsiteY15" fmla="*/ 250578 h 407746"/>
              <a:gd name="connsiteX16" fmla="*/ 722464 w 1159916"/>
              <a:gd name="connsiteY16" fmla="*/ 303518 h 407746"/>
              <a:gd name="connsiteX17" fmla="*/ 514826 w 1159916"/>
              <a:gd name="connsiteY17" fmla="*/ 340519 h 407746"/>
              <a:gd name="connsiteX18" fmla="*/ 327657 w 1159916"/>
              <a:gd name="connsiteY18" fmla="*/ 333923 h 407746"/>
              <a:gd name="connsiteX19" fmla="*/ 188614 w 1159916"/>
              <a:gd name="connsiteY19" fmla="*/ 305347 h 407746"/>
              <a:gd name="connsiteX20" fmla="*/ 108603 w 1159916"/>
              <a:gd name="connsiteY20" fmla="*/ 270546 h 407746"/>
              <a:gd name="connsiteX21" fmla="*/ 98607 w 1159916"/>
              <a:gd name="connsiteY21" fmla="*/ 188931 h 407746"/>
              <a:gd name="connsiteX22" fmla="*/ 1309 w 1159916"/>
              <a:gd name="connsiteY22" fmla="*/ 152043 h 407746"/>
              <a:gd name="connsiteX0" fmla="*/ 1309 w 1143480"/>
              <a:gd name="connsiteY0" fmla="*/ 148779 h 404482"/>
              <a:gd name="connsiteX1" fmla="*/ 60364 w 1143480"/>
              <a:gd name="connsiteY1" fmla="*/ 283221 h 404482"/>
              <a:gd name="connsiteX2" fmla="*/ 200072 w 1143480"/>
              <a:gd name="connsiteY2" fmla="*/ 359420 h 404482"/>
              <a:gd name="connsiteX3" fmla="*/ 328639 w 1143480"/>
              <a:gd name="connsiteY3" fmla="*/ 396787 h 404482"/>
              <a:gd name="connsiteX4" fmla="*/ 467129 w 1143480"/>
              <a:gd name="connsiteY4" fmla="*/ 404482 h 404482"/>
              <a:gd name="connsiteX5" fmla="*/ 583545 w 1143480"/>
              <a:gd name="connsiteY5" fmla="*/ 400837 h 404482"/>
              <a:gd name="connsiteX6" fmla="*/ 713452 w 1143480"/>
              <a:gd name="connsiteY6" fmla="*/ 383051 h 404482"/>
              <a:gd name="connsiteX7" fmla="*/ 872013 w 1143480"/>
              <a:gd name="connsiteY7" fmla="*/ 327730 h 404482"/>
              <a:gd name="connsiteX8" fmla="*/ 980099 w 1143480"/>
              <a:gd name="connsiteY8" fmla="*/ 232286 h 404482"/>
              <a:gd name="connsiteX9" fmla="*/ 1075829 w 1143480"/>
              <a:gd name="connsiteY9" fmla="*/ 159937 h 404482"/>
              <a:gd name="connsiteX10" fmla="*/ 1138713 w 1143480"/>
              <a:gd name="connsiteY10" fmla="*/ 68173 h 404482"/>
              <a:gd name="connsiteX11" fmla="*/ 1127513 w 1143480"/>
              <a:gd name="connsiteY11" fmla="*/ 0 h 404482"/>
              <a:gd name="connsiteX12" fmla="*/ 1035839 w 1143480"/>
              <a:gd name="connsiteY12" fmla="*/ 52052 h 404482"/>
              <a:gd name="connsiteX13" fmla="*/ 1076801 w 1143480"/>
              <a:gd name="connsiteY13" fmla="*/ 118180 h 404482"/>
              <a:gd name="connsiteX14" fmla="*/ 989614 w 1143480"/>
              <a:gd name="connsiteY14" fmla="*/ 182103 h 404482"/>
              <a:gd name="connsiteX15" fmla="*/ 869612 w 1143480"/>
              <a:gd name="connsiteY15" fmla="*/ 247314 h 404482"/>
              <a:gd name="connsiteX16" fmla="*/ 722464 w 1143480"/>
              <a:gd name="connsiteY16" fmla="*/ 300254 h 404482"/>
              <a:gd name="connsiteX17" fmla="*/ 514826 w 1143480"/>
              <a:gd name="connsiteY17" fmla="*/ 337255 h 404482"/>
              <a:gd name="connsiteX18" fmla="*/ 327657 w 1143480"/>
              <a:gd name="connsiteY18" fmla="*/ 330659 h 404482"/>
              <a:gd name="connsiteX19" fmla="*/ 188614 w 1143480"/>
              <a:gd name="connsiteY19" fmla="*/ 302083 h 404482"/>
              <a:gd name="connsiteX20" fmla="*/ 108603 w 1143480"/>
              <a:gd name="connsiteY20" fmla="*/ 267282 h 404482"/>
              <a:gd name="connsiteX21" fmla="*/ 98607 w 1143480"/>
              <a:gd name="connsiteY21" fmla="*/ 185667 h 404482"/>
              <a:gd name="connsiteX22" fmla="*/ 1309 w 1143480"/>
              <a:gd name="connsiteY22" fmla="*/ 148779 h 404482"/>
              <a:gd name="connsiteX0" fmla="*/ 1309 w 1135549"/>
              <a:gd name="connsiteY0" fmla="*/ 148779 h 404482"/>
              <a:gd name="connsiteX1" fmla="*/ 60364 w 1135549"/>
              <a:gd name="connsiteY1" fmla="*/ 283221 h 404482"/>
              <a:gd name="connsiteX2" fmla="*/ 200072 w 1135549"/>
              <a:gd name="connsiteY2" fmla="*/ 359420 h 404482"/>
              <a:gd name="connsiteX3" fmla="*/ 328639 w 1135549"/>
              <a:gd name="connsiteY3" fmla="*/ 396787 h 404482"/>
              <a:gd name="connsiteX4" fmla="*/ 467129 w 1135549"/>
              <a:gd name="connsiteY4" fmla="*/ 404482 h 404482"/>
              <a:gd name="connsiteX5" fmla="*/ 583545 w 1135549"/>
              <a:gd name="connsiteY5" fmla="*/ 400837 h 404482"/>
              <a:gd name="connsiteX6" fmla="*/ 713452 w 1135549"/>
              <a:gd name="connsiteY6" fmla="*/ 383051 h 404482"/>
              <a:gd name="connsiteX7" fmla="*/ 872013 w 1135549"/>
              <a:gd name="connsiteY7" fmla="*/ 327730 h 404482"/>
              <a:gd name="connsiteX8" fmla="*/ 980099 w 1135549"/>
              <a:gd name="connsiteY8" fmla="*/ 232286 h 404482"/>
              <a:gd name="connsiteX9" fmla="*/ 1075829 w 1135549"/>
              <a:gd name="connsiteY9" fmla="*/ 159937 h 404482"/>
              <a:gd name="connsiteX10" fmla="*/ 1121721 w 1135549"/>
              <a:gd name="connsiteY10" fmla="*/ 64909 h 404482"/>
              <a:gd name="connsiteX11" fmla="*/ 1127513 w 1135549"/>
              <a:gd name="connsiteY11" fmla="*/ 0 h 404482"/>
              <a:gd name="connsiteX12" fmla="*/ 1035839 w 1135549"/>
              <a:gd name="connsiteY12" fmla="*/ 52052 h 404482"/>
              <a:gd name="connsiteX13" fmla="*/ 1076801 w 1135549"/>
              <a:gd name="connsiteY13" fmla="*/ 118180 h 404482"/>
              <a:gd name="connsiteX14" fmla="*/ 989614 w 1135549"/>
              <a:gd name="connsiteY14" fmla="*/ 182103 h 404482"/>
              <a:gd name="connsiteX15" fmla="*/ 869612 w 1135549"/>
              <a:gd name="connsiteY15" fmla="*/ 247314 h 404482"/>
              <a:gd name="connsiteX16" fmla="*/ 722464 w 1135549"/>
              <a:gd name="connsiteY16" fmla="*/ 300254 h 404482"/>
              <a:gd name="connsiteX17" fmla="*/ 514826 w 1135549"/>
              <a:gd name="connsiteY17" fmla="*/ 337255 h 404482"/>
              <a:gd name="connsiteX18" fmla="*/ 327657 w 1135549"/>
              <a:gd name="connsiteY18" fmla="*/ 330659 h 404482"/>
              <a:gd name="connsiteX19" fmla="*/ 188614 w 1135549"/>
              <a:gd name="connsiteY19" fmla="*/ 302083 h 404482"/>
              <a:gd name="connsiteX20" fmla="*/ 108603 w 1135549"/>
              <a:gd name="connsiteY20" fmla="*/ 267282 h 404482"/>
              <a:gd name="connsiteX21" fmla="*/ 98607 w 1135549"/>
              <a:gd name="connsiteY21" fmla="*/ 185667 h 404482"/>
              <a:gd name="connsiteX22" fmla="*/ 1309 w 1135549"/>
              <a:gd name="connsiteY22" fmla="*/ 148779 h 404482"/>
              <a:gd name="connsiteX0" fmla="*/ 1309 w 1143480"/>
              <a:gd name="connsiteY0" fmla="*/ 148779 h 404482"/>
              <a:gd name="connsiteX1" fmla="*/ 60364 w 1143480"/>
              <a:gd name="connsiteY1" fmla="*/ 283221 h 404482"/>
              <a:gd name="connsiteX2" fmla="*/ 200072 w 1143480"/>
              <a:gd name="connsiteY2" fmla="*/ 359420 h 404482"/>
              <a:gd name="connsiteX3" fmla="*/ 328639 w 1143480"/>
              <a:gd name="connsiteY3" fmla="*/ 396787 h 404482"/>
              <a:gd name="connsiteX4" fmla="*/ 467129 w 1143480"/>
              <a:gd name="connsiteY4" fmla="*/ 404482 h 404482"/>
              <a:gd name="connsiteX5" fmla="*/ 583545 w 1143480"/>
              <a:gd name="connsiteY5" fmla="*/ 400837 h 404482"/>
              <a:gd name="connsiteX6" fmla="*/ 713452 w 1143480"/>
              <a:gd name="connsiteY6" fmla="*/ 383051 h 404482"/>
              <a:gd name="connsiteX7" fmla="*/ 872013 w 1143480"/>
              <a:gd name="connsiteY7" fmla="*/ 327730 h 404482"/>
              <a:gd name="connsiteX8" fmla="*/ 980099 w 1143480"/>
              <a:gd name="connsiteY8" fmla="*/ 232286 h 404482"/>
              <a:gd name="connsiteX9" fmla="*/ 1075829 w 1143480"/>
              <a:gd name="connsiteY9" fmla="*/ 159937 h 404482"/>
              <a:gd name="connsiteX10" fmla="*/ 1138713 w 1143480"/>
              <a:gd name="connsiteY10" fmla="*/ 64909 h 404482"/>
              <a:gd name="connsiteX11" fmla="*/ 1127513 w 1143480"/>
              <a:gd name="connsiteY11" fmla="*/ 0 h 404482"/>
              <a:gd name="connsiteX12" fmla="*/ 1035839 w 1143480"/>
              <a:gd name="connsiteY12" fmla="*/ 52052 h 404482"/>
              <a:gd name="connsiteX13" fmla="*/ 1076801 w 1143480"/>
              <a:gd name="connsiteY13" fmla="*/ 118180 h 404482"/>
              <a:gd name="connsiteX14" fmla="*/ 989614 w 1143480"/>
              <a:gd name="connsiteY14" fmla="*/ 182103 h 404482"/>
              <a:gd name="connsiteX15" fmla="*/ 869612 w 1143480"/>
              <a:gd name="connsiteY15" fmla="*/ 247314 h 404482"/>
              <a:gd name="connsiteX16" fmla="*/ 722464 w 1143480"/>
              <a:gd name="connsiteY16" fmla="*/ 300254 h 404482"/>
              <a:gd name="connsiteX17" fmla="*/ 514826 w 1143480"/>
              <a:gd name="connsiteY17" fmla="*/ 337255 h 404482"/>
              <a:gd name="connsiteX18" fmla="*/ 327657 w 1143480"/>
              <a:gd name="connsiteY18" fmla="*/ 330659 h 404482"/>
              <a:gd name="connsiteX19" fmla="*/ 188614 w 1143480"/>
              <a:gd name="connsiteY19" fmla="*/ 302083 h 404482"/>
              <a:gd name="connsiteX20" fmla="*/ 108603 w 1143480"/>
              <a:gd name="connsiteY20" fmla="*/ 267282 h 404482"/>
              <a:gd name="connsiteX21" fmla="*/ 98607 w 1143480"/>
              <a:gd name="connsiteY21" fmla="*/ 185667 h 404482"/>
              <a:gd name="connsiteX22" fmla="*/ 1309 w 1143480"/>
              <a:gd name="connsiteY22" fmla="*/ 148779 h 404482"/>
              <a:gd name="connsiteX0" fmla="*/ 1309 w 1140834"/>
              <a:gd name="connsiteY0" fmla="*/ 148779 h 404482"/>
              <a:gd name="connsiteX1" fmla="*/ 60364 w 1140834"/>
              <a:gd name="connsiteY1" fmla="*/ 283221 h 404482"/>
              <a:gd name="connsiteX2" fmla="*/ 200072 w 1140834"/>
              <a:gd name="connsiteY2" fmla="*/ 359420 h 404482"/>
              <a:gd name="connsiteX3" fmla="*/ 328639 w 1140834"/>
              <a:gd name="connsiteY3" fmla="*/ 396787 h 404482"/>
              <a:gd name="connsiteX4" fmla="*/ 467129 w 1140834"/>
              <a:gd name="connsiteY4" fmla="*/ 404482 h 404482"/>
              <a:gd name="connsiteX5" fmla="*/ 583545 w 1140834"/>
              <a:gd name="connsiteY5" fmla="*/ 400837 h 404482"/>
              <a:gd name="connsiteX6" fmla="*/ 713452 w 1140834"/>
              <a:gd name="connsiteY6" fmla="*/ 383051 h 404482"/>
              <a:gd name="connsiteX7" fmla="*/ 872013 w 1140834"/>
              <a:gd name="connsiteY7" fmla="*/ 327730 h 404482"/>
              <a:gd name="connsiteX8" fmla="*/ 980099 w 1140834"/>
              <a:gd name="connsiteY8" fmla="*/ 232286 h 404482"/>
              <a:gd name="connsiteX9" fmla="*/ 1111937 w 1140834"/>
              <a:gd name="connsiteY9" fmla="*/ 148512 h 404482"/>
              <a:gd name="connsiteX10" fmla="*/ 1138713 w 1140834"/>
              <a:gd name="connsiteY10" fmla="*/ 64909 h 404482"/>
              <a:gd name="connsiteX11" fmla="*/ 1127513 w 1140834"/>
              <a:gd name="connsiteY11" fmla="*/ 0 h 404482"/>
              <a:gd name="connsiteX12" fmla="*/ 1035839 w 1140834"/>
              <a:gd name="connsiteY12" fmla="*/ 52052 h 404482"/>
              <a:gd name="connsiteX13" fmla="*/ 1076801 w 1140834"/>
              <a:gd name="connsiteY13" fmla="*/ 118180 h 404482"/>
              <a:gd name="connsiteX14" fmla="*/ 989614 w 1140834"/>
              <a:gd name="connsiteY14" fmla="*/ 182103 h 404482"/>
              <a:gd name="connsiteX15" fmla="*/ 869612 w 1140834"/>
              <a:gd name="connsiteY15" fmla="*/ 247314 h 404482"/>
              <a:gd name="connsiteX16" fmla="*/ 722464 w 1140834"/>
              <a:gd name="connsiteY16" fmla="*/ 300254 h 404482"/>
              <a:gd name="connsiteX17" fmla="*/ 514826 w 1140834"/>
              <a:gd name="connsiteY17" fmla="*/ 337255 h 404482"/>
              <a:gd name="connsiteX18" fmla="*/ 327657 w 1140834"/>
              <a:gd name="connsiteY18" fmla="*/ 330659 h 404482"/>
              <a:gd name="connsiteX19" fmla="*/ 188614 w 1140834"/>
              <a:gd name="connsiteY19" fmla="*/ 302083 h 404482"/>
              <a:gd name="connsiteX20" fmla="*/ 108603 w 1140834"/>
              <a:gd name="connsiteY20" fmla="*/ 267282 h 404482"/>
              <a:gd name="connsiteX21" fmla="*/ 98607 w 1140834"/>
              <a:gd name="connsiteY21" fmla="*/ 185667 h 404482"/>
              <a:gd name="connsiteX22" fmla="*/ 1309 w 1140834"/>
              <a:gd name="connsiteY22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989614 w 1141143"/>
              <a:gd name="connsiteY14" fmla="*/ 182103 h 404482"/>
              <a:gd name="connsiteX15" fmla="*/ 869612 w 1141143"/>
              <a:gd name="connsiteY15" fmla="*/ 247314 h 404482"/>
              <a:gd name="connsiteX16" fmla="*/ 722464 w 1141143"/>
              <a:gd name="connsiteY16" fmla="*/ 300254 h 404482"/>
              <a:gd name="connsiteX17" fmla="*/ 514826 w 1141143"/>
              <a:gd name="connsiteY17" fmla="*/ 337255 h 404482"/>
              <a:gd name="connsiteX18" fmla="*/ 327657 w 1141143"/>
              <a:gd name="connsiteY18" fmla="*/ 330659 h 404482"/>
              <a:gd name="connsiteX19" fmla="*/ 188614 w 1141143"/>
              <a:gd name="connsiteY19" fmla="*/ 302083 h 404482"/>
              <a:gd name="connsiteX20" fmla="*/ 108603 w 1141143"/>
              <a:gd name="connsiteY20" fmla="*/ 267282 h 404482"/>
              <a:gd name="connsiteX21" fmla="*/ 98607 w 1141143"/>
              <a:gd name="connsiteY21" fmla="*/ 185667 h 404482"/>
              <a:gd name="connsiteX22" fmla="*/ 1309 w 1141143"/>
              <a:gd name="connsiteY22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989614 w 1141143"/>
              <a:gd name="connsiteY14" fmla="*/ 182103 h 404482"/>
              <a:gd name="connsiteX15" fmla="*/ 869612 w 1141143"/>
              <a:gd name="connsiteY15" fmla="*/ 247314 h 404482"/>
              <a:gd name="connsiteX16" fmla="*/ 722464 w 1141143"/>
              <a:gd name="connsiteY16" fmla="*/ 300254 h 404482"/>
              <a:gd name="connsiteX17" fmla="*/ 514826 w 1141143"/>
              <a:gd name="connsiteY17" fmla="*/ 337255 h 404482"/>
              <a:gd name="connsiteX18" fmla="*/ 327657 w 1141143"/>
              <a:gd name="connsiteY18" fmla="*/ 330659 h 404482"/>
              <a:gd name="connsiteX19" fmla="*/ 188614 w 1141143"/>
              <a:gd name="connsiteY19" fmla="*/ 302083 h 404482"/>
              <a:gd name="connsiteX20" fmla="*/ 178695 w 1141143"/>
              <a:gd name="connsiteY20" fmla="*/ 270546 h 404482"/>
              <a:gd name="connsiteX21" fmla="*/ 98607 w 1141143"/>
              <a:gd name="connsiteY21" fmla="*/ 185667 h 404482"/>
              <a:gd name="connsiteX22" fmla="*/ 1309 w 1141143"/>
              <a:gd name="connsiteY22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989614 w 1141143"/>
              <a:gd name="connsiteY14" fmla="*/ 182103 h 404482"/>
              <a:gd name="connsiteX15" fmla="*/ 869612 w 1141143"/>
              <a:gd name="connsiteY15" fmla="*/ 247314 h 404482"/>
              <a:gd name="connsiteX16" fmla="*/ 722464 w 1141143"/>
              <a:gd name="connsiteY16" fmla="*/ 300254 h 404482"/>
              <a:gd name="connsiteX17" fmla="*/ 514826 w 1141143"/>
              <a:gd name="connsiteY17" fmla="*/ 337255 h 404482"/>
              <a:gd name="connsiteX18" fmla="*/ 327657 w 1141143"/>
              <a:gd name="connsiteY18" fmla="*/ 330659 h 404482"/>
              <a:gd name="connsiteX19" fmla="*/ 305435 w 1141143"/>
              <a:gd name="connsiteY19" fmla="*/ 287394 h 404482"/>
              <a:gd name="connsiteX20" fmla="*/ 178695 w 1141143"/>
              <a:gd name="connsiteY20" fmla="*/ 270546 h 404482"/>
              <a:gd name="connsiteX21" fmla="*/ 98607 w 1141143"/>
              <a:gd name="connsiteY21" fmla="*/ 185667 h 404482"/>
              <a:gd name="connsiteX22" fmla="*/ 1309 w 1141143"/>
              <a:gd name="connsiteY22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989614 w 1141143"/>
              <a:gd name="connsiteY14" fmla="*/ 182103 h 404482"/>
              <a:gd name="connsiteX15" fmla="*/ 869612 w 1141143"/>
              <a:gd name="connsiteY15" fmla="*/ 247314 h 404482"/>
              <a:gd name="connsiteX16" fmla="*/ 722464 w 1141143"/>
              <a:gd name="connsiteY16" fmla="*/ 300254 h 404482"/>
              <a:gd name="connsiteX17" fmla="*/ 514826 w 1141143"/>
              <a:gd name="connsiteY17" fmla="*/ 337255 h 404482"/>
              <a:gd name="connsiteX18" fmla="*/ 530923 w 1141143"/>
              <a:gd name="connsiteY18" fmla="*/ 278159 h 404482"/>
              <a:gd name="connsiteX19" fmla="*/ 327657 w 1141143"/>
              <a:gd name="connsiteY19" fmla="*/ 330659 h 404482"/>
              <a:gd name="connsiteX20" fmla="*/ 305435 w 1141143"/>
              <a:gd name="connsiteY20" fmla="*/ 287394 h 404482"/>
              <a:gd name="connsiteX21" fmla="*/ 178695 w 1141143"/>
              <a:gd name="connsiteY21" fmla="*/ 270546 h 404482"/>
              <a:gd name="connsiteX22" fmla="*/ 98607 w 1141143"/>
              <a:gd name="connsiteY22" fmla="*/ 185667 h 404482"/>
              <a:gd name="connsiteX23" fmla="*/ 1309 w 1141143"/>
              <a:gd name="connsiteY23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989614 w 1141143"/>
              <a:gd name="connsiteY14" fmla="*/ 182103 h 404482"/>
              <a:gd name="connsiteX15" fmla="*/ 869612 w 1141143"/>
              <a:gd name="connsiteY15" fmla="*/ 247314 h 404482"/>
              <a:gd name="connsiteX16" fmla="*/ 722464 w 1141143"/>
              <a:gd name="connsiteY16" fmla="*/ 300254 h 404482"/>
              <a:gd name="connsiteX17" fmla="*/ 514826 w 1141143"/>
              <a:gd name="connsiteY17" fmla="*/ 337255 h 404482"/>
              <a:gd name="connsiteX18" fmla="*/ 530923 w 1141143"/>
              <a:gd name="connsiteY18" fmla="*/ 278159 h 404482"/>
              <a:gd name="connsiteX19" fmla="*/ 385006 w 1141143"/>
              <a:gd name="connsiteY19" fmla="*/ 280063 h 404482"/>
              <a:gd name="connsiteX20" fmla="*/ 305435 w 1141143"/>
              <a:gd name="connsiteY20" fmla="*/ 287394 h 404482"/>
              <a:gd name="connsiteX21" fmla="*/ 178695 w 1141143"/>
              <a:gd name="connsiteY21" fmla="*/ 270546 h 404482"/>
              <a:gd name="connsiteX22" fmla="*/ 98607 w 1141143"/>
              <a:gd name="connsiteY22" fmla="*/ 185667 h 404482"/>
              <a:gd name="connsiteX23" fmla="*/ 1309 w 1141143"/>
              <a:gd name="connsiteY23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989614 w 1141143"/>
              <a:gd name="connsiteY14" fmla="*/ 182103 h 404482"/>
              <a:gd name="connsiteX15" fmla="*/ 869612 w 1141143"/>
              <a:gd name="connsiteY15" fmla="*/ 247314 h 404482"/>
              <a:gd name="connsiteX16" fmla="*/ 722464 w 1141143"/>
              <a:gd name="connsiteY16" fmla="*/ 300254 h 404482"/>
              <a:gd name="connsiteX17" fmla="*/ 652888 w 1141143"/>
              <a:gd name="connsiteY17" fmla="*/ 244222 h 404482"/>
              <a:gd name="connsiteX18" fmla="*/ 530923 w 1141143"/>
              <a:gd name="connsiteY18" fmla="*/ 278159 h 404482"/>
              <a:gd name="connsiteX19" fmla="*/ 385006 w 1141143"/>
              <a:gd name="connsiteY19" fmla="*/ 280063 h 404482"/>
              <a:gd name="connsiteX20" fmla="*/ 305435 w 1141143"/>
              <a:gd name="connsiteY20" fmla="*/ 287394 h 404482"/>
              <a:gd name="connsiteX21" fmla="*/ 178695 w 1141143"/>
              <a:gd name="connsiteY21" fmla="*/ 270546 h 404482"/>
              <a:gd name="connsiteX22" fmla="*/ 98607 w 1141143"/>
              <a:gd name="connsiteY22" fmla="*/ 185667 h 404482"/>
              <a:gd name="connsiteX23" fmla="*/ 1309 w 1141143"/>
              <a:gd name="connsiteY23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989614 w 1141143"/>
              <a:gd name="connsiteY14" fmla="*/ 182103 h 404482"/>
              <a:gd name="connsiteX15" fmla="*/ 869612 w 1141143"/>
              <a:gd name="connsiteY15" fmla="*/ 247314 h 404482"/>
              <a:gd name="connsiteX16" fmla="*/ 798929 w 1141143"/>
              <a:gd name="connsiteY16" fmla="*/ 181108 h 404482"/>
              <a:gd name="connsiteX17" fmla="*/ 652888 w 1141143"/>
              <a:gd name="connsiteY17" fmla="*/ 244222 h 404482"/>
              <a:gd name="connsiteX18" fmla="*/ 530923 w 1141143"/>
              <a:gd name="connsiteY18" fmla="*/ 278159 h 404482"/>
              <a:gd name="connsiteX19" fmla="*/ 385006 w 1141143"/>
              <a:gd name="connsiteY19" fmla="*/ 280063 h 404482"/>
              <a:gd name="connsiteX20" fmla="*/ 305435 w 1141143"/>
              <a:gd name="connsiteY20" fmla="*/ 287394 h 404482"/>
              <a:gd name="connsiteX21" fmla="*/ 178695 w 1141143"/>
              <a:gd name="connsiteY21" fmla="*/ 270546 h 404482"/>
              <a:gd name="connsiteX22" fmla="*/ 98607 w 1141143"/>
              <a:gd name="connsiteY22" fmla="*/ 185667 h 404482"/>
              <a:gd name="connsiteX23" fmla="*/ 1309 w 1141143"/>
              <a:gd name="connsiteY23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989614 w 1141143"/>
              <a:gd name="connsiteY14" fmla="*/ 182103 h 404482"/>
              <a:gd name="connsiteX15" fmla="*/ 926961 w 1141143"/>
              <a:gd name="connsiteY15" fmla="*/ 164075 h 404482"/>
              <a:gd name="connsiteX16" fmla="*/ 798929 w 1141143"/>
              <a:gd name="connsiteY16" fmla="*/ 181108 h 404482"/>
              <a:gd name="connsiteX17" fmla="*/ 652888 w 1141143"/>
              <a:gd name="connsiteY17" fmla="*/ 244222 h 404482"/>
              <a:gd name="connsiteX18" fmla="*/ 530923 w 1141143"/>
              <a:gd name="connsiteY18" fmla="*/ 278159 h 404482"/>
              <a:gd name="connsiteX19" fmla="*/ 385006 w 1141143"/>
              <a:gd name="connsiteY19" fmla="*/ 280063 h 404482"/>
              <a:gd name="connsiteX20" fmla="*/ 305435 w 1141143"/>
              <a:gd name="connsiteY20" fmla="*/ 287394 h 404482"/>
              <a:gd name="connsiteX21" fmla="*/ 178695 w 1141143"/>
              <a:gd name="connsiteY21" fmla="*/ 270546 h 404482"/>
              <a:gd name="connsiteX22" fmla="*/ 98607 w 1141143"/>
              <a:gd name="connsiteY22" fmla="*/ 185667 h 404482"/>
              <a:gd name="connsiteX23" fmla="*/ 1309 w 1141143"/>
              <a:gd name="connsiteY23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76801 w 1141143"/>
              <a:gd name="connsiteY13" fmla="*/ 118180 h 404482"/>
              <a:gd name="connsiteX14" fmla="*/ 1023598 w 1141143"/>
              <a:gd name="connsiteY14" fmla="*/ 111921 h 404482"/>
              <a:gd name="connsiteX15" fmla="*/ 926961 w 1141143"/>
              <a:gd name="connsiteY15" fmla="*/ 164075 h 404482"/>
              <a:gd name="connsiteX16" fmla="*/ 798929 w 1141143"/>
              <a:gd name="connsiteY16" fmla="*/ 181108 h 404482"/>
              <a:gd name="connsiteX17" fmla="*/ 652888 w 1141143"/>
              <a:gd name="connsiteY17" fmla="*/ 244222 h 404482"/>
              <a:gd name="connsiteX18" fmla="*/ 530923 w 1141143"/>
              <a:gd name="connsiteY18" fmla="*/ 278159 h 404482"/>
              <a:gd name="connsiteX19" fmla="*/ 385006 w 1141143"/>
              <a:gd name="connsiteY19" fmla="*/ 280063 h 404482"/>
              <a:gd name="connsiteX20" fmla="*/ 305435 w 1141143"/>
              <a:gd name="connsiteY20" fmla="*/ 287394 h 404482"/>
              <a:gd name="connsiteX21" fmla="*/ 178695 w 1141143"/>
              <a:gd name="connsiteY21" fmla="*/ 270546 h 404482"/>
              <a:gd name="connsiteX22" fmla="*/ 98607 w 1141143"/>
              <a:gd name="connsiteY22" fmla="*/ 185667 h 404482"/>
              <a:gd name="connsiteX23" fmla="*/ 1309 w 1141143"/>
              <a:gd name="connsiteY23" fmla="*/ 148779 h 404482"/>
              <a:gd name="connsiteX0" fmla="*/ 1309 w 1141143"/>
              <a:gd name="connsiteY0" fmla="*/ 148779 h 404482"/>
              <a:gd name="connsiteX1" fmla="*/ 60364 w 1141143"/>
              <a:gd name="connsiteY1" fmla="*/ 283221 h 404482"/>
              <a:gd name="connsiteX2" fmla="*/ 200072 w 1141143"/>
              <a:gd name="connsiteY2" fmla="*/ 359420 h 404482"/>
              <a:gd name="connsiteX3" fmla="*/ 328639 w 1141143"/>
              <a:gd name="connsiteY3" fmla="*/ 396787 h 404482"/>
              <a:gd name="connsiteX4" fmla="*/ 467129 w 1141143"/>
              <a:gd name="connsiteY4" fmla="*/ 404482 h 404482"/>
              <a:gd name="connsiteX5" fmla="*/ 583545 w 1141143"/>
              <a:gd name="connsiteY5" fmla="*/ 400837 h 404482"/>
              <a:gd name="connsiteX6" fmla="*/ 713452 w 1141143"/>
              <a:gd name="connsiteY6" fmla="*/ 383051 h 404482"/>
              <a:gd name="connsiteX7" fmla="*/ 872013 w 1141143"/>
              <a:gd name="connsiteY7" fmla="*/ 327730 h 404482"/>
              <a:gd name="connsiteX8" fmla="*/ 980099 w 1141143"/>
              <a:gd name="connsiteY8" fmla="*/ 232286 h 404482"/>
              <a:gd name="connsiteX9" fmla="*/ 1107688 w 1141143"/>
              <a:gd name="connsiteY9" fmla="*/ 141983 h 404482"/>
              <a:gd name="connsiteX10" fmla="*/ 1138713 w 1141143"/>
              <a:gd name="connsiteY10" fmla="*/ 64909 h 404482"/>
              <a:gd name="connsiteX11" fmla="*/ 1127513 w 1141143"/>
              <a:gd name="connsiteY11" fmla="*/ 0 h 404482"/>
              <a:gd name="connsiteX12" fmla="*/ 1035839 w 1141143"/>
              <a:gd name="connsiteY12" fmla="*/ 52052 h 404482"/>
              <a:gd name="connsiteX13" fmla="*/ 1059809 w 1141143"/>
              <a:gd name="connsiteY13" fmla="*/ 95330 h 404482"/>
              <a:gd name="connsiteX14" fmla="*/ 1023598 w 1141143"/>
              <a:gd name="connsiteY14" fmla="*/ 111921 h 404482"/>
              <a:gd name="connsiteX15" fmla="*/ 926961 w 1141143"/>
              <a:gd name="connsiteY15" fmla="*/ 164075 h 404482"/>
              <a:gd name="connsiteX16" fmla="*/ 798929 w 1141143"/>
              <a:gd name="connsiteY16" fmla="*/ 181108 h 404482"/>
              <a:gd name="connsiteX17" fmla="*/ 652888 w 1141143"/>
              <a:gd name="connsiteY17" fmla="*/ 244222 h 404482"/>
              <a:gd name="connsiteX18" fmla="*/ 530923 w 1141143"/>
              <a:gd name="connsiteY18" fmla="*/ 278159 h 404482"/>
              <a:gd name="connsiteX19" fmla="*/ 385006 w 1141143"/>
              <a:gd name="connsiteY19" fmla="*/ 280063 h 404482"/>
              <a:gd name="connsiteX20" fmla="*/ 305435 w 1141143"/>
              <a:gd name="connsiteY20" fmla="*/ 287394 h 404482"/>
              <a:gd name="connsiteX21" fmla="*/ 178695 w 1141143"/>
              <a:gd name="connsiteY21" fmla="*/ 270546 h 404482"/>
              <a:gd name="connsiteX22" fmla="*/ 98607 w 1141143"/>
              <a:gd name="connsiteY22" fmla="*/ 185667 h 404482"/>
              <a:gd name="connsiteX23" fmla="*/ 1309 w 1141143"/>
              <a:gd name="connsiteY23" fmla="*/ 148779 h 404482"/>
              <a:gd name="connsiteX0" fmla="*/ 1309 w 1139388"/>
              <a:gd name="connsiteY0" fmla="*/ 118814 h 374517"/>
              <a:gd name="connsiteX1" fmla="*/ 60364 w 1139388"/>
              <a:gd name="connsiteY1" fmla="*/ 253256 h 374517"/>
              <a:gd name="connsiteX2" fmla="*/ 200072 w 1139388"/>
              <a:gd name="connsiteY2" fmla="*/ 329455 h 374517"/>
              <a:gd name="connsiteX3" fmla="*/ 328639 w 1139388"/>
              <a:gd name="connsiteY3" fmla="*/ 366822 h 374517"/>
              <a:gd name="connsiteX4" fmla="*/ 467129 w 1139388"/>
              <a:gd name="connsiteY4" fmla="*/ 374517 h 374517"/>
              <a:gd name="connsiteX5" fmla="*/ 583545 w 1139388"/>
              <a:gd name="connsiteY5" fmla="*/ 370872 h 374517"/>
              <a:gd name="connsiteX6" fmla="*/ 713452 w 1139388"/>
              <a:gd name="connsiteY6" fmla="*/ 353086 h 374517"/>
              <a:gd name="connsiteX7" fmla="*/ 872013 w 1139388"/>
              <a:gd name="connsiteY7" fmla="*/ 297765 h 374517"/>
              <a:gd name="connsiteX8" fmla="*/ 980099 w 1139388"/>
              <a:gd name="connsiteY8" fmla="*/ 202321 h 374517"/>
              <a:gd name="connsiteX9" fmla="*/ 1107688 w 1139388"/>
              <a:gd name="connsiteY9" fmla="*/ 112018 h 374517"/>
              <a:gd name="connsiteX10" fmla="*/ 1138713 w 1139388"/>
              <a:gd name="connsiteY10" fmla="*/ 34944 h 374517"/>
              <a:gd name="connsiteX11" fmla="*/ 1088518 w 1139388"/>
              <a:gd name="connsiteY11" fmla="*/ 0 h 374517"/>
              <a:gd name="connsiteX12" fmla="*/ 1035839 w 1139388"/>
              <a:gd name="connsiteY12" fmla="*/ 22087 h 374517"/>
              <a:gd name="connsiteX13" fmla="*/ 1059809 w 1139388"/>
              <a:gd name="connsiteY13" fmla="*/ 65365 h 374517"/>
              <a:gd name="connsiteX14" fmla="*/ 1023598 w 1139388"/>
              <a:gd name="connsiteY14" fmla="*/ 81956 h 374517"/>
              <a:gd name="connsiteX15" fmla="*/ 926961 w 1139388"/>
              <a:gd name="connsiteY15" fmla="*/ 134110 h 374517"/>
              <a:gd name="connsiteX16" fmla="*/ 798929 w 1139388"/>
              <a:gd name="connsiteY16" fmla="*/ 151143 h 374517"/>
              <a:gd name="connsiteX17" fmla="*/ 652888 w 1139388"/>
              <a:gd name="connsiteY17" fmla="*/ 214257 h 374517"/>
              <a:gd name="connsiteX18" fmla="*/ 530923 w 1139388"/>
              <a:gd name="connsiteY18" fmla="*/ 248194 h 374517"/>
              <a:gd name="connsiteX19" fmla="*/ 385006 w 1139388"/>
              <a:gd name="connsiteY19" fmla="*/ 250098 h 374517"/>
              <a:gd name="connsiteX20" fmla="*/ 305435 w 1139388"/>
              <a:gd name="connsiteY20" fmla="*/ 257429 h 374517"/>
              <a:gd name="connsiteX21" fmla="*/ 178695 w 1139388"/>
              <a:gd name="connsiteY21" fmla="*/ 240581 h 374517"/>
              <a:gd name="connsiteX22" fmla="*/ 98607 w 1139388"/>
              <a:gd name="connsiteY22" fmla="*/ 155702 h 374517"/>
              <a:gd name="connsiteX23" fmla="*/ 1309 w 1139388"/>
              <a:gd name="connsiteY23" fmla="*/ 118814 h 374517"/>
              <a:gd name="connsiteX0" fmla="*/ 1309 w 1121792"/>
              <a:gd name="connsiteY0" fmla="*/ 118814 h 374517"/>
              <a:gd name="connsiteX1" fmla="*/ 60364 w 1121792"/>
              <a:gd name="connsiteY1" fmla="*/ 253256 h 374517"/>
              <a:gd name="connsiteX2" fmla="*/ 200072 w 1121792"/>
              <a:gd name="connsiteY2" fmla="*/ 329455 h 374517"/>
              <a:gd name="connsiteX3" fmla="*/ 328639 w 1121792"/>
              <a:gd name="connsiteY3" fmla="*/ 366822 h 374517"/>
              <a:gd name="connsiteX4" fmla="*/ 467129 w 1121792"/>
              <a:gd name="connsiteY4" fmla="*/ 374517 h 374517"/>
              <a:gd name="connsiteX5" fmla="*/ 583545 w 1121792"/>
              <a:gd name="connsiteY5" fmla="*/ 370872 h 374517"/>
              <a:gd name="connsiteX6" fmla="*/ 713452 w 1121792"/>
              <a:gd name="connsiteY6" fmla="*/ 353086 h 374517"/>
              <a:gd name="connsiteX7" fmla="*/ 872013 w 1121792"/>
              <a:gd name="connsiteY7" fmla="*/ 297765 h 374517"/>
              <a:gd name="connsiteX8" fmla="*/ 980099 w 1121792"/>
              <a:gd name="connsiteY8" fmla="*/ 202321 h 374517"/>
              <a:gd name="connsiteX9" fmla="*/ 1107688 w 1121792"/>
              <a:gd name="connsiteY9" fmla="*/ 112018 h 374517"/>
              <a:gd name="connsiteX10" fmla="*/ 1116430 w 1121792"/>
              <a:gd name="connsiteY10" fmla="*/ 39225 h 374517"/>
              <a:gd name="connsiteX11" fmla="*/ 1088518 w 1121792"/>
              <a:gd name="connsiteY11" fmla="*/ 0 h 374517"/>
              <a:gd name="connsiteX12" fmla="*/ 1035839 w 1121792"/>
              <a:gd name="connsiteY12" fmla="*/ 22087 h 374517"/>
              <a:gd name="connsiteX13" fmla="*/ 1059809 w 1121792"/>
              <a:gd name="connsiteY13" fmla="*/ 65365 h 374517"/>
              <a:gd name="connsiteX14" fmla="*/ 1023598 w 1121792"/>
              <a:gd name="connsiteY14" fmla="*/ 81956 h 374517"/>
              <a:gd name="connsiteX15" fmla="*/ 926961 w 1121792"/>
              <a:gd name="connsiteY15" fmla="*/ 134110 h 374517"/>
              <a:gd name="connsiteX16" fmla="*/ 798929 w 1121792"/>
              <a:gd name="connsiteY16" fmla="*/ 151143 h 374517"/>
              <a:gd name="connsiteX17" fmla="*/ 652888 w 1121792"/>
              <a:gd name="connsiteY17" fmla="*/ 214257 h 374517"/>
              <a:gd name="connsiteX18" fmla="*/ 530923 w 1121792"/>
              <a:gd name="connsiteY18" fmla="*/ 248194 h 374517"/>
              <a:gd name="connsiteX19" fmla="*/ 385006 w 1121792"/>
              <a:gd name="connsiteY19" fmla="*/ 250098 h 374517"/>
              <a:gd name="connsiteX20" fmla="*/ 305435 w 1121792"/>
              <a:gd name="connsiteY20" fmla="*/ 257429 h 374517"/>
              <a:gd name="connsiteX21" fmla="*/ 178695 w 1121792"/>
              <a:gd name="connsiteY21" fmla="*/ 240581 h 374517"/>
              <a:gd name="connsiteX22" fmla="*/ 98607 w 1121792"/>
              <a:gd name="connsiteY22" fmla="*/ 155702 h 374517"/>
              <a:gd name="connsiteX23" fmla="*/ 1309 w 1121792"/>
              <a:gd name="connsiteY23" fmla="*/ 118814 h 374517"/>
              <a:gd name="connsiteX0" fmla="*/ 1309 w 1116546"/>
              <a:gd name="connsiteY0" fmla="*/ 118814 h 374517"/>
              <a:gd name="connsiteX1" fmla="*/ 60364 w 1116546"/>
              <a:gd name="connsiteY1" fmla="*/ 253256 h 374517"/>
              <a:gd name="connsiteX2" fmla="*/ 200072 w 1116546"/>
              <a:gd name="connsiteY2" fmla="*/ 329455 h 374517"/>
              <a:gd name="connsiteX3" fmla="*/ 328639 w 1116546"/>
              <a:gd name="connsiteY3" fmla="*/ 366822 h 374517"/>
              <a:gd name="connsiteX4" fmla="*/ 467129 w 1116546"/>
              <a:gd name="connsiteY4" fmla="*/ 374517 h 374517"/>
              <a:gd name="connsiteX5" fmla="*/ 583545 w 1116546"/>
              <a:gd name="connsiteY5" fmla="*/ 370872 h 374517"/>
              <a:gd name="connsiteX6" fmla="*/ 713452 w 1116546"/>
              <a:gd name="connsiteY6" fmla="*/ 353086 h 374517"/>
              <a:gd name="connsiteX7" fmla="*/ 872013 w 1116546"/>
              <a:gd name="connsiteY7" fmla="*/ 297765 h 374517"/>
              <a:gd name="connsiteX8" fmla="*/ 980099 w 1116546"/>
              <a:gd name="connsiteY8" fmla="*/ 202321 h 374517"/>
              <a:gd name="connsiteX9" fmla="*/ 1079835 w 1116546"/>
              <a:gd name="connsiteY9" fmla="*/ 122719 h 374517"/>
              <a:gd name="connsiteX10" fmla="*/ 1116430 w 1116546"/>
              <a:gd name="connsiteY10" fmla="*/ 39225 h 374517"/>
              <a:gd name="connsiteX11" fmla="*/ 1088518 w 1116546"/>
              <a:gd name="connsiteY11" fmla="*/ 0 h 374517"/>
              <a:gd name="connsiteX12" fmla="*/ 1035839 w 1116546"/>
              <a:gd name="connsiteY12" fmla="*/ 22087 h 374517"/>
              <a:gd name="connsiteX13" fmla="*/ 1059809 w 1116546"/>
              <a:gd name="connsiteY13" fmla="*/ 65365 h 374517"/>
              <a:gd name="connsiteX14" fmla="*/ 1023598 w 1116546"/>
              <a:gd name="connsiteY14" fmla="*/ 81956 h 374517"/>
              <a:gd name="connsiteX15" fmla="*/ 926961 w 1116546"/>
              <a:gd name="connsiteY15" fmla="*/ 134110 h 374517"/>
              <a:gd name="connsiteX16" fmla="*/ 798929 w 1116546"/>
              <a:gd name="connsiteY16" fmla="*/ 151143 h 374517"/>
              <a:gd name="connsiteX17" fmla="*/ 652888 w 1116546"/>
              <a:gd name="connsiteY17" fmla="*/ 214257 h 374517"/>
              <a:gd name="connsiteX18" fmla="*/ 530923 w 1116546"/>
              <a:gd name="connsiteY18" fmla="*/ 248194 h 374517"/>
              <a:gd name="connsiteX19" fmla="*/ 385006 w 1116546"/>
              <a:gd name="connsiteY19" fmla="*/ 250098 h 374517"/>
              <a:gd name="connsiteX20" fmla="*/ 305435 w 1116546"/>
              <a:gd name="connsiteY20" fmla="*/ 257429 h 374517"/>
              <a:gd name="connsiteX21" fmla="*/ 178695 w 1116546"/>
              <a:gd name="connsiteY21" fmla="*/ 240581 h 374517"/>
              <a:gd name="connsiteX22" fmla="*/ 98607 w 1116546"/>
              <a:gd name="connsiteY22" fmla="*/ 155702 h 374517"/>
              <a:gd name="connsiteX23" fmla="*/ 1309 w 1116546"/>
              <a:gd name="connsiteY23" fmla="*/ 118814 h 374517"/>
              <a:gd name="connsiteX0" fmla="*/ 788 w 1116025"/>
              <a:gd name="connsiteY0" fmla="*/ 118814 h 374517"/>
              <a:gd name="connsiteX1" fmla="*/ 87697 w 1116025"/>
              <a:gd name="connsiteY1" fmla="*/ 263958 h 374517"/>
              <a:gd name="connsiteX2" fmla="*/ 199551 w 1116025"/>
              <a:gd name="connsiteY2" fmla="*/ 329455 h 374517"/>
              <a:gd name="connsiteX3" fmla="*/ 328118 w 1116025"/>
              <a:gd name="connsiteY3" fmla="*/ 366822 h 374517"/>
              <a:gd name="connsiteX4" fmla="*/ 466608 w 1116025"/>
              <a:gd name="connsiteY4" fmla="*/ 374517 h 374517"/>
              <a:gd name="connsiteX5" fmla="*/ 583024 w 1116025"/>
              <a:gd name="connsiteY5" fmla="*/ 370872 h 374517"/>
              <a:gd name="connsiteX6" fmla="*/ 712931 w 1116025"/>
              <a:gd name="connsiteY6" fmla="*/ 353086 h 374517"/>
              <a:gd name="connsiteX7" fmla="*/ 871492 w 1116025"/>
              <a:gd name="connsiteY7" fmla="*/ 297765 h 374517"/>
              <a:gd name="connsiteX8" fmla="*/ 979578 w 1116025"/>
              <a:gd name="connsiteY8" fmla="*/ 202321 h 374517"/>
              <a:gd name="connsiteX9" fmla="*/ 1079314 w 1116025"/>
              <a:gd name="connsiteY9" fmla="*/ 122719 h 374517"/>
              <a:gd name="connsiteX10" fmla="*/ 1115909 w 1116025"/>
              <a:gd name="connsiteY10" fmla="*/ 39225 h 374517"/>
              <a:gd name="connsiteX11" fmla="*/ 1087997 w 1116025"/>
              <a:gd name="connsiteY11" fmla="*/ 0 h 374517"/>
              <a:gd name="connsiteX12" fmla="*/ 1035318 w 1116025"/>
              <a:gd name="connsiteY12" fmla="*/ 22087 h 374517"/>
              <a:gd name="connsiteX13" fmla="*/ 1059288 w 1116025"/>
              <a:gd name="connsiteY13" fmla="*/ 65365 h 374517"/>
              <a:gd name="connsiteX14" fmla="*/ 1023077 w 1116025"/>
              <a:gd name="connsiteY14" fmla="*/ 81956 h 374517"/>
              <a:gd name="connsiteX15" fmla="*/ 926440 w 1116025"/>
              <a:gd name="connsiteY15" fmla="*/ 134110 h 374517"/>
              <a:gd name="connsiteX16" fmla="*/ 798408 w 1116025"/>
              <a:gd name="connsiteY16" fmla="*/ 151143 h 374517"/>
              <a:gd name="connsiteX17" fmla="*/ 652367 w 1116025"/>
              <a:gd name="connsiteY17" fmla="*/ 214257 h 374517"/>
              <a:gd name="connsiteX18" fmla="*/ 530402 w 1116025"/>
              <a:gd name="connsiteY18" fmla="*/ 248194 h 374517"/>
              <a:gd name="connsiteX19" fmla="*/ 384485 w 1116025"/>
              <a:gd name="connsiteY19" fmla="*/ 250098 h 374517"/>
              <a:gd name="connsiteX20" fmla="*/ 304914 w 1116025"/>
              <a:gd name="connsiteY20" fmla="*/ 257429 h 374517"/>
              <a:gd name="connsiteX21" fmla="*/ 178174 w 1116025"/>
              <a:gd name="connsiteY21" fmla="*/ 240581 h 374517"/>
              <a:gd name="connsiteX22" fmla="*/ 98086 w 1116025"/>
              <a:gd name="connsiteY22" fmla="*/ 155702 h 374517"/>
              <a:gd name="connsiteX23" fmla="*/ 788 w 1116025"/>
              <a:gd name="connsiteY23" fmla="*/ 118814 h 374517"/>
              <a:gd name="connsiteX0" fmla="*/ 1128 w 1091295"/>
              <a:gd name="connsiteY0" fmla="*/ 153059 h 374517"/>
              <a:gd name="connsiteX1" fmla="*/ 62967 w 1091295"/>
              <a:gd name="connsiteY1" fmla="*/ 263958 h 374517"/>
              <a:gd name="connsiteX2" fmla="*/ 174821 w 1091295"/>
              <a:gd name="connsiteY2" fmla="*/ 329455 h 374517"/>
              <a:gd name="connsiteX3" fmla="*/ 303388 w 1091295"/>
              <a:gd name="connsiteY3" fmla="*/ 366822 h 374517"/>
              <a:gd name="connsiteX4" fmla="*/ 441878 w 1091295"/>
              <a:gd name="connsiteY4" fmla="*/ 374517 h 374517"/>
              <a:gd name="connsiteX5" fmla="*/ 558294 w 1091295"/>
              <a:gd name="connsiteY5" fmla="*/ 370872 h 374517"/>
              <a:gd name="connsiteX6" fmla="*/ 688201 w 1091295"/>
              <a:gd name="connsiteY6" fmla="*/ 353086 h 374517"/>
              <a:gd name="connsiteX7" fmla="*/ 846762 w 1091295"/>
              <a:gd name="connsiteY7" fmla="*/ 297765 h 374517"/>
              <a:gd name="connsiteX8" fmla="*/ 954848 w 1091295"/>
              <a:gd name="connsiteY8" fmla="*/ 202321 h 374517"/>
              <a:gd name="connsiteX9" fmla="*/ 1054584 w 1091295"/>
              <a:gd name="connsiteY9" fmla="*/ 122719 h 374517"/>
              <a:gd name="connsiteX10" fmla="*/ 1091179 w 1091295"/>
              <a:gd name="connsiteY10" fmla="*/ 39225 h 374517"/>
              <a:gd name="connsiteX11" fmla="*/ 1063267 w 1091295"/>
              <a:gd name="connsiteY11" fmla="*/ 0 h 374517"/>
              <a:gd name="connsiteX12" fmla="*/ 1010588 w 1091295"/>
              <a:gd name="connsiteY12" fmla="*/ 22087 h 374517"/>
              <a:gd name="connsiteX13" fmla="*/ 1034558 w 1091295"/>
              <a:gd name="connsiteY13" fmla="*/ 65365 h 374517"/>
              <a:gd name="connsiteX14" fmla="*/ 998347 w 1091295"/>
              <a:gd name="connsiteY14" fmla="*/ 81956 h 374517"/>
              <a:gd name="connsiteX15" fmla="*/ 901710 w 1091295"/>
              <a:gd name="connsiteY15" fmla="*/ 134110 h 374517"/>
              <a:gd name="connsiteX16" fmla="*/ 773678 w 1091295"/>
              <a:gd name="connsiteY16" fmla="*/ 151143 h 374517"/>
              <a:gd name="connsiteX17" fmla="*/ 627637 w 1091295"/>
              <a:gd name="connsiteY17" fmla="*/ 214257 h 374517"/>
              <a:gd name="connsiteX18" fmla="*/ 505672 w 1091295"/>
              <a:gd name="connsiteY18" fmla="*/ 248194 h 374517"/>
              <a:gd name="connsiteX19" fmla="*/ 359755 w 1091295"/>
              <a:gd name="connsiteY19" fmla="*/ 250098 h 374517"/>
              <a:gd name="connsiteX20" fmla="*/ 280184 w 1091295"/>
              <a:gd name="connsiteY20" fmla="*/ 257429 h 374517"/>
              <a:gd name="connsiteX21" fmla="*/ 153444 w 1091295"/>
              <a:gd name="connsiteY21" fmla="*/ 240581 h 374517"/>
              <a:gd name="connsiteX22" fmla="*/ 73356 w 1091295"/>
              <a:gd name="connsiteY22" fmla="*/ 155702 h 374517"/>
              <a:gd name="connsiteX23" fmla="*/ 1128 w 1091295"/>
              <a:gd name="connsiteY23" fmla="*/ 153059 h 374517"/>
              <a:gd name="connsiteX0" fmla="*/ 647 w 1090814"/>
              <a:gd name="connsiteY0" fmla="*/ 153059 h 374517"/>
              <a:gd name="connsiteX1" fmla="*/ 98695 w 1090814"/>
              <a:gd name="connsiteY1" fmla="*/ 276800 h 374517"/>
              <a:gd name="connsiteX2" fmla="*/ 174340 w 1090814"/>
              <a:gd name="connsiteY2" fmla="*/ 329455 h 374517"/>
              <a:gd name="connsiteX3" fmla="*/ 302907 w 1090814"/>
              <a:gd name="connsiteY3" fmla="*/ 366822 h 374517"/>
              <a:gd name="connsiteX4" fmla="*/ 441397 w 1090814"/>
              <a:gd name="connsiteY4" fmla="*/ 374517 h 374517"/>
              <a:gd name="connsiteX5" fmla="*/ 557813 w 1090814"/>
              <a:gd name="connsiteY5" fmla="*/ 370872 h 374517"/>
              <a:gd name="connsiteX6" fmla="*/ 687720 w 1090814"/>
              <a:gd name="connsiteY6" fmla="*/ 353086 h 374517"/>
              <a:gd name="connsiteX7" fmla="*/ 846281 w 1090814"/>
              <a:gd name="connsiteY7" fmla="*/ 297765 h 374517"/>
              <a:gd name="connsiteX8" fmla="*/ 954367 w 1090814"/>
              <a:gd name="connsiteY8" fmla="*/ 202321 h 374517"/>
              <a:gd name="connsiteX9" fmla="*/ 1054103 w 1090814"/>
              <a:gd name="connsiteY9" fmla="*/ 122719 h 374517"/>
              <a:gd name="connsiteX10" fmla="*/ 1090698 w 1090814"/>
              <a:gd name="connsiteY10" fmla="*/ 39225 h 374517"/>
              <a:gd name="connsiteX11" fmla="*/ 1062786 w 1090814"/>
              <a:gd name="connsiteY11" fmla="*/ 0 h 374517"/>
              <a:gd name="connsiteX12" fmla="*/ 1010107 w 1090814"/>
              <a:gd name="connsiteY12" fmla="*/ 22087 h 374517"/>
              <a:gd name="connsiteX13" fmla="*/ 1034077 w 1090814"/>
              <a:gd name="connsiteY13" fmla="*/ 65365 h 374517"/>
              <a:gd name="connsiteX14" fmla="*/ 997866 w 1090814"/>
              <a:gd name="connsiteY14" fmla="*/ 81956 h 374517"/>
              <a:gd name="connsiteX15" fmla="*/ 901229 w 1090814"/>
              <a:gd name="connsiteY15" fmla="*/ 134110 h 374517"/>
              <a:gd name="connsiteX16" fmla="*/ 773197 w 1090814"/>
              <a:gd name="connsiteY16" fmla="*/ 151143 h 374517"/>
              <a:gd name="connsiteX17" fmla="*/ 627156 w 1090814"/>
              <a:gd name="connsiteY17" fmla="*/ 214257 h 374517"/>
              <a:gd name="connsiteX18" fmla="*/ 505191 w 1090814"/>
              <a:gd name="connsiteY18" fmla="*/ 248194 h 374517"/>
              <a:gd name="connsiteX19" fmla="*/ 359274 w 1090814"/>
              <a:gd name="connsiteY19" fmla="*/ 250098 h 374517"/>
              <a:gd name="connsiteX20" fmla="*/ 279703 w 1090814"/>
              <a:gd name="connsiteY20" fmla="*/ 257429 h 374517"/>
              <a:gd name="connsiteX21" fmla="*/ 152963 w 1090814"/>
              <a:gd name="connsiteY21" fmla="*/ 240581 h 374517"/>
              <a:gd name="connsiteX22" fmla="*/ 72875 w 1090814"/>
              <a:gd name="connsiteY22" fmla="*/ 155702 h 374517"/>
              <a:gd name="connsiteX23" fmla="*/ 647 w 1090814"/>
              <a:gd name="connsiteY23" fmla="*/ 153059 h 374517"/>
              <a:gd name="connsiteX0" fmla="*/ 647 w 1090814"/>
              <a:gd name="connsiteY0" fmla="*/ 153059 h 374517"/>
              <a:gd name="connsiteX1" fmla="*/ 98695 w 1090814"/>
              <a:gd name="connsiteY1" fmla="*/ 276800 h 374517"/>
              <a:gd name="connsiteX2" fmla="*/ 174340 w 1090814"/>
              <a:gd name="connsiteY2" fmla="*/ 329455 h 374517"/>
              <a:gd name="connsiteX3" fmla="*/ 302907 w 1090814"/>
              <a:gd name="connsiteY3" fmla="*/ 366822 h 374517"/>
              <a:gd name="connsiteX4" fmla="*/ 441397 w 1090814"/>
              <a:gd name="connsiteY4" fmla="*/ 374517 h 374517"/>
              <a:gd name="connsiteX5" fmla="*/ 557813 w 1090814"/>
              <a:gd name="connsiteY5" fmla="*/ 370872 h 374517"/>
              <a:gd name="connsiteX6" fmla="*/ 687720 w 1090814"/>
              <a:gd name="connsiteY6" fmla="*/ 353086 h 374517"/>
              <a:gd name="connsiteX7" fmla="*/ 846281 w 1090814"/>
              <a:gd name="connsiteY7" fmla="*/ 297765 h 374517"/>
              <a:gd name="connsiteX8" fmla="*/ 954367 w 1090814"/>
              <a:gd name="connsiteY8" fmla="*/ 202321 h 374517"/>
              <a:gd name="connsiteX9" fmla="*/ 1054103 w 1090814"/>
              <a:gd name="connsiteY9" fmla="*/ 122719 h 374517"/>
              <a:gd name="connsiteX10" fmla="*/ 1090698 w 1090814"/>
              <a:gd name="connsiteY10" fmla="*/ 39225 h 374517"/>
              <a:gd name="connsiteX11" fmla="*/ 1062786 w 1090814"/>
              <a:gd name="connsiteY11" fmla="*/ 0 h 374517"/>
              <a:gd name="connsiteX12" fmla="*/ 1010107 w 1090814"/>
              <a:gd name="connsiteY12" fmla="*/ 22087 h 374517"/>
              <a:gd name="connsiteX13" fmla="*/ 1034077 w 1090814"/>
              <a:gd name="connsiteY13" fmla="*/ 65365 h 374517"/>
              <a:gd name="connsiteX14" fmla="*/ 997866 w 1090814"/>
              <a:gd name="connsiteY14" fmla="*/ 81956 h 374517"/>
              <a:gd name="connsiteX15" fmla="*/ 901229 w 1090814"/>
              <a:gd name="connsiteY15" fmla="*/ 134110 h 374517"/>
              <a:gd name="connsiteX16" fmla="*/ 773197 w 1090814"/>
              <a:gd name="connsiteY16" fmla="*/ 151143 h 374517"/>
              <a:gd name="connsiteX17" fmla="*/ 627156 w 1090814"/>
              <a:gd name="connsiteY17" fmla="*/ 214257 h 374517"/>
              <a:gd name="connsiteX18" fmla="*/ 505191 w 1090814"/>
              <a:gd name="connsiteY18" fmla="*/ 248194 h 374517"/>
              <a:gd name="connsiteX19" fmla="*/ 359274 w 1090814"/>
              <a:gd name="connsiteY19" fmla="*/ 250098 h 374517"/>
              <a:gd name="connsiteX20" fmla="*/ 279703 w 1090814"/>
              <a:gd name="connsiteY20" fmla="*/ 257429 h 374517"/>
              <a:gd name="connsiteX21" fmla="*/ 152963 w 1090814"/>
              <a:gd name="connsiteY21" fmla="*/ 240581 h 374517"/>
              <a:gd name="connsiteX22" fmla="*/ 72875 w 1090814"/>
              <a:gd name="connsiteY22" fmla="*/ 155702 h 374517"/>
              <a:gd name="connsiteX23" fmla="*/ 647 w 1090814"/>
              <a:gd name="connsiteY23" fmla="*/ 153059 h 374517"/>
              <a:gd name="connsiteX0" fmla="*/ 647 w 1090814"/>
              <a:gd name="connsiteY0" fmla="*/ 153059 h 374517"/>
              <a:gd name="connsiteX1" fmla="*/ 98695 w 1090814"/>
              <a:gd name="connsiteY1" fmla="*/ 287503 h 374517"/>
              <a:gd name="connsiteX2" fmla="*/ 174340 w 1090814"/>
              <a:gd name="connsiteY2" fmla="*/ 329455 h 374517"/>
              <a:gd name="connsiteX3" fmla="*/ 302907 w 1090814"/>
              <a:gd name="connsiteY3" fmla="*/ 366822 h 374517"/>
              <a:gd name="connsiteX4" fmla="*/ 441397 w 1090814"/>
              <a:gd name="connsiteY4" fmla="*/ 374517 h 374517"/>
              <a:gd name="connsiteX5" fmla="*/ 557813 w 1090814"/>
              <a:gd name="connsiteY5" fmla="*/ 370872 h 374517"/>
              <a:gd name="connsiteX6" fmla="*/ 687720 w 1090814"/>
              <a:gd name="connsiteY6" fmla="*/ 353086 h 374517"/>
              <a:gd name="connsiteX7" fmla="*/ 846281 w 1090814"/>
              <a:gd name="connsiteY7" fmla="*/ 297765 h 374517"/>
              <a:gd name="connsiteX8" fmla="*/ 954367 w 1090814"/>
              <a:gd name="connsiteY8" fmla="*/ 202321 h 374517"/>
              <a:gd name="connsiteX9" fmla="*/ 1054103 w 1090814"/>
              <a:gd name="connsiteY9" fmla="*/ 122719 h 374517"/>
              <a:gd name="connsiteX10" fmla="*/ 1090698 w 1090814"/>
              <a:gd name="connsiteY10" fmla="*/ 39225 h 374517"/>
              <a:gd name="connsiteX11" fmla="*/ 1062786 w 1090814"/>
              <a:gd name="connsiteY11" fmla="*/ 0 h 374517"/>
              <a:gd name="connsiteX12" fmla="*/ 1010107 w 1090814"/>
              <a:gd name="connsiteY12" fmla="*/ 22087 h 374517"/>
              <a:gd name="connsiteX13" fmla="*/ 1034077 w 1090814"/>
              <a:gd name="connsiteY13" fmla="*/ 65365 h 374517"/>
              <a:gd name="connsiteX14" fmla="*/ 997866 w 1090814"/>
              <a:gd name="connsiteY14" fmla="*/ 81956 h 374517"/>
              <a:gd name="connsiteX15" fmla="*/ 901229 w 1090814"/>
              <a:gd name="connsiteY15" fmla="*/ 134110 h 374517"/>
              <a:gd name="connsiteX16" fmla="*/ 773197 w 1090814"/>
              <a:gd name="connsiteY16" fmla="*/ 151143 h 374517"/>
              <a:gd name="connsiteX17" fmla="*/ 627156 w 1090814"/>
              <a:gd name="connsiteY17" fmla="*/ 214257 h 374517"/>
              <a:gd name="connsiteX18" fmla="*/ 505191 w 1090814"/>
              <a:gd name="connsiteY18" fmla="*/ 248194 h 374517"/>
              <a:gd name="connsiteX19" fmla="*/ 359274 w 1090814"/>
              <a:gd name="connsiteY19" fmla="*/ 250098 h 374517"/>
              <a:gd name="connsiteX20" fmla="*/ 279703 w 1090814"/>
              <a:gd name="connsiteY20" fmla="*/ 257429 h 374517"/>
              <a:gd name="connsiteX21" fmla="*/ 152963 w 1090814"/>
              <a:gd name="connsiteY21" fmla="*/ 240581 h 374517"/>
              <a:gd name="connsiteX22" fmla="*/ 72875 w 1090814"/>
              <a:gd name="connsiteY22" fmla="*/ 155702 h 374517"/>
              <a:gd name="connsiteX23" fmla="*/ 647 w 1090814"/>
              <a:gd name="connsiteY23" fmla="*/ 153059 h 374517"/>
              <a:gd name="connsiteX0" fmla="*/ 727 w 1079753"/>
              <a:gd name="connsiteY0" fmla="*/ 176602 h 374517"/>
              <a:gd name="connsiteX1" fmla="*/ 87634 w 1079753"/>
              <a:gd name="connsiteY1" fmla="*/ 287503 h 374517"/>
              <a:gd name="connsiteX2" fmla="*/ 163279 w 1079753"/>
              <a:gd name="connsiteY2" fmla="*/ 329455 h 374517"/>
              <a:gd name="connsiteX3" fmla="*/ 291846 w 1079753"/>
              <a:gd name="connsiteY3" fmla="*/ 366822 h 374517"/>
              <a:gd name="connsiteX4" fmla="*/ 430336 w 1079753"/>
              <a:gd name="connsiteY4" fmla="*/ 374517 h 374517"/>
              <a:gd name="connsiteX5" fmla="*/ 546752 w 1079753"/>
              <a:gd name="connsiteY5" fmla="*/ 370872 h 374517"/>
              <a:gd name="connsiteX6" fmla="*/ 676659 w 1079753"/>
              <a:gd name="connsiteY6" fmla="*/ 353086 h 374517"/>
              <a:gd name="connsiteX7" fmla="*/ 835220 w 1079753"/>
              <a:gd name="connsiteY7" fmla="*/ 297765 h 374517"/>
              <a:gd name="connsiteX8" fmla="*/ 943306 w 1079753"/>
              <a:gd name="connsiteY8" fmla="*/ 202321 h 374517"/>
              <a:gd name="connsiteX9" fmla="*/ 1043042 w 1079753"/>
              <a:gd name="connsiteY9" fmla="*/ 122719 h 374517"/>
              <a:gd name="connsiteX10" fmla="*/ 1079637 w 1079753"/>
              <a:gd name="connsiteY10" fmla="*/ 39225 h 374517"/>
              <a:gd name="connsiteX11" fmla="*/ 1051725 w 1079753"/>
              <a:gd name="connsiteY11" fmla="*/ 0 h 374517"/>
              <a:gd name="connsiteX12" fmla="*/ 999046 w 1079753"/>
              <a:gd name="connsiteY12" fmla="*/ 22087 h 374517"/>
              <a:gd name="connsiteX13" fmla="*/ 1023016 w 1079753"/>
              <a:gd name="connsiteY13" fmla="*/ 65365 h 374517"/>
              <a:gd name="connsiteX14" fmla="*/ 986805 w 1079753"/>
              <a:gd name="connsiteY14" fmla="*/ 81956 h 374517"/>
              <a:gd name="connsiteX15" fmla="*/ 890168 w 1079753"/>
              <a:gd name="connsiteY15" fmla="*/ 134110 h 374517"/>
              <a:gd name="connsiteX16" fmla="*/ 762136 w 1079753"/>
              <a:gd name="connsiteY16" fmla="*/ 151143 h 374517"/>
              <a:gd name="connsiteX17" fmla="*/ 616095 w 1079753"/>
              <a:gd name="connsiteY17" fmla="*/ 214257 h 374517"/>
              <a:gd name="connsiteX18" fmla="*/ 494130 w 1079753"/>
              <a:gd name="connsiteY18" fmla="*/ 248194 h 374517"/>
              <a:gd name="connsiteX19" fmla="*/ 348213 w 1079753"/>
              <a:gd name="connsiteY19" fmla="*/ 250098 h 374517"/>
              <a:gd name="connsiteX20" fmla="*/ 268642 w 1079753"/>
              <a:gd name="connsiteY20" fmla="*/ 257429 h 374517"/>
              <a:gd name="connsiteX21" fmla="*/ 141902 w 1079753"/>
              <a:gd name="connsiteY21" fmla="*/ 240581 h 374517"/>
              <a:gd name="connsiteX22" fmla="*/ 61814 w 1079753"/>
              <a:gd name="connsiteY22" fmla="*/ 155702 h 374517"/>
              <a:gd name="connsiteX23" fmla="*/ 727 w 1079753"/>
              <a:gd name="connsiteY23" fmla="*/ 176602 h 374517"/>
              <a:gd name="connsiteX0" fmla="*/ 308 w 1079334"/>
              <a:gd name="connsiteY0" fmla="*/ 176602 h 374517"/>
              <a:gd name="connsiteX1" fmla="*/ 87215 w 1079334"/>
              <a:gd name="connsiteY1" fmla="*/ 287503 h 374517"/>
              <a:gd name="connsiteX2" fmla="*/ 162860 w 1079334"/>
              <a:gd name="connsiteY2" fmla="*/ 329455 h 374517"/>
              <a:gd name="connsiteX3" fmla="*/ 291427 w 1079334"/>
              <a:gd name="connsiteY3" fmla="*/ 366822 h 374517"/>
              <a:gd name="connsiteX4" fmla="*/ 429917 w 1079334"/>
              <a:gd name="connsiteY4" fmla="*/ 374517 h 374517"/>
              <a:gd name="connsiteX5" fmla="*/ 546333 w 1079334"/>
              <a:gd name="connsiteY5" fmla="*/ 370872 h 374517"/>
              <a:gd name="connsiteX6" fmla="*/ 676240 w 1079334"/>
              <a:gd name="connsiteY6" fmla="*/ 353086 h 374517"/>
              <a:gd name="connsiteX7" fmla="*/ 834801 w 1079334"/>
              <a:gd name="connsiteY7" fmla="*/ 297765 h 374517"/>
              <a:gd name="connsiteX8" fmla="*/ 942887 w 1079334"/>
              <a:gd name="connsiteY8" fmla="*/ 202321 h 374517"/>
              <a:gd name="connsiteX9" fmla="*/ 1042623 w 1079334"/>
              <a:gd name="connsiteY9" fmla="*/ 122719 h 374517"/>
              <a:gd name="connsiteX10" fmla="*/ 1079218 w 1079334"/>
              <a:gd name="connsiteY10" fmla="*/ 39225 h 374517"/>
              <a:gd name="connsiteX11" fmla="*/ 1051306 w 1079334"/>
              <a:gd name="connsiteY11" fmla="*/ 0 h 374517"/>
              <a:gd name="connsiteX12" fmla="*/ 998627 w 1079334"/>
              <a:gd name="connsiteY12" fmla="*/ 22087 h 374517"/>
              <a:gd name="connsiteX13" fmla="*/ 1022597 w 1079334"/>
              <a:gd name="connsiteY13" fmla="*/ 65365 h 374517"/>
              <a:gd name="connsiteX14" fmla="*/ 986386 w 1079334"/>
              <a:gd name="connsiteY14" fmla="*/ 81956 h 374517"/>
              <a:gd name="connsiteX15" fmla="*/ 889749 w 1079334"/>
              <a:gd name="connsiteY15" fmla="*/ 134110 h 374517"/>
              <a:gd name="connsiteX16" fmla="*/ 761717 w 1079334"/>
              <a:gd name="connsiteY16" fmla="*/ 151143 h 374517"/>
              <a:gd name="connsiteX17" fmla="*/ 615676 w 1079334"/>
              <a:gd name="connsiteY17" fmla="*/ 214257 h 374517"/>
              <a:gd name="connsiteX18" fmla="*/ 493711 w 1079334"/>
              <a:gd name="connsiteY18" fmla="*/ 248194 h 374517"/>
              <a:gd name="connsiteX19" fmla="*/ 347794 w 1079334"/>
              <a:gd name="connsiteY19" fmla="*/ 250098 h 374517"/>
              <a:gd name="connsiteX20" fmla="*/ 268223 w 1079334"/>
              <a:gd name="connsiteY20" fmla="*/ 257429 h 374517"/>
              <a:gd name="connsiteX21" fmla="*/ 141483 w 1079334"/>
              <a:gd name="connsiteY21" fmla="*/ 240581 h 374517"/>
              <a:gd name="connsiteX22" fmla="*/ 61395 w 1079334"/>
              <a:gd name="connsiteY22" fmla="*/ 155702 h 374517"/>
              <a:gd name="connsiteX23" fmla="*/ 308 w 1079334"/>
              <a:gd name="connsiteY23" fmla="*/ 176602 h 374517"/>
              <a:gd name="connsiteX0" fmla="*/ 597 w 1057340"/>
              <a:gd name="connsiteY0" fmla="*/ 202286 h 374517"/>
              <a:gd name="connsiteX1" fmla="*/ 65221 w 1057340"/>
              <a:gd name="connsiteY1" fmla="*/ 287503 h 374517"/>
              <a:gd name="connsiteX2" fmla="*/ 140866 w 1057340"/>
              <a:gd name="connsiteY2" fmla="*/ 329455 h 374517"/>
              <a:gd name="connsiteX3" fmla="*/ 269433 w 1057340"/>
              <a:gd name="connsiteY3" fmla="*/ 366822 h 374517"/>
              <a:gd name="connsiteX4" fmla="*/ 407923 w 1057340"/>
              <a:gd name="connsiteY4" fmla="*/ 374517 h 374517"/>
              <a:gd name="connsiteX5" fmla="*/ 524339 w 1057340"/>
              <a:gd name="connsiteY5" fmla="*/ 370872 h 374517"/>
              <a:gd name="connsiteX6" fmla="*/ 654246 w 1057340"/>
              <a:gd name="connsiteY6" fmla="*/ 353086 h 374517"/>
              <a:gd name="connsiteX7" fmla="*/ 812807 w 1057340"/>
              <a:gd name="connsiteY7" fmla="*/ 297765 h 374517"/>
              <a:gd name="connsiteX8" fmla="*/ 920893 w 1057340"/>
              <a:gd name="connsiteY8" fmla="*/ 202321 h 374517"/>
              <a:gd name="connsiteX9" fmla="*/ 1020629 w 1057340"/>
              <a:gd name="connsiteY9" fmla="*/ 122719 h 374517"/>
              <a:gd name="connsiteX10" fmla="*/ 1057224 w 1057340"/>
              <a:gd name="connsiteY10" fmla="*/ 39225 h 374517"/>
              <a:gd name="connsiteX11" fmla="*/ 1029312 w 1057340"/>
              <a:gd name="connsiteY11" fmla="*/ 0 h 374517"/>
              <a:gd name="connsiteX12" fmla="*/ 976633 w 1057340"/>
              <a:gd name="connsiteY12" fmla="*/ 22087 h 374517"/>
              <a:gd name="connsiteX13" fmla="*/ 1000603 w 1057340"/>
              <a:gd name="connsiteY13" fmla="*/ 65365 h 374517"/>
              <a:gd name="connsiteX14" fmla="*/ 964392 w 1057340"/>
              <a:gd name="connsiteY14" fmla="*/ 81956 h 374517"/>
              <a:gd name="connsiteX15" fmla="*/ 867755 w 1057340"/>
              <a:gd name="connsiteY15" fmla="*/ 134110 h 374517"/>
              <a:gd name="connsiteX16" fmla="*/ 739723 w 1057340"/>
              <a:gd name="connsiteY16" fmla="*/ 151143 h 374517"/>
              <a:gd name="connsiteX17" fmla="*/ 593682 w 1057340"/>
              <a:gd name="connsiteY17" fmla="*/ 214257 h 374517"/>
              <a:gd name="connsiteX18" fmla="*/ 471717 w 1057340"/>
              <a:gd name="connsiteY18" fmla="*/ 248194 h 374517"/>
              <a:gd name="connsiteX19" fmla="*/ 325800 w 1057340"/>
              <a:gd name="connsiteY19" fmla="*/ 250098 h 374517"/>
              <a:gd name="connsiteX20" fmla="*/ 246229 w 1057340"/>
              <a:gd name="connsiteY20" fmla="*/ 257429 h 374517"/>
              <a:gd name="connsiteX21" fmla="*/ 119489 w 1057340"/>
              <a:gd name="connsiteY21" fmla="*/ 240581 h 374517"/>
              <a:gd name="connsiteX22" fmla="*/ 39401 w 1057340"/>
              <a:gd name="connsiteY22" fmla="*/ 155702 h 374517"/>
              <a:gd name="connsiteX23" fmla="*/ 597 w 1057340"/>
              <a:gd name="connsiteY23" fmla="*/ 202286 h 374517"/>
              <a:gd name="connsiteX0" fmla="*/ 2175 w 1039421"/>
              <a:gd name="connsiteY0" fmla="*/ 210847 h 374517"/>
              <a:gd name="connsiteX1" fmla="*/ 47302 w 1039421"/>
              <a:gd name="connsiteY1" fmla="*/ 287503 h 374517"/>
              <a:gd name="connsiteX2" fmla="*/ 122947 w 1039421"/>
              <a:gd name="connsiteY2" fmla="*/ 329455 h 374517"/>
              <a:gd name="connsiteX3" fmla="*/ 251514 w 1039421"/>
              <a:gd name="connsiteY3" fmla="*/ 366822 h 374517"/>
              <a:gd name="connsiteX4" fmla="*/ 390004 w 1039421"/>
              <a:gd name="connsiteY4" fmla="*/ 374517 h 374517"/>
              <a:gd name="connsiteX5" fmla="*/ 506420 w 1039421"/>
              <a:gd name="connsiteY5" fmla="*/ 370872 h 374517"/>
              <a:gd name="connsiteX6" fmla="*/ 636327 w 1039421"/>
              <a:gd name="connsiteY6" fmla="*/ 353086 h 374517"/>
              <a:gd name="connsiteX7" fmla="*/ 794888 w 1039421"/>
              <a:gd name="connsiteY7" fmla="*/ 297765 h 374517"/>
              <a:gd name="connsiteX8" fmla="*/ 902974 w 1039421"/>
              <a:gd name="connsiteY8" fmla="*/ 202321 h 374517"/>
              <a:gd name="connsiteX9" fmla="*/ 1002710 w 1039421"/>
              <a:gd name="connsiteY9" fmla="*/ 122719 h 374517"/>
              <a:gd name="connsiteX10" fmla="*/ 1039305 w 1039421"/>
              <a:gd name="connsiteY10" fmla="*/ 39225 h 374517"/>
              <a:gd name="connsiteX11" fmla="*/ 1011393 w 1039421"/>
              <a:gd name="connsiteY11" fmla="*/ 0 h 374517"/>
              <a:gd name="connsiteX12" fmla="*/ 958714 w 1039421"/>
              <a:gd name="connsiteY12" fmla="*/ 22087 h 374517"/>
              <a:gd name="connsiteX13" fmla="*/ 982684 w 1039421"/>
              <a:gd name="connsiteY13" fmla="*/ 65365 h 374517"/>
              <a:gd name="connsiteX14" fmla="*/ 946473 w 1039421"/>
              <a:gd name="connsiteY14" fmla="*/ 81956 h 374517"/>
              <a:gd name="connsiteX15" fmla="*/ 849836 w 1039421"/>
              <a:gd name="connsiteY15" fmla="*/ 134110 h 374517"/>
              <a:gd name="connsiteX16" fmla="*/ 721804 w 1039421"/>
              <a:gd name="connsiteY16" fmla="*/ 151143 h 374517"/>
              <a:gd name="connsiteX17" fmla="*/ 575763 w 1039421"/>
              <a:gd name="connsiteY17" fmla="*/ 214257 h 374517"/>
              <a:gd name="connsiteX18" fmla="*/ 453798 w 1039421"/>
              <a:gd name="connsiteY18" fmla="*/ 248194 h 374517"/>
              <a:gd name="connsiteX19" fmla="*/ 307881 w 1039421"/>
              <a:gd name="connsiteY19" fmla="*/ 250098 h 374517"/>
              <a:gd name="connsiteX20" fmla="*/ 228310 w 1039421"/>
              <a:gd name="connsiteY20" fmla="*/ 257429 h 374517"/>
              <a:gd name="connsiteX21" fmla="*/ 101570 w 1039421"/>
              <a:gd name="connsiteY21" fmla="*/ 240581 h 374517"/>
              <a:gd name="connsiteX22" fmla="*/ 21482 w 1039421"/>
              <a:gd name="connsiteY22" fmla="*/ 155702 h 374517"/>
              <a:gd name="connsiteX23" fmla="*/ 2175 w 1039421"/>
              <a:gd name="connsiteY23" fmla="*/ 210847 h 374517"/>
              <a:gd name="connsiteX0" fmla="*/ 2175 w 1040575"/>
              <a:gd name="connsiteY0" fmla="*/ 210847 h 374517"/>
              <a:gd name="connsiteX1" fmla="*/ 47302 w 1040575"/>
              <a:gd name="connsiteY1" fmla="*/ 287503 h 374517"/>
              <a:gd name="connsiteX2" fmla="*/ 122947 w 1040575"/>
              <a:gd name="connsiteY2" fmla="*/ 329455 h 374517"/>
              <a:gd name="connsiteX3" fmla="*/ 251514 w 1040575"/>
              <a:gd name="connsiteY3" fmla="*/ 366822 h 374517"/>
              <a:gd name="connsiteX4" fmla="*/ 390004 w 1040575"/>
              <a:gd name="connsiteY4" fmla="*/ 374517 h 374517"/>
              <a:gd name="connsiteX5" fmla="*/ 506420 w 1040575"/>
              <a:gd name="connsiteY5" fmla="*/ 370872 h 374517"/>
              <a:gd name="connsiteX6" fmla="*/ 636327 w 1040575"/>
              <a:gd name="connsiteY6" fmla="*/ 353086 h 374517"/>
              <a:gd name="connsiteX7" fmla="*/ 794888 w 1040575"/>
              <a:gd name="connsiteY7" fmla="*/ 297765 h 374517"/>
              <a:gd name="connsiteX8" fmla="*/ 902974 w 1040575"/>
              <a:gd name="connsiteY8" fmla="*/ 202321 h 374517"/>
              <a:gd name="connsiteX9" fmla="*/ 974856 w 1040575"/>
              <a:gd name="connsiteY9" fmla="*/ 148403 h 374517"/>
              <a:gd name="connsiteX10" fmla="*/ 1039305 w 1040575"/>
              <a:gd name="connsiteY10" fmla="*/ 39225 h 374517"/>
              <a:gd name="connsiteX11" fmla="*/ 1011393 w 1040575"/>
              <a:gd name="connsiteY11" fmla="*/ 0 h 374517"/>
              <a:gd name="connsiteX12" fmla="*/ 958714 w 1040575"/>
              <a:gd name="connsiteY12" fmla="*/ 22087 h 374517"/>
              <a:gd name="connsiteX13" fmla="*/ 982684 w 1040575"/>
              <a:gd name="connsiteY13" fmla="*/ 65365 h 374517"/>
              <a:gd name="connsiteX14" fmla="*/ 946473 w 1040575"/>
              <a:gd name="connsiteY14" fmla="*/ 81956 h 374517"/>
              <a:gd name="connsiteX15" fmla="*/ 849836 w 1040575"/>
              <a:gd name="connsiteY15" fmla="*/ 134110 h 374517"/>
              <a:gd name="connsiteX16" fmla="*/ 721804 w 1040575"/>
              <a:gd name="connsiteY16" fmla="*/ 151143 h 374517"/>
              <a:gd name="connsiteX17" fmla="*/ 575763 w 1040575"/>
              <a:gd name="connsiteY17" fmla="*/ 214257 h 374517"/>
              <a:gd name="connsiteX18" fmla="*/ 453798 w 1040575"/>
              <a:gd name="connsiteY18" fmla="*/ 248194 h 374517"/>
              <a:gd name="connsiteX19" fmla="*/ 307881 w 1040575"/>
              <a:gd name="connsiteY19" fmla="*/ 250098 h 374517"/>
              <a:gd name="connsiteX20" fmla="*/ 228310 w 1040575"/>
              <a:gd name="connsiteY20" fmla="*/ 257429 h 374517"/>
              <a:gd name="connsiteX21" fmla="*/ 101570 w 1040575"/>
              <a:gd name="connsiteY21" fmla="*/ 240581 h 374517"/>
              <a:gd name="connsiteX22" fmla="*/ 21482 w 1040575"/>
              <a:gd name="connsiteY22" fmla="*/ 155702 h 374517"/>
              <a:gd name="connsiteX23" fmla="*/ 2175 w 1040575"/>
              <a:gd name="connsiteY23" fmla="*/ 210847 h 374517"/>
              <a:gd name="connsiteX0" fmla="*/ 2175 w 1028286"/>
              <a:gd name="connsiteY0" fmla="*/ 210847 h 374517"/>
              <a:gd name="connsiteX1" fmla="*/ 47302 w 1028286"/>
              <a:gd name="connsiteY1" fmla="*/ 287503 h 374517"/>
              <a:gd name="connsiteX2" fmla="*/ 122947 w 1028286"/>
              <a:gd name="connsiteY2" fmla="*/ 329455 h 374517"/>
              <a:gd name="connsiteX3" fmla="*/ 251514 w 1028286"/>
              <a:gd name="connsiteY3" fmla="*/ 366822 h 374517"/>
              <a:gd name="connsiteX4" fmla="*/ 390004 w 1028286"/>
              <a:gd name="connsiteY4" fmla="*/ 374517 h 374517"/>
              <a:gd name="connsiteX5" fmla="*/ 506420 w 1028286"/>
              <a:gd name="connsiteY5" fmla="*/ 370872 h 374517"/>
              <a:gd name="connsiteX6" fmla="*/ 636327 w 1028286"/>
              <a:gd name="connsiteY6" fmla="*/ 353086 h 374517"/>
              <a:gd name="connsiteX7" fmla="*/ 794888 w 1028286"/>
              <a:gd name="connsiteY7" fmla="*/ 297765 h 374517"/>
              <a:gd name="connsiteX8" fmla="*/ 902974 w 1028286"/>
              <a:gd name="connsiteY8" fmla="*/ 202321 h 374517"/>
              <a:gd name="connsiteX9" fmla="*/ 974856 w 1028286"/>
              <a:gd name="connsiteY9" fmla="*/ 148403 h 374517"/>
              <a:gd name="connsiteX10" fmla="*/ 1025378 w 1028286"/>
              <a:gd name="connsiteY10" fmla="*/ 60628 h 374517"/>
              <a:gd name="connsiteX11" fmla="*/ 1011393 w 1028286"/>
              <a:gd name="connsiteY11" fmla="*/ 0 h 374517"/>
              <a:gd name="connsiteX12" fmla="*/ 958714 w 1028286"/>
              <a:gd name="connsiteY12" fmla="*/ 22087 h 374517"/>
              <a:gd name="connsiteX13" fmla="*/ 982684 w 1028286"/>
              <a:gd name="connsiteY13" fmla="*/ 65365 h 374517"/>
              <a:gd name="connsiteX14" fmla="*/ 946473 w 1028286"/>
              <a:gd name="connsiteY14" fmla="*/ 81956 h 374517"/>
              <a:gd name="connsiteX15" fmla="*/ 849836 w 1028286"/>
              <a:gd name="connsiteY15" fmla="*/ 134110 h 374517"/>
              <a:gd name="connsiteX16" fmla="*/ 721804 w 1028286"/>
              <a:gd name="connsiteY16" fmla="*/ 151143 h 374517"/>
              <a:gd name="connsiteX17" fmla="*/ 575763 w 1028286"/>
              <a:gd name="connsiteY17" fmla="*/ 214257 h 374517"/>
              <a:gd name="connsiteX18" fmla="*/ 453798 w 1028286"/>
              <a:gd name="connsiteY18" fmla="*/ 248194 h 374517"/>
              <a:gd name="connsiteX19" fmla="*/ 307881 w 1028286"/>
              <a:gd name="connsiteY19" fmla="*/ 250098 h 374517"/>
              <a:gd name="connsiteX20" fmla="*/ 228310 w 1028286"/>
              <a:gd name="connsiteY20" fmla="*/ 257429 h 374517"/>
              <a:gd name="connsiteX21" fmla="*/ 101570 w 1028286"/>
              <a:gd name="connsiteY21" fmla="*/ 240581 h 374517"/>
              <a:gd name="connsiteX22" fmla="*/ 21482 w 1028286"/>
              <a:gd name="connsiteY22" fmla="*/ 155702 h 374517"/>
              <a:gd name="connsiteX23" fmla="*/ 2175 w 1028286"/>
              <a:gd name="connsiteY23" fmla="*/ 210847 h 374517"/>
              <a:gd name="connsiteX0" fmla="*/ 6282 w 1032393"/>
              <a:gd name="connsiteY0" fmla="*/ 210847 h 374517"/>
              <a:gd name="connsiteX1" fmla="*/ 107116 w 1032393"/>
              <a:gd name="connsiteY1" fmla="*/ 302485 h 374517"/>
              <a:gd name="connsiteX2" fmla="*/ 127054 w 1032393"/>
              <a:gd name="connsiteY2" fmla="*/ 329455 h 374517"/>
              <a:gd name="connsiteX3" fmla="*/ 255621 w 1032393"/>
              <a:gd name="connsiteY3" fmla="*/ 366822 h 374517"/>
              <a:gd name="connsiteX4" fmla="*/ 394111 w 1032393"/>
              <a:gd name="connsiteY4" fmla="*/ 374517 h 374517"/>
              <a:gd name="connsiteX5" fmla="*/ 510527 w 1032393"/>
              <a:gd name="connsiteY5" fmla="*/ 370872 h 374517"/>
              <a:gd name="connsiteX6" fmla="*/ 640434 w 1032393"/>
              <a:gd name="connsiteY6" fmla="*/ 353086 h 374517"/>
              <a:gd name="connsiteX7" fmla="*/ 798995 w 1032393"/>
              <a:gd name="connsiteY7" fmla="*/ 297765 h 374517"/>
              <a:gd name="connsiteX8" fmla="*/ 907081 w 1032393"/>
              <a:gd name="connsiteY8" fmla="*/ 202321 h 374517"/>
              <a:gd name="connsiteX9" fmla="*/ 978963 w 1032393"/>
              <a:gd name="connsiteY9" fmla="*/ 148403 h 374517"/>
              <a:gd name="connsiteX10" fmla="*/ 1029485 w 1032393"/>
              <a:gd name="connsiteY10" fmla="*/ 60628 h 374517"/>
              <a:gd name="connsiteX11" fmla="*/ 1015500 w 1032393"/>
              <a:gd name="connsiteY11" fmla="*/ 0 h 374517"/>
              <a:gd name="connsiteX12" fmla="*/ 962821 w 1032393"/>
              <a:gd name="connsiteY12" fmla="*/ 22087 h 374517"/>
              <a:gd name="connsiteX13" fmla="*/ 986791 w 1032393"/>
              <a:gd name="connsiteY13" fmla="*/ 65365 h 374517"/>
              <a:gd name="connsiteX14" fmla="*/ 950580 w 1032393"/>
              <a:gd name="connsiteY14" fmla="*/ 81956 h 374517"/>
              <a:gd name="connsiteX15" fmla="*/ 853943 w 1032393"/>
              <a:gd name="connsiteY15" fmla="*/ 134110 h 374517"/>
              <a:gd name="connsiteX16" fmla="*/ 725911 w 1032393"/>
              <a:gd name="connsiteY16" fmla="*/ 151143 h 374517"/>
              <a:gd name="connsiteX17" fmla="*/ 579870 w 1032393"/>
              <a:gd name="connsiteY17" fmla="*/ 214257 h 374517"/>
              <a:gd name="connsiteX18" fmla="*/ 457905 w 1032393"/>
              <a:gd name="connsiteY18" fmla="*/ 248194 h 374517"/>
              <a:gd name="connsiteX19" fmla="*/ 311988 w 1032393"/>
              <a:gd name="connsiteY19" fmla="*/ 250098 h 374517"/>
              <a:gd name="connsiteX20" fmla="*/ 232417 w 1032393"/>
              <a:gd name="connsiteY20" fmla="*/ 257429 h 374517"/>
              <a:gd name="connsiteX21" fmla="*/ 105677 w 1032393"/>
              <a:gd name="connsiteY21" fmla="*/ 240581 h 374517"/>
              <a:gd name="connsiteX22" fmla="*/ 25589 w 1032393"/>
              <a:gd name="connsiteY22" fmla="*/ 155702 h 374517"/>
              <a:gd name="connsiteX23" fmla="*/ 6282 w 1032393"/>
              <a:gd name="connsiteY23" fmla="*/ 210847 h 374517"/>
              <a:gd name="connsiteX0" fmla="*/ 6282 w 1032393"/>
              <a:gd name="connsiteY0" fmla="*/ 210847 h 374517"/>
              <a:gd name="connsiteX1" fmla="*/ 107116 w 1032393"/>
              <a:gd name="connsiteY1" fmla="*/ 302485 h 374517"/>
              <a:gd name="connsiteX2" fmla="*/ 216186 w 1032393"/>
              <a:gd name="connsiteY2" fmla="*/ 340158 h 374517"/>
              <a:gd name="connsiteX3" fmla="*/ 255621 w 1032393"/>
              <a:gd name="connsiteY3" fmla="*/ 366822 h 374517"/>
              <a:gd name="connsiteX4" fmla="*/ 394111 w 1032393"/>
              <a:gd name="connsiteY4" fmla="*/ 374517 h 374517"/>
              <a:gd name="connsiteX5" fmla="*/ 510527 w 1032393"/>
              <a:gd name="connsiteY5" fmla="*/ 370872 h 374517"/>
              <a:gd name="connsiteX6" fmla="*/ 640434 w 1032393"/>
              <a:gd name="connsiteY6" fmla="*/ 353086 h 374517"/>
              <a:gd name="connsiteX7" fmla="*/ 798995 w 1032393"/>
              <a:gd name="connsiteY7" fmla="*/ 297765 h 374517"/>
              <a:gd name="connsiteX8" fmla="*/ 907081 w 1032393"/>
              <a:gd name="connsiteY8" fmla="*/ 202321 h 374517"/>
              <a:gd name="connsiteX9" fmla="*/ 978963 w 1032393"/>
              <a:gd name="connsiteY9" fmla="*/ 148403 h 374517"/>
              <a:gd name="connsiteX10" fmla="*/ 1029485 w 1032393"/>
              <a:gd name="connsiteY10" fmla="*/ 60628 h 374517"/>
              <a:gd name="connsiteX11" fmla="*/ 1015500 w 1032393"/>
              <a:gd name="connsiteY11" fmla="*/ 0 h 374517"/>
              <a:gd name="connsiteX12" fmla="*/ 962821 w 1032393"/>
              <a:gd name="connsiteY12" fmla="*/ 22087 h 374517"/>
              <a:gd name="connsiteX13" fmla="*/ 986791 w 1032393"/>
              <a:gd name="connsiteY13" fmla="*/ 65365 h 374517"/>
              <a:gd name="connsiteX14" fmla="*/ 950580 w 1032393"/>
              <a:gd name="connsiteY14" fmla="*/ 81956 h 374517"/>
              <a:gd name="connsiteX15" fmla="*/ 853943 w 1032393"/>
              <a:gd name="connsiteY15" fmla="*/ 134110 h 374517"/>
              <a:gd name="connsiteX16" fmla="*/ 725911 w 1032393"/>
              <a:gd name="connsiteY16" fmla="*/ 151143 h 374517"/>
              <a:gd name="connsiteX17" fmla="*/ 579870 w 1032393"/>
              <a:gd name="connsiteY17" fmla="*/ 214257 h 374517"/>
              <a:gd name="connsiteX18" fmla="*/ 457905 w 1032393"/>
              <a:gd name="connsiteY18" fmla="*/ 248194 h 374517"/>
              <a:gd name="connsiteX19" fmla="*/ 311988 w 1032393"/>
              <a:gd name="connsiteY19" fmla="*/ 250098 h 374517"/>
              <a:gd name="connsiteX20" fmla="*/ 232417 w 1032393"/>
              <a:gd name="connsiteY20" fmla="*/ 257429 h 374517"/>
              <a:gd name="connsiteX21" fmla="*/ 105677 w 1032393"/>
              <a:gd name="connsiteY21" fmla="*/ 240581 h 374517"/>
              <a:gd name="connsiteX22" fmla="*/ 25589 w 1032393"/>
              <a:gd name="connsiteY22" fmla="*/ 155702 h 374517"/>
              <a:gd name="connsiteX23" fmla="*/ 6282 w 1032393"/>
              <a:gd name="connsiteY23" fmla="*/ 210847 h 374517"/>
              <a:gd name="connsiteX0" fmla="*/ 6282 w 1032393"/>
              <a:gd name="connsiteY0" fmla="*/ 210847 h 374517"/>
              <a:gd name="connsiteX1" fmla="*/ 107116 w 1032393"/>
              <a:gd name="connsiteY1" fmla="*/ 302485 h 374517"/>
              <a:gd name="connsiteX2" fmla="*/ 255621 w 1032393"/>
              <a:gd name="connsiteY2" fmla="*/ 366822 h 374517"/>
              <a:gd name="connsiteX3" fmla="*/ 394111 w 1032393"/>
              <a:gd name="connsiteY3" fmla="*/ 374517 h 374517"/>
              <a:gd name="connsiteX4" fmla="*/ 510527 w 1032393"/>
              <a:gd name="connsiteY4" fmla="*/ 370872 h 374517"/>
              <a:gd name="connsiteX5" fmla="*/ 640434 w 1032393"/>
              <a:gd name="connsiteY5" fmla="*/ 353086 h 374517"/>
              <a:gd name="connsiteX6" fmla="*/ 798995 w 1032393"/>
              <a:gd name="connsiteY6" fmla="*/ 297765 h 374517"/>
              <a:gd name="connsiteX7" fmla="*/ 907081 w 1032393"/>
              <a:gd name="connsiteY7" fmla="*/ 202321 h 374517"/>
              <a:gd name="connsiteX8" fmla="*/ 978963 w 1032393"/>
              <a:gd name="connsiteY8" fmla="*/ 148403 h 374517"/>
              <a:gd name="connsiteX9" fmla="*/ 1029485 w 1032393"/>
              <a:gd name="connsiteY9" fmla="*/ 60628 h 374517"/>
              <a:gd name="connsiteX10" fmla="*/ 1015500 w 1032393"/>
              <a:gd name="connsiteY10" fmla="*/ 0 h 374517"/>
              <a:gd name="connsiteX11" fmla="*/ 962821 w 1032393"/>
              <a:gd name="connsiteY11" fmla="*/ 22087 h 374517"/>
              <a:gd name="connsiteX12" fmla="*/ 986791 w 1032393"/>
              <a:gd name="connsiteY12" fmla="*/ 65365 h 374517"/>
              <a:gd name="connsiteX13" fmla="*/ 950580 w 1032393"/>
              <a:gd name="connsiteY13" fmla="*/ 81956 h 374517"/>
              <a:gd name="connsiteX14" fmla="*/ 853943 w 1032393"/>
              <a:gd name="connsiteY14" fmla="*/ 134110 h 374517"/>
              <a:gd name="connsiteX15" fmla="*/ 725911 w 1032393"/>
              <a:gd name="connsiteY15" fmla="*/ 151143 h 374517"/>
              <a:gd name="connsiteX16" fmla="*/ 579870 w 1032393"/>
              <a:gd name="connsiteY16" fmla="*/ 214257 h 374517"/>
              <a:gd name="connsiteX17" fmla="*/ 457905 w 1032393"/>
              <a:gd name="connsiteY17" fmla="*/ 248194 h 374517"/>
              <a:gd name="connsiteX18" fmla="*/ 311988 w 1032393"/>
              <a:gd name="connsiteY18" fmla="*/ 250098 h 374517"/>
              <a:gd name="connsiteX19" fmla="*/ 232417 w 1032393"/>
              <a:gd name="connsiteY19" fmla="*/ 257429 h 374517"/>
              <a:gd name="connsiteX20" fmla="*/ 105677 w 1032393"/>
              <a:gd name="connsiteY20" fmla="*/ 240581 h 374517"/>
              <a:gd name="connsiteX21" fmla="*/ 25589 w 1032393"/>
              <a:gd name="connsiteY21" fmla="*/ 155702 h 374517"/>
              <a:gd name="connsiteX22" fmla="*/ 6282 w 1032393"/>
              <a:gd name="connsiteY22" fmla="*/ 210847 h 374517"/>
              <a:gd name="connsiteX0" fmla="*/ 6282 w 1032393"/>
              <a:gd name="connsiteY0" fmla="*/ 210847 h 374517"/>
              <a:gd name="connsiteX1" fmla="*/ 107116 w 1032393"/>
              <a:gd name="connsiteY1" fmla="*/ 302485 h 374517"/>
              <a:gd name="connsiteX2" fmla="*/ 277904 w 1032393"/>
              <a:gd name="connsiteY2" fmla="*/ 362542 h 374517"/>
              <a:gd name="connsiteX3" fmla="*/ 394111 w 1032393"/>
              <a:gd name="connsiteY3" fmla="*/ 374517 h 374517"/>
              <a:gd name="connsiteX4" fmla="*/ 510527 w 1032393"/>
              <a:gd name="connsiteY4" fmla="*/ 370872 h 374517"/>
              <a:gd name="connsiteX5" fmla="*/ 640434 w 1032393"/>
              <a:gd name="connsiteY5" fmla="*/ 353086 h 374517"/>
              <a:gd name="connsiteX6" fmla="*/ 798995 w 1032393"/>
              <a:gd name="connsiteY6" fmla="*/ 297765 h 374517"/>
              <a:gd name="connsiteX7" fmla="*/ 907081 w 1032393"/>
              <a:gd name="connsiteY7" fmla="*/ 202321 h 374517"/>
              <a:gd name="connsiteX8" fmla="*/ 978963 w 1032393"/>
              <a:gd name="connsiteY8" fmla="*/ 148403 h 374517"/>
              <a:gd name="connsiteX9" fmla="*/ 1029485 w 1032393"/>
              <a:gd name="connsiteY9" fmla="*/ 60628 h 374517"/>
              <a:gd name="connsiteX10" fmla="*/ 1015500 w 1032393"/>
              <a:gd name="connsiteY10" fmla="*/ 0 h 374517"/>
              <a:gd name="connsiteX11" fmla="*/ 962821 w 1032393"/>
              <a:gd name="connsiteY11" fmla="*/ 22087 h 374517"/>
              <a:gd name="connsiteX12" fmla="*/ 986791 w 1032393"/>
              <a:gd name="connsiteY12" fmla="*/ 65365 h 374517"/>
              <a:gd name="connsiteX13" fmla="*/ 950580 w 1032393"/>
              <a:gd name="connsiteY13" fmla="*/ 81956 h 374517"/>
              <a:gd name="connsiteX14" fmla="*/ 853943 w 1032393"/>
              <a:gd name="connsiteY14" fmla="*/ 134110 h 374517"/>
              <a:gd name="connsiteX15" fmla="*/ 725911 w 1032393"/>
              <a:gd name="connsiteY15" fmla="*/ 151143 h 374517"/>
              <a:gd name="connsiteX16" fmla="*/ 579870 w 1032393"/>
              <a:gd name="connsiteY16" fmla="*/ 214257 h 374517"/>
              <a:gd name="connsiteX17" fmla="*/ 457905 w 1032393"/>
              <a:gd name="connsiteY17" fmla="*/ 248194 h 374517"/>
              <a:gd name="connsiteX18" fmla="*/ 311988 w 1032393"/>
              <a:gd name="connsiteY18" fmla="*/ 250098 h 374517"/>
              <a:gd name="connsiteX19" fmla="*/ 232417 w 1032393"/>
              <a:gd name="connsiteY19" fmla="*/ 257429 h 374517"/>
              <a:gd name="connsiteX20" fmla="*/ 105677 w 1032393"/>
              <a:gd name="connsiteY20" fmla="*/ 240581 h 374517"/>
              <a:gd name="connsiteX21" fmla="*/ 25589 w 1032393"/>
              <a:gd name="connsiteY21" fmla="*/ 155702 h 374517"/>
              <a:gd name="connsiteX22" fmla="*/ 6282 w 1032393"/>
              <a:gd name="connsiteY22" fmla="*/ 210847 h 374517"/>
              <a:gd name="connsiteX0" fmla="*/ 7723 w 1033834"/>
              <a:gd name="connsiteY0" fmla="*/ 210847 h 374517"/>
              <a:gd name="connsiteX1" fmla="*/ 128053 w 1033834"/>
              <a:gd name="connsiteY1" fmla="*/ 302485 h 374517"/>
              <a:gd name="connsiteX2" fmla="*/ 279345 w 1033834"/>
              <a:gd name="connsiteY2" fmla="*/ 362542 h 374517"/>
              <a:gd name="connsiteX3" fmla="*/ 395552 w 1033834"/>
              <a:gd name="connsiteY3" fmla="*/ 374517 h 374517"/>
              <a:gd name="connsiteX4" fmla="*/ 511968 w 1033834"/>
              <a:gd name="connsiteY4" fmla="*/ 370872 h 374517"/>
              <a:gd name="connsiteX5" fmla="*/ 641875 w 1033834"/>
              <a:gd name="connsiteY5" fmla="*/ 353086 h 374517"/>
              <a:gd name="connsiteX6" fmla="*/ 800436 w 1033834"/>
              <a:gd name="connsiteY6" fmla="*/ 297765 h 374517"/>
              <a:gd name="connsiteX7" fmla="*/ 908522 w 1033834"/>
              <a:gd name="connsiteY7" fmla="*/ 202321 h 374517"/>
              <a:gd name="connsiteX8" fmla="*/ 980404 w 1033834"/>
              <a:gd name="connsiteY8" fmla="*/ 148403 h 374517"/>
              <a:gd name="connsiteX9" fmla="*/ 1030926 w 1033834"/>
              <a:gd name="connsiteY9" fmla="*/ 60628 h 374517"/>
              <a:gd name="connsiteX10" fmla="*/ 1016941 w 1033834"/>
              <a:gd name="connsiteY10" fmla="*/ 0 h 374517"/>
              <a:gd name="connsiteX11" fmla="*/ 964262 w 1033834"/>
              <a:gd name="connsiteY11" fmla="*/ 22087 h 374517"/>
              <a:gd name="connsiteX12" fmla="*/ 988232 w 1033834"/>
              <a:gd name="connsiteY12" fmla="*/ 65365 h 374517"/>
              <a:gd name="connsiteX13" fmla="*/ 952021 w 1033834"/>
              <a:gd name="connsiteY13" fmla="*/ 81956 h 374517"/>
              <a:gd name="connsiteX14" fmla="*/ 855384 w 1033834"/>
              <a:gd name="connsiteY14" fmla="*/ 134110 h 374517"/>
              <a:gd name="connsiteX15" fmla="*/ 727352 w 1033834"/>
              <a:gd name="connsiteY15" fmla="*/ 151143 h 374517"/>
              <a:gd name="connsiteX16" fmla="*/ 581311 w 1033834"/>
              <a:gd name="connsiteY16" fmla="*/ 214257 h 374517"/>
              <a:gd name="connsiteX17" fmla="*/ 459346 w 1033834"/>
              <a:gd name="connsiteY17" fmla="*/ 248194 h 374517"/>
              <a:gd name="connsiteX18" fmla="*/ 313429 w 1033834"/>
              <a:gd name="connsiteY18" fmla="*/ 250098 h 374517"/>
              <a:gd name="connsiteX19" fmla="*/ 233858 w 1033834"/>
              <a:gd name="connsiteY19" fmla="*/ 257429 h 374517"/>
              <a:gd name="connsiteX20" fmla="*/ 107118 w 1033834"/>
              <a:gd name="connsiteY20" fmla="*/ 240581 h 374517"/>
              <a:gd name="connsiteX21" fmla="*/ 27030 w 1033834"/>
              <a:gd name="connsiteY21" fmla="*/ 155702 h 374517"/>
              <a:gd name="connsiteX22" fmla="*/ 7723 w 1033834"/>
              <a:gd name="connsiteY22" fmla="*/ 210847 h 374517"/>
              <a:gd name="connsiteX0" fmla="*/ 7723 w 1033834"/>
              <a:gd name="connsiteY0" fmla="*/ 210847 h 371914"/>
              <a:gd name="connsiteX1" fmla="*/ 128053 w 1033834"/>
              <a:gd name="connsiteY1" fmla="*/ 302485 h 371914"/>
              <a:gd name="connsiteX2" fmla="*/ 279345 w 1033834"/>
              <a:gd name="connsiteY2" fmla="*/ 362542 h 371914"/>
              <a:gd name="connsiteX3" fmla="*/ 406693 w 1033834"/>
              <a:gd name="connsiteY3" fmla="*/ 370237 h 371914"/>
              <a:gd name="connsiteX4" fmla="*/ 511968 w 1033834"/>
              <a:gd name="connsiteY4" fmla="*/ 370872 h 371914"/>
              <a:gd name="connsiteX5" fmla="*/ 641875 w 1033834"/>
              <a:gd name="connsiteY5" fmla="*/ 353086 h 371914"/>
              <a:gd name="connsiteX6" fmla="*/ 800436 w 1033834"/>
              <a:gd name="connsiteY6" fmla="*/ 297765 h 371914"/>
              <a:gd name="connsiteX7" fmla="*/ 908522 w 1033834"/>
              <a:gd name="connsiteY7" fmla="*/ 202321 h 371914"/>
              <a:gd name="connsiteX8" fmla="*/ 980404 w 1033834"/>
              <a:gd name="connsiteY8" fmla="*/ 148403 h 371914"/>
              <a:gd name="connsiteX9" fmla="*/ 1030926 w 1033834"/>
              <a:gd name="connsiteY9" fmla="*/ 60628 h 371914"/>
              <a:gd name="connsiteX10" fmla="*/ 1016941 w 1033834"/>
              <a:gd name="connsiteY10" fmla="*/ 0 h 371914"/>
              <a:gd name="connsiteX11" fmla="*/ 964262 w 1033834"/>
              <a:gd name="connsiteY11" fmla="*/ 22087 h 371914"/>
              <a:gd name="connsiteX12" fmla="*/ 988232 w 1033834"/>
              <a:gd name="connsiteY12" fmla="*/ 65365 h 371914"/>
              <a:gd name="connsiteX13" fmla="*/ 952021 w 1033834"/>
              <a:gd name="connsiteY13" fmla="*/ 81956 h 371914"/>
              <a:gd name="connsiteX14" fmla="*/ 855384 w 1033834"/>
              <a:gd name="connsiteY14" fmla="*/ 134110 h 371914"/>
              <a:gd name="connsiteX15" fmla="*/ 727352 w 1033834"/>
              <a:gd name="connsiteY15" fmla="*/ 151143 h 371914"/>
              <a:gd name="connsiteX16" fmla="*/ 581311 w 1033834"/>
              <a:gd name="connsiteY16" fmla="*/ 214257 h 371914"/>
              <a:gd name="connsiteX17" fmla="*/ 459346 w 1033834"/>
              <a:gd name="connsiteY17" fmla="*/ 248194 h 371914"/>
              <a:gd name="connsiteX18" fmla="*/ 313429 w 1033834"/>
              <a:gd name="connsiteY18" fmla="*/ 250098 h 371914"/>
              <a:gd name="connsiteX19" fmla="*/ 233858 w 1033834"/>
              <a:gd name="connsiteY19" fmla="*/ 257429 h 371914"/>
              <a:gd name="connsiteX20" fmla="*/ 107118 w 1033834"/>
              <a:gd name="connsiteY20" fmla="*/ 240581 h 371914"/>
              <a:gd name="connsiteX21" fmla="*/ 27030 w 1033834"/>
              <a:gd name="connsiteY21" fmla="*/ 155702 h 371914"/>
              <a:gd name="connsiteX22" fmla="*/ 7723 w 1033834"/>
              <a:gd name="connsiteY22" fmla="*/ 210847 h 371914"/>
              <a:gd name="connsiteX0" fmla="*/ 7723 w 1033834"/>
              <a:gd name="connsiteY0" fmla="*/ 210847 h 371914"/>
              <a:gd name="connsiteX1" fmla="*/ 128053 w 1033834"/>
              <a:gd name="connsiteY1" fmla="*/ 302485 h 371914"/>
              <a:gd name="connsiteX2" fmla="*/ 290487 w 1033834"/>
              <a:gd name="connsiteY2" fmla="*/ 358261 h 371914"/>
              <a:gd name="connsiteX3" fmla="*/ 406693 w 1033834"/>
              <a:gd name="connsiteY3" fmla="*/ 370237 h 371914"/>
              <a:gd name="connsiteX4" fmla="*/ 511968 w 1033834"/>
              <a:gd name="connsiteY4" fmla="*/ 370872 h 371914"/>
              <a:gd name="connsiteX5" fmla="*/ 641875 w 1033834"/>
              <a:gd name="connsiteY5" fmla="*/ 353086 h 371914"/>
              <a:gd name="connsiteX6" fmla="*/ 800436 w 1033834"/>
              <a:gd name="connsiteY6" fmla="*/ 297765 h 371914"/>
              <a:gd name="connsiteX7" fmla="*/ 908522 w 1033834"/>
              <a:gd name="connsiteY7" fmla="*/ 202321 h 371914"/>
              <a:gd name="connsiteX8" fmla="*/ 980404 w 1033834"/>
              <a:gd name="connsiteY8" fmla="*/ 148403 h 371914"/>
              <a:gd name="connsiteX9" fmla="*/ 1030926 w 1033834"/>
              <a:gd name="connsiteY9" fmla="*/ 60628 h 371914"/>
              <a:gd name="connsiteX10" fmla="*/ 1016941 w 1033834"/>
              <a:gd name="connsiteY10" fmla="*/ 0 h 371914"/>
              <a:gd name="connsiteX11" fmla="*/ 964262 w 1033834"/>
              <a:gd name="connsiteY11" fmla="*/ 22087 h 371914"/>
              <a:gd name="connsiteX12" fmla="*/ 988232 w 1033834"/>
              <a:gd name="connsiteY12" fmla="*/ 65365 h 371914"/>
              <a:gd name="connsiteX13" fmla="*/ 952021 w 1033834"/>
              <a:gd name="connsiteY13" fmla="*/ 81956 h 371914"/>
              <a:gd name="connsiteX14" fmla="*/ 855384 w 1033834"/>
              <a:gd name="connsiteY14" fmla="*/ 134110 h 371914"/>
              <a:gd name="connsiteX15" fmla="*/ 727352 w 1033834"/>
              <a:gd name="connsiteY15" fmla="*/ 151143 h 371914"/>
              <a:gd name="connsiteX16" fmla="*/ 581311 w 1033834"/>
              <a:gd name="connsiteY16" fmla="*/ 214257 h 371914"/>
              <a:gd name="connsiteX17" fmla="*/ 459346 w 1033834"/>
              <a:gd name="connsiteY17" fmla="*/ 248194 h 371914"/>
              <a:gd name="connsiteX18" fmla="*/ 313429 w 1033834"/>
              <a:gd name="connsiteY18" fmla="*/ 250098 h 371914"/>
              <a:gd name="connsiteX19" fmla="*/ 233858 w 1033834"/>
              <a:gd name="connsiteY19" fmla="*/ 257429 h 371914"/>
              <a:gd name="connsiteX20" fmla="*/ 107118 w 1033834"/>
              <a:gd name="connsiteY20" fmla="*/ 240581 h 371914"/>
              <a:gd name="connsiteX21" fmla="*/ 27030 w 1033834"/>
              <a:gd name="connsiteY21" fmla="*/ 155702 h 371914"/>
              <a:gd name="connsiteX22" fmla="*/ 7723 w 1033834"/>
              <a:gd name="connsiteY22" fmla="*/ 210847 h 371914"/>
              <a:gd name="connsiteX0" fmla="*/ 7723 w 1033834"/>
              <a:gd name="connsiteY0" fmla="*/ 210847 h 370237"/>
              <a:gd name="connsiteX1" fmla="*/ 128053 w 1033834"/>
              <a:gd name="connsiteY1" fmla="*/ 302485 h 370237"/>
              <a:gd name="connsiteX2" fmla="*/ 290487 w 1033834"/>
              <a:gd name="connsiteY2" fmla="*/ 358261 h 370237"/>
              <a:gd name="connsiteX3" fmla="*/ 406693 w 1033834"/>
              <a:gd name="connsiteY3" fmla="*/ 370237 h 370237"/>
              <a:gd name="connsiteX4" fmla="*/ 520323 w 1033834"/>
              <a:gd name="connsiteY4" fmla="*/ 358031 h 370237"/>
              <a:gd name="connsiteX5" fmla="*/ 641875 w 1033834"/>
              <a:gd name="connsiteY5" fmla="*/ 353086 h 370237"/>
              <a:gd name="connsiteX6" fmla="*/ 800436 w 1033834"/>
              <a:gd name="connsiteY6" fmla="*/ 297765 h 370237"/>
              <a:gd name="connsiteX7" fmla="*/ 908522 w 1033834"/>
              <a:gd name="connsiteY7" fmla="*/ 202321 h 370237"/>
              <a:gd name="connsiteX8" fmla="*/ 980404 w 1033834"/>
              <a:gd name="connsiteY8" fmla="*/ 148403 h 370237"/>
              <a:gd name="connsiteX9" fmla="*/ 1030926 w 1033834"/>
              <a:gd name="connsiteY9" fmla="*/ 60628 h 370237"/>
              <a:gd name="connsiteX10" fmla="*/ 1016941 w 1033834"/>
              <a:gd name="connsiteY10" fmla="*/ 0 h 370237"/>
              <a:gd name="connsiteX11" fmla="*/ 964262 w 1033834"/>
              <a:gd name="connsiteY11" fmla="*/ 22087 h 370237"/>
              <a:gd name="connsiteX12" fmla="*/ 988232 w 1033834"/>
              <a:gd name="connsiteY12" fmla="*/ 65365 h 370237"/>
              <a:gd name="connsiteX13" fmla="*/ 952021 w 1033834"/>
              <a:gd name="connsiteY13" fmla="*/ 81956 h 370237"/>
              <a:gd name="connsiteX14" fmla="*/ 855384 w 1033834"/>
              <a:gd name="connsiteY14" fmla="*/ 134110 h 370237"/>
              <a:gd name="connsiteX15" fmla="*/ 727352 w 1033834"/>
              <a:gd name="connsiteY15" fmla="*/ 151143 h 370237"/>
              <a:gd name="connsiteX16" fmla="*/ 581311 w 1033834"/>
              <a:gd name="connsiteY16" fmla="*/ 214257 h 370237"/>
              <a:gd name="connsiteX17" fmla="*/ 459346 w 1033834"/>
              <a:gd name="connsiteY17" fmla="*/ 248194 h 370237"/>
              <a:gd name="connsiteX18" fmla="*/ 313429 w 1033834"/>
              <a:gd name="connsiteY18" fmla="*/ 250098 h 370237"/>
              <a:gd name="connsiteX19" fmla="*/ 233858 w 1033834"/>
              <a:gd name="connsiteY19" fmla="*/ 257429 h 370237"/>
              <a:gd name="connsiteX20" fmla="*/ 107118 w 1033834"/>
              <a:gd name="connsiteY20" fmla="*/ 240581 h 370237"/>
              <a:gd name="connsiteX21" fmla="*/ 27030 w 1033834"/>
              <a:gd name="connsiteY21" fmla="*/ 155702 h 370237"/>
              <a:gd name="connsiteX22" fmla="*/ 7723 w 1033834"/>
              <a:gd name="connsiteY22" fmla="*/ 210847 h 370237"/>
              <a:gd name="connsiteX0" fmla="*/ 7723 w 1033834"/>
              <a:gd name="connsiteY0" fmla="*/ 210847 h 370237"/>
              <a:gd name="connsiteX1" fmla="*/ 128053 w 1033834"/>
              <a:gd name="connsiteY1" fmla="*/ 302485 h 370237"/>
              <a:gd name="connsiteX2" fmla="*/ 290487 w 1033834"/>
              <a:gd name="connsiteY2" fmla="*/ 358261 h 370237"/>
              <a:gd name="connsiteX3" fmla="*/ 406693 w 1033834"/>
              <a:gd name="connsiteY3" fmla="*/ 370237 h 370237"/>
              <a:gd name="connsiteX4" fmla="*/ 520323 w 1033834"/>
              <a:gd name="connsiteY4" fmla="*/ 358031 h 370237"/>
              <a:gd name="connsiteX5" fmla="*/ 653017 w 1033834"/>
              <a:gd name="connsiteY5" fmla="*/ 340244 h 370237"/>
              <a:gd name="connsiteX6" fmla="*/ 800436 w 1033834"/>
              <a:gd name="connsiteY6" fmla="*/ 297765 h 370237"/>
              <a:gd name="connsiteX7" fmla="*/ 908522 w 1033834"/>
              <a:gd name="connsiteY7" fmla="*/ 202321 h 370237"/>
              <a:gd name="connsiteX8" fmla="*/ 980404 w 1033834"/>
              <a:gd name="connsiteY8" fmla="*/ 148403 h 370237"/>
              <a:gd name="connsiteX9" fmla="*/ 1030926 w 1033834"/>
              <a:gd name="connsiteY9" fmla="*/ 60628 h 370237"/>
              <a:gd name="connsiteX10" fmla="*/ 1016941 w 1033834"/>
              <a:gd name="connsiteY10" fmla="*/ 0 h 370237"/>
              <a:gd name="connsiteX11" fmla="*/ 964262 w 1033834"/>
              <a:gd name="connsiteY11" fmla="*/ 22087 h 370237"/>
              <a:gd name="connsiteX12" fmla="*/ 988232 w 1033834"/>
              <a:gd name="connsiteY12" fmla="*/ 65365 h 370237"/>
              <a:gd name="connsiteX13" fmla="*/ 952021 w 1033834"/>
              <a:gd name="connsiteY13" fmla="*/ 81956 h 370237"/>
              <a:gd name="connsiteX14" fmla="*/ 855384 w 1033834"/>
              <a:gd name="connsiteY14" fmla="*/ 134110 h 370237"/>
              <a:gd name="connsiteX15" fmla="*/ 727352 w 1033834"/>
              <a:gd name="connsiteY15" fmla="*/ 151143 h 370237"/>
              <a:gd name="connsiteX16" fmla="*/ 581311 w 1033834"/>
              <a:gd name="connsiteY16" fmla="*/ 214257 h 370237"/>
              <a:gd name="connsiteX17" fmla="*/ 459346 w 1033834"/>
              <a:gd name="connsiteY17" fmla="*/ 248194 h 370237"/>
              <a:gd name="connsiteX18" fmla="*/ 313429 w 1033834"/>
              <a:gd name="connsiteY18" fmla="*/ 250098 h 370237"/>
              <a:gd name="connsiteX19" fmla="*/ 233858 w 1033834"/>
              <a:gd name="connsiteY19" fmla="*/ 257429 h 370237"/>
              <a:gd name="connsiteX20" fmla="*/ 107118 w 1033834"/>
              <a:gd name="connsiteY20" fmla="*/ 240581 h 370237"/>
              <a:gd name="connsiteX21" fmla="*/ 27030 w 1033834"/>
              <a:gd name="connsiteY21" fmla="*/ 155702 h 370237"/>
              <a:gd name="connsiteX22" fmla="*/ 7723 w 1033834"/>
              <a:gd name="connsiteY22" fmla="*/ 210847 h 370237"/>
              <a:gd name="connsiteX0" fmla="*/ 7723 w 1033834"/>
              <a:gd name="connsiteY0" fmla="*/ 210847 h 370237"/>
              <a:gd name="connsiteX1" fmla="*/ 128053 w 1033834"/>
              <a:gd name="connsiteY1" fmla="*/ 302485 h 370237"/>
              <a:gd name="connsiteX2" fmla="*/ 290487 w 1033834"/>
              <a:gd name="connsiteY2" fmla="*/ 358261 h 370237"/>
              <a:gd name="connsiteX3" fmla="*/ 406693 w 1033834"/>
              <a:gd name="connsiteY3" fmla="*/ 370237 h 370237"/>
              <a:gd name="connsiteX4" fmla="*/ 520323 w 1033834"/>
              <a:gd name="connsiteY4" fmla="*/ 358031 h 370237"/>
              <a:gd name="connsiteX5" fmla="*/ 653017 w 1033834"/>
              <a:gd name="connsiteY5" fmla="*/ 340244 h 370237"/>
              <a:gd name="connsiteX6" fmla="*/ 797651 w 1033834"/>
              <a:gd name="connsiteY6" fmla="*/ 282783 h 370237"/>
              <a:gd name="connsiteX7" fmla="*/ 908522 w 1033834"/>
              <a:gd name="connsiteY7" fmla="*/ 202321 h 370237"/>
              <a:gd name="connsiteX8" fmla="*/ 980404 w 1033834"/>
              <a:gd name="connsiteY8" fmla="*/ 148403 h 370237"/>
              <a:gd name="connsiteX9" fmla="*/ 1030926 w 1033834"/>
              <a:gd name="connsiteY9" fmla="*/ 60628 h 370237"/>
              <a:gd name="connsiteX10" fmla="*/ 1016941 w 1033834"/>
              <a:gd name="connsiteY10" fmla="*/ 0 h 370237"/>
              <a:gd name="connsiteX11" fmla="*/ 964262 w 1033834"/>
              <a:gd name="connsiteY11" fmla="*/ 22087 h 370237"/>
              <a:gd name="connsiteX12" fmla="*/ 988232 w 1033834"/>
              <a:gd name="connsiteY12" fmla="*/ 65365 h 370237"/>
              <a:gd name="connsiteX13" fmla="*/ 952021 w 1033834"/>
              <a:gd name="connsiteY13" fmla="*/ 81956 h 370237"/>
              <a:gd name="connsiteX14" fmla="*/ 855384 w 1033834"/>
              <a:gd name="connsiteY14" fmla="*/ 134110 h 370237"/>
              <a:gd name="connsiteX15" fmla="*/ 727352 w 1033834"/>
              <a:gd name="connsiteY15" fmla="*/ 151143 h 370237"/>
              <a:gd name="connsiteX16" fmla="*/ 581311 w 1033834"/>
              <a:gd name="connsiteY16" fmla="*/ 214257 h 370237"/>
              <a:gd name="connsiteX17" fmla="*/ 459346 w 1033834"/>
              <a:gd name="connsiteY17" fmla="*/ 248194 h 370237"/>
              <a:gd name="connsiteX18" fmla="*/ 313429 w 1033834"/>
              <a:gd name="connsiteY18" fmla="*/ 250098 h 370237"/>
              <a:gd name="connsiteX19" fmla="*/ 233858 w 1033834"/>
              <a:gd name="connsiteY19" fmla="*/ 257429 h 370237"/>
              <a:gd name="connsiteX20" fmla="*/ 107118 w 1033834"/>
              <a:gd name="connsiteY20" fmla="*/ 240581 h 370237"/>
              <a:gd name="connsiteX21" fmla="*/ 27030 w 1033834"/>
              <a:gd name="connsiteY21" fmla="*/ 155702 h 370237"/>
              <a:gd name="connsiteX22" fmla="*/ 7723 w 1033834"/>
              <a:gd name="connsiteY22" fmla="*/ 210847 h 370237"/>
              <a:gd name="connsiteX0" fmla="*/ 7723 w 1035068"/>
              <a:gd name="connsiteY0" fmla="*/ 210847 h 370237"/>
              <a:gd name="connsiteX1" fmla="*/ 128053 w 1035068"/>
              <a:gd name="connsiteY1" fmla="*/ 302485 h 370237"/>
              <a:gd name="connsiteX2" fmla="*/ 290487 w 1035068"/>
              <a:gd name="connsiteY2" fmla="*/ 358261 h 370237"/>
              <a:gd name="connsiteX3" fmla="*/ 406693 w 1035068"/>
              <a:gd name="connsiteY3" fmla="*/ 370237 h 370237"/>
              <a:gd name="connsiteX4" fmla="*/ 520323 w 1035068"/>
              <a:gd name="connsiteY4" fmla="*/ 358031 h 370237"/>
              <a:gd name="connsiteX5" fmla="*/ 653017 w 1035068"/>
              <a:gd name="connsiteY5" fmla="*/ 340244 h 370237"/>
              <a:gd name="connsiteX6" fmla="*/ 797651 w 1035068"/>
              <a:gd name="connsiteY6" fmla="*/ 282783 h 370237"/>
              <a:gd name="connsiteX7" fmla="*/ 908522 w 1035068"/>
              <a:gd name="connsiteY7" fmla="*/ 202321 h 370237"/>
              <a:gd name="connsiteX8" fmla="*/ 963691 w 1035068"/>
              <a:gd name="connsiteY8" fmla="*/ 133422 h 370237"/>
              <a:gd name="connsiteX9" fmla="*/ 1030926 w 1035068"/>
              <a:gd name="connsiteY9" fmla="*/ 60628 h 370237"/>
              <a:gd name="connsiteX10" fmla="*/ 1016941 w 1035068"/>
              <a:gd name="connsiteY10" fmla="*/ 0 h 370237"/>
              <a:gd name="connsiteX11" fmla="*/ 964262 w 1035068"/>
              <a:gd name="connsiteY11" fmla="*/ 22087 h 370237"/>
              <a:gd name="connsiteX12" fmla="*/ 988232 w 1035068"/>
              <a:gd name="connsiteY12" fmla="*/ 65365 h 370237"/>
              <a:gd name="connsiteX13" fmla="*/ 952021 w 1035068"/>
              <a:gd name="connsiteY13" fmla="*/ 81956 h 370237"/>
              <a:gd name="connsiteX14" fmla="*/ 855384 w 1035068"/>
              <a:gd name="connsiteY14" fmla="*/ 134110 h 370237"/>
              <a:gd name="connsiteX15" fmla="*/ 727352 w 1035068"/>
              <a:gd name="connsiteY15" fmla="*/ 151143 h 370237"/>
              <a:gd name="connsiteX16" fmla="*/ 581311 w 1035068"/>
              <a:gd name="connsiteY16" fmla="*/ 214257 h 370237"/>
              <a:gd name="connsiteX17" fmla="*/ 459346 w 1035068"/>
              <a:gd name="connsiteY17" fmla="*/ 248194 h 370237"/>
              <a:gd name="connsiteX18" fmla="*/ 313429 w 1035068"/>
              <a:gd name="connsiteY18" fmla="*/ 250098 h 370237"/>
              <a:gd name="connsiteX19" fmla="*/ 233858 w 1035068"/>
              <a:gd name="connsiteY19" fmla="*/ 257429 h 370237"/>
              <a:gd name="connsiteX20" fmla="*/ 107118 w 1035068"/>
              <a:gd name="connsiteY20" fmla="*/ 240581 h 370237"/>
              <a:gd name="connsiteX21" fmla="*/ 27030 w 1035068"/>
              <a:gd name="connsiteY21" fmla="*/ 155702 h 370237"/>
              <a:gd name="connsiteX22" fmla="*/ 7723 w 1035068"/>
              <a:gd name="connsiteY22" fmla="*/ 210847 h 370237"/>
              <a:gd name="connsiteX0" fmla="*/ 7723 w 1035068"/>
              <a:gd name="connsiteY0" fmla="*/ 210847 h 370237"/>
              <a:gd name="connsiteX1" fmla="*/ 128053 w 1035068"/>
              <a:gd name="connsiteY1" fmla="*/ 302485 h 370237"/>
              <a:gd name="connsiteX2" fmla="*/ 290487 w 1035068"/>
              <a:gd name="connsiteY2" fmla="*/ 358261 h 370237"/>
              <a:gd name="connsiteX3" fmla="*/ 406693 w 1035068"/>
              <a:gd name="connsiteY3" fmla="*/ 370237 h 370237"/>
              <a:gd name="connsiteX4" fmla="*/ 520323 w 1035068"/>
              <a:gd name="connsiteY4" fmla="*/ 358031 h 370237"/>
              <a:gd name="connsiteX5" fmla="*/ 653017 w 1035068"/>
              <a:gd name="connsiteY5" fmla="*/ 340244 h 370237"/>
              <a:gd name="connsiteX6" fmla="*/ 797651 w 1035068"/>
              <a:gd name="connsiteY6" fmla="*/ 282783 h 370237"/>
              <a:gd name="connsiteX7" fmla="*/ 902952 w 1035068"/>
              <a:gd name="connsiteY7" fmla="*/ 198040 h 370237"/>
              <a:gd name="connsiteX8" fmla="*/ 963691 w 1035068"/>
              <a:gd name="connsiteY8" fmla="*/ 133422 h 370237"/>
              <a:gd name="connsiteX9" fmla="*/ 1030926 w 1035068"/>
              <a:gd name="connsiteY9" fmla="*/ 60628 h 370237"/>
              <a:gd name="connsiteX10" fmla="*/ 1016941 w 1035068"/>
              <a:gd name="connsiteY10" fmla="*/ 0 h 370237"/>
              <a:gd name="connsiteX11" fmla="*/ 964262 w 1035068"/>
              <a:gd name="connsiteY11" fmla="*/ 22087 h 370237"/>
              <a:gd name="connsiteX12" fmla="*/ 988232 w 1035068"/>
              <a:gd name="connsiteY12" fmla="*/ 65365 h 370237"/>
              <a:gd name="connsiteX13" fmla="*/ 952021 w 1035068"/>
              <a:gd name="connsiteY13" fmla="*/ 81956 h 370237"/>
              <a:gd name="connsiteX14" fmla="*/ 855384 w 1035068"/>
              <a:gd name="connsiteY14" fmla="*/ 134110 h 370237"/>
              <a:gd name="connsiteX15" fmla="*/ 727352 w 1035068"/>
              <a:gd name="connsiteY15" fmla="*/ 151143 h 370237"/>
              <a:gd name="connsiteX16" fmla="*/ 581311 w 1035068"/>
              <a:gd name="connsiteY16" fmla="*/ 214257 h 370237"/>
              <a:gd name="connsiteX17" fmla="*/ 459346 w 1035068"/>
              <a:gd name="connsiteY17" fmla="*/ 248194 h 370237"/>
              <a:gd name="connsiteX18" fmla="*/ 313429 w 1035068"/>
              <a:gd name="connsiteY18" fmla="*/ 250098 h 370237"/>
              <a:gd name="connsiteX19" fmla="*/ 233858 w 1035068"/>
              <a:gd name="connsiteY19" fmla="*/ 257429 h 370237"/>
              <a:gd name="connsiteX20" fmla="*/ 107118 w 1035068"/>
              <a:gd name="connsiteY20" fmla="*/ 240581 h 370237"/>
              <a:gd name="connsiteX21" fmla="*/ 27030 w 1035068"/>
              <a:gd name="connsiteY21" fmla="*/ 155702 h 370237"/>
              <a:gd name="connsiteX22" fmla="*/ 7723 w 1035068"/>
              <a:gd name="connsiteY22" fmla="*/ 210847 h 370237"/>
              <a:gd name="connsiteX0" fmla="*/ 7723 w 1033423"/>
              <a:gd name="connsiteY0" fmla="*/ 210847 h 370237"/>
              <a:gd name="connsiteX1" fmla="*/ 128053 w 1033423"/>
              <a:gd name="connsiteY1" fmla="*/ 302485 h 370237"/>
              <a:gd name="connsiteX2" fmla="*/ 290487 w 1033423"/>
              <a:gd name="connsiteY2" fmla="*/ 358261 h 370237"/>
              <a:gd name="connsiteX3" fmla="*/ 406693 w 1033423"/>
              <a:gd name="connsiteY3" fmla="*/ 370237 h 370237"/>
              <a:gd name="connsiteX4" fmla="*/ 520323 w 1033423"/>
              <a:gd name="connsiteY4" fmla="*/ 358031 h 370237"/>
              <a:gd name="connsiteX5" fmla="*/ 653017 w 1033423"/>
              <a:gd name="connsiteY5" fmla="*/ 340244 h 370237"/>
              <a:gd name="connsiteX6" fmla="*/ 797651 w 1033423"/>
              <a:gd name="connsiteY6" fmla="*/ 282783 h 370237"/>
              <a:gd name="connsiteX7" fmla="*/ 902952 w 1033423"/>
              <a:gd name="connsiteY7" fmla="*/ 198040 h 370237"/>
              <a:gd name="connsiteX8" fmla="*/ 985974 w 1033423"/>
              <a:gd name="connsiteY8" fmla="*/ 131282 h 370237"/>
              <a:gd name="connsiteX9" fmla="*/ 1030926 w 1033423"/>
              <a:gd name="connsiteY9" fmla="*/ 60628 h 370237"/>
              <a:gd name="connsiteX10" fmla="*/ 1016941 w 1033423"/>
              <a:gd name="connsiteY10" fmla="*/ 0 h 370237"/>
              <a:gd name="connsiteX11" fmla="*/ 964262 w 1033423"/>
              <a:gd name="connsiteY11" fmla="*/ 22087 h 370237"/>
              <a:gd name="connsiteX12" fmla="*/ 988232 w 1033423"/>
              <a:gd name="connsiteY12" fmla="*/ 65365 h 370237"/>
              <a:gd name="connsiteX13" fmla="*/ 952021 w 1033423"/>
              <a:gd name="connsiteY13" fmla="*/ 81956 h 370237"/>
              <a:gd name="connsiteX14" fmla="*/ 855384 w 1033423"/>
              <a:gd name="connsiteY14" fmla="*/ 134110 h 370237"/>
              <a:gd name="connsiteX15" fmla="*/ 727352 w 1033423"/>
              <a:gd name="connsiteY15" fmla="*/ 151143 h 370237"/>
              <a:gd name="connsiteX16" fmla="*/ 581311 w 1033423"/>
              <a:gd name="connsiteY16" fmla="*/ 214257 h 370237"/>
              <a:gd name="connsiteX17" fmla="*/ 459346 w 1033423"/>
              <a:gd name="connsiteY17" fmla="*/ 248194 h 370237"/>
              <a:gd name="connsiteX18" fmla="*/ 313429 w 1033423"/>
              <a:gd name="connsiteY18" fmla="*/ 250098 h 370237"/>
              <a:gd name="connsiteX19" fmla="*/ 233858 w 1033423"/>
              <a:gd name="connsiteY19" fmla="*/ 257429 h 370237"/>
              <a:gd name="connsiteX20" fmla="*/ 107118 w 1033423"/>
              <a:gd name="connsiteY20" fmla="*/ 240581 h 370237"/>
              <a:gd name="connsiteX21" fmla="*/ 27030 w 1033423"/>
              <a:gd name="connsiteY21" fmla="*/ 155702 h 370237"/>
              <a:gd name="connsiteX22" fmla="*/ 7723 w 1033423"/>
              <a:gd name="connsiteY22" fmla="*/ 210847 h 370237"/>
              <a:gd name="connsiteX0" fmla="*/ 7723 w 1031777"/>
              <a:gd name="connsiteY0" fmla="*/ 198005 h 357395"/>
              <a:gd name="connsiteX1" fmla="*/ 128053 w 1031777"/>
              <a:gd name="connsiteY1" fmla="*/ 289643 h 357395"/>
              <a:gd name="connsiteX2" fmla="*/ 290487 w 1031777"/>
              <a:gd name="connsiteY2" fmla="*/ 345419 h 357395"/>
              <a:gd name="connsiteX3" fmla="*/ 406693 w 1031777"/>
              <a:gd name="connsiteY3" fmla="*/ 357395 h 357395"/>
              <a:gd name="connsiteX4" fmla="*/ 520323 w 1031777"/>
              <a:gd name="connsiteY4" fmla="*/ 345189 h 357395"/>
              <a:gd name="connsiteX5" fmla="*/ 653017 w 1031777"/>
              <a:gd name="connsiteY5" fmla="*/ 327402 h 357395"/>
              <a:gd name="connsiteX6" fmla="*/ 797651 w 1031777"/>
              <a:gd name="connsiteY6" fmla="*/ 269941 h 357395"/>
              <a:gd name="connsiteX7" fmla="*/ 902952 w 1031777"/>
              <a:gd name="connsiteY7" fmla="*/ 185198 h 357395"/>
              <a:gd name="connsiteX8" fmla="*/ 985974 w 1031777"/>
              <a:gd name="connsiteY8" fmla="*/ 118440 h 357395"/>
              <a:gd name="connsiteX9" fmla="*/ 1030926 w 1031777"/>
              <a:gd name="connsiteY9" fmla="*/ 47786 h 357395"/>
              <a:gd name="connsiteX10" fmla="*/ 1008584 w 1031777"/>
              <a:gd name="connsiteY10" fmla="*/ 0 h 357395"/>
              <a:gd name="connsiteX11" fmla="*/ 964262 w 1031777"/>
              <a:gd name="connsiteY11" fmla="*/ 9245 h 357395"/>
              <a:gd name="connsiteX12" fmla="*/ 988232 w 1031777"/>
              <a:gd name="connsiteY12" fmla="*/ 52523 h 357395"/>
              <a:gd name="connsiteX13" fmla="*/ 952021 w 1031777"/>
              <a:gd name="connsiteY13" fmla="*/ 69114 h 357395"/>
              <a:gd name="connsiteX14" fmla="*/ 855384 w 1031777"/>
              <a:gd name="connsiteY14" fmla="*/ 121268 h 357395"/>
              <a:gd name="connsiteX15" fmla="*/ 727352 w 1031777"/>
              <a:gd name="connsiteY15" fmla="*/ 138301 h 357395"/>
              <a:gd name="connsiteX16" fmla="*/ 581311 w 1031777"/>
              <a:gd name="connsiteY16" fmla="*/ 201415 h 357395"/>
              <a:gd name="connsiteX17" fmla="*/ 459346 w 1031777"/>
              <a:gd name="connsiteY17" fmla="*/ 235352 h 357395"/>
              <a:gd name="connsiteX18" fmla="*/ 313429 w 1031777"/>
              <a:gd name="connsiteY18" fmla="*/ 237256 h 357395"/>
              <a:gd name="connsiteX19" fmla="*/ 233858 w 1031777"/>
              <a:gd name="connsiteY19" fmla="*/ 244587 h 357395"/>
              <a:gd name="connsiteX20" fmla="*/ 107118 w 1031777"/>
              <a:gd name="connsiteY20" fmla="*/ 227739 h 357395"/>
              <a:gd name="connsiteX21" fmla="*/ 27030 w 1031777"/>
              <a:gd name="connsiteY21" fmla="*/ 142860 h 357395"/>
              <a:gd name="connsiteX22" fmla="*/ 7723 w 1031777"/>
              <a:gd name="connsiteY22" fmla="*/ 198005 h 357395"/>
              <a:gd name="connsiteX0" fmla="*/ 7723 w 1026738"/>
              <a:gd name="connsiteY0" fmla="*/ 198005 h 357395"/>
              <a:gd name="connsiteX1" fmla="*/ 128053 w 1026738"/>
              <a:gd name="connsiteY1" fmla="*/ 289643 h 357395"/>
              <a:gd name="connsiteX2" fmla="*/ 290487 w 1026738"/>
              <a:gd name="connsiteY2" fmla="*/ 345419 h 357395"/>
              <a:gd name="connsiteX3" fmla="*/ 406693 w 1026738"/>
              <a:gd name="connsiteY3" fmla="*/ 357395 h 357395"/>
              <a:gd name="connsiteX4" fmla="*/ 520323 w 1026738"/>
              <a:gd name="connsiteY4" fmla="*/ 345189 h 357395"/>
              <a:gd name="connsiteX5" fmla="*/ 653017 w 1026738"/>
              <a:gd name="connsiteY5" fmla="*/ 327402 h 357395"/>
              <a:gd name="connsiteX6" fmla="*/ 797651 w 1026738"/>
              <a:gd name="connsiteY6" fmla="*/ 269941 h 357395"/>
              <a:gd name="connsiteX7" fmla="*/ 902952 w 1026738"/>
              <a:gd name="connsiteY7" fmla="*/ 185198 h 357395"/>
              <a:gd name="connsiteX8" fmla="*/ 985974 w 1026738"/>
              <a:gd name="connsiteY8" fmla="*/ 118440 h 357395"/>
              <a:gd name="connsiteX9" fmla="*/ 1025354 w 1026738"/>
              <a:gd name="connsiteY9" fmla="*/ 60629 h 357395"/>
              <a:gd name="connsiteX10" fmla="*/ 1008584 w 1026738"/>
              <a:gd name="connsiteY10" fmla="*/ 0 h 357395"/>
              <a:gd name="connsiteX11" fmla="*/ 964262 w 1026738"/>
              <a:gd name="connsiteY11" fmla="*/ 9245 h 357395"/>
              <a:gd name="connsiteX12" fmla="*/ 988232 w 1026738"/>
              <a:gd name="connsiteY12" fmla="*/ 52523 h 357395"/>
              <a:gd name="connsiteX13" fmla="*/ 952021 w 1026738"/>
              <a:gd name="connsiteY13" fmla="*/ 69114 h 357395"/>
              <a:gd name="connsiteX14" fmla="*/ 855384 w 1026738"/>
              <a:gd name="connsiteY14" fmla="*/ 121268 h 357395"/>
              <a:gd name="connsiteX15" fmla="*/ 727352 w 1026738"/>
              <a:gd name="connsiteY15" fmla="*/ 138301 h 357395"/>
              <a:gd name="connsiteX16" fmla="*/ 581311 w 1026738"/>
              <a:gd name="connsiteY16" fmla="*/ 201415 h 357395"/>
              <a:gd name="connsiteX17" fmla="*/ 459346 w 1026738"/>
              <a:gd name="connsiteY17" fmla="*/ 235352 h 357395"/>
              <a:gd name="connsiteX18" fmla="*/ 313429 w 1026738"/>
              <a:gd name="connsiteY18" fmla="*/ 237256 h 357395"/>
              <a:gd name="connsiteX19" fmla="*/ 233858 w 1026738"/>
              <a:gd name="connsiteY19" fmla="*/ 244587 h 357395"/>
              <a:gd name="connsiteX20" fmla="*/ 107118 w 1026738"/>
              <a:gd name="connsiteY20" fmla="*/ 227739 h 357395"/>
              <a:gd name="connsiteX21" fmla="*/ 27030 w 1026738"/>
              <a:gd name="connsiteY21" fmla="*/ 142860 h 357395"/>
              <a:gd name="connsiteX22" fmla="*/ 7723 w 1026738"/>
              <a:gd name="connsiteY22" fmla="*/ 198005 h 357395"/>
              <a:gd name="connsiteX0" fmla="*/ 7723 w 1026738"/>
              <a:gd name="connsiteY0" fmla="*/ 198005 h 357395"/>
              <a:gd name="connsiteX1" fmla="*/ 128053 w 1026738"/>
              <a:gd name="connsiteY1" fmla="*/ 289643 h 357395"/>
              <a:gd name="connsiteX2" fmla="*/ 290487 w 1026738"/>
              <a:gd name="connsiteY2" fmla="*/ 345419 h 357395"/>
              <a:gd name="connsiteX3" fmla="*/ 406693 w 1026738"/>
              <a:gd name="connsiteY3" fmla="*/ 357395 h 357395"/>
              <a:gd name="connsiteX4" fmla="*/ 520323 w 1026738"/>
              <a:gd name="connsiteY4" fmla="*/ 345189 h 357395"/>
              <a:gd name="connsiteX5" fmla="*/ 653017 w 1026738"/>
              <a:gd name="connsiteY5" fmla="*/ 327402 h 357395"/>
              <a:gd name="connsiteX6" fmla="*/ 797651 w 1026738"/>
              <a:gd name="connsiteY6" fmla="*/ 269941 h 357395"/>
              <a:gd name="connsiteX7" fmla="*/ 902952 w 1026738"/>
              <a:gd name="connsiteY7" fmla="*/ 185198 h 357395"/>
              <a:gd name="connsiteX8" fmla="*/ 985974 w 1026738"/>
              <a:gd name="connsiteY8" fmla="*/ 118440 h 357395"/>
              <a:gd name="connsiteX9" fmla="*/ 1025354 w 1026738"/>
              <a:gd name="connsiteY9" fmla="*/ 60629 h 357395"/>
              <a:gd name="connsiteX10" fmla="*/ 1008584 w 1026738"/>
              <a:gd name="connsiteY10" fmla="*/ 0 h 357395"/>
              <a:gd name="connsiteX11" fmla="*/ 964262 w 1026738"/>
              <a:gd name="connsiteY11" fmla="*/ 9245 h 357395"/>
              <a:gd name="connsiteX12" fmla="*/ 974306 w 1026738"/>
              <a:gd name="connsiteY12" fmla="*/ 52523 h 357395"/>
              <a:gd name="connsiteX13" fmla="*/ 952021 w 1026738"/>
              <a:gd name="connsiteY13" fmla="*/ 69114 h 357395"/>
              <a:gd name="connsiteX14" fmla="*/ 855384 w 1026738"/>
              <a:gd name="connsiteY14" fmla="*/ 121268 h 357395"/>
              <a:gd name="connsiteX15" fmla="*/ 727352 w 1026738"/>
              <a:gd name="connsiteY15" fmla="*/ 138301 h 357395"/>
              <a:gd name="connsiteX16" fmla="*/ 581311 w 1026738"/>
              <a:gd name="connsiteY16" fmla="*/ 201415 h 357395"/>
              <a:gd name="connsiteX17" fmla="*/ 459346 w 1026738"/>
              <a:gd name="connsiteY17" fmla="*/ 235352 h 357395"/>
              <a:gd name="connsiteX18" fmla="*/ 313429 w 1026738"/>
              <a:gd name="connsiteY18" fmla="*/ 237256 h 357395"/>
              <a:gd name="connsiteX19" fmla="*/ 233858 w 1026738"/>
              <a:gd name="connsiteY19" fmla="*/ 244587 h 357395"/>
              <a:gd name="connsiteX20" fmla="*/ 107118 w 1026738"/>
              <a:gd name="connsiteY20" fmla="*/ 227739 h 357395"/>
              <a:gd name="connsiteX21" fmla="*/ 27030 w 1026738"/>
              <a:gd name="connsiteY21" fmla="*/ 142860 h 357395"/>
              <a:gd name="connsiteX22" fmla="*/ 7723 w 1026738"/>
              <a:gd name="connsiteY22" fmla="*/ 198005 h 35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026738" h="357395">
                <a:moveTo>
                  <a:pt x="7723" y="198005"/>
                </a:moveTo>
                <a:cubicBezTo>
                  <a:pt x="24560" y="222469"/>
                  <a:pt x="80926" y="265074"/>
                  <a:pt x="128053" y="289643"/>
                </a:cubicBezTo>
                <a:cubicBezTo>
                  <a:pt x="175180" y="314212"/>
                  <a:pt x="244047" y="334127"/>
                  <a:pt x="290487" y="345419"/>
                </a:cubicBezTo>
                <a:cubicBezTo>
                  <a:pt x="336927" y="356711"/>
                  <a:pt x="365401" y="357086"/>
                  <a:pt x="406693" y="357395"/>
                </a:cubicBezTo>
                <a:cubicBezTo>
                  <a:pt x="409729" y="356913"/>
                  <a:pt x="479269" y="350188"/>
                  <a:pt x="520323" y="345189"/>
                </a:cubicBezTo>
                <a:cubicBezTo>
                  <a:pt x="561377" y="340190"/>
                  <a:pt x="606796" y="339943"/>
                  <a:pt x="653017" y="327402"/>
                </a:cubicBezTo>
                <a:cubicBezTo>
                  <a:pt x="699238" y="314861"/>
                  <a:pt x="750587" y="290671"/>
                  <a:pt x="797651" y="269941"/>
                </a:cubicBezTo>
                <a:lnTo>
                  <a:pt x="902952" y="185198"/>
                </a:lnTo>
                <a:cubicBezTo>
                  <a:pt x="938591" y="158882"/>
                  <a:pt x="965574" y="139201"/>
                  <a:pt x="985974" y="118440"/>
                </a:cubicBezTo>
                <a:cubicBezTo>
                  <a:pt x="1006374" y="97679"/>
                  <a:pt x="1021586" y="80369"/>
                  <a:pt x="1025354" y="60629"/>
                </a:cubicBezTo>
                <a:cubicBezTo>
                  <a:pt x="1029122" y="40889"/>
                  <a:pt x="1025730" y="2687"/>
                  <a:pt x="1008584" y="0"/>
                </a:cubicBezTo>
                <a:lnTo>
                  <a:pt x="964262" y="9245"/>
                </a:lnTo>
                <a:lnTo>
                  <a:pt x="974306" y="52523"/>
                </a:lnTo>
                <a:lnTo>
                  <a:pt x="952021" y="69114"/>
                </a:lnTo>
                <a:lnTo>
                  <a:pt x="855384" y="121268"/>
                </a:lnTo>
                <a:lnTo>
                  <a:pt x="727352" y="138301"/>
                </a:lnTo>
                <a:lnTo>
                  <a:pt x="581311" y="201415"/>
                </a:lnTo>
                <a:cubicBezTo>
                  <a:pt x="523664" y="200214"/>
                  <a:pt x="516993" y="236553"/>
                  <a:pt x="459346" y="235352"/>
                </a:cubicBezTo>
                <a:lnTo>
                  <a:pt x="313429" y="237256"/>
                </a:lnTo>
                <a:lnTo>
                  <a:pt x="233858" y="244587"/>
                </a:lnTo>
                <a:lnTo>
                  <a:pt x="107118" y="227739"/>
                </a:lnTo>
                <a:lnTo>
                  <a:pt x="27030" y="142860"/>
                </a:lnTo>
                <a:cubicBezTo>
                  <a:pt x="3501" y="132197"/>
                  <a:pt x="-9114" y="173541"/>
                  <a:pt x="7723" y="198005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69DFF09-BF2B-4FD2-9612-4D911DDE6553}"/>
              </a:ext>
            </a:extLst>
          </p:cNvPr>
          <p:cNvSpPr/>
          <p:nvPr/>
        </p:nvSpPr>
        <p:spPr bwMode="auto">
          <a:xfrm rot="762993">
            <a:off x="4671028" y="5211310"/>
            <a:ext cx="771416" cy="266738"/>
          </a:xfrm>
          <a:custGeom>
            <a:avLst/>
            <a:gdLst>
              <a:gd name="connsiteX0" fmla="*/ 11907 w 990600"/>
              <a:gd name="connsiteY0" fmla="*/ 140494 h 292894"/>
              <a:gd name="connsiteX1" fmla="*/ 138113 w 990600"/>
              <a:gd name="connsiteY1" fmla="*/ 157163 h 292894"/>
              <a:gd name="connsiteX2" fmla="*/ 311944 w 990600"/>
              <a:gd name="connsiteY2" fmla="*/ 145256 h 292894"/>
              <a:gd name="connsiteX3" fmla="*/ 535782 w 990600"/>
              <a:gd name="connsiteY3" fmla="*/ 114300 h 292894"/>
              <a:gd name="connsiteX4" fmla="*/ 707232 w 990600"/>
              <a:gd name="connsiteY4" fmla="*/ 83344 h 292894"/>
              <a:gd name="connsiteX5" fmla="*/ 957263 w 990600"/>
              <a:gd name="connsiteY5" fmla="*/ 0 h 292894"/>
              <a:gd name="connsiteX6" fmla="*/ 990600 w 990600"/>
              <a:gd name="connsiteY6" fmla="*/ 73819 h 292894"/>
              <a:gd name="connsiteX7" fmla="*/ 902494 w 990600"/>
              <a:gd name="connsiteY7" fmla="*/ 135731 h 292894"/>
              <a:gd name="connsiteX8" fmla="*/ 750094 w 990600"/>
              <a:gd name="connsiteY8" fmla="*/ 214313 h 292894"/>
              <a:gd name="connsiteX9" fmla="*/ 611982 w 990600"/>
              <a:gd name="connsiteY9" fmla="*/ 264319 h 292894"/>
              <a:gd name="connsiteX10" fmla="*/ 469107 w 990600"/>
              <a:gd name="connsiteY10" fmla="*/ 280988 h 292894"/>
              <a:gd name="connsiteX11" fmla="*/ 319088 w 990600"/>
              <a:gd name="connsiteY11" fmla="*/ 292894 h 292894"/>
              <a:gd name="connsiteX12" fmla="*/ 159544 w 990600"/>
              <a:gd name="connsiteY12" fmla="*/ 264319 h 292894"/>
              <a:gd name="connsiteX13" fmla="*/ 0 w 990600"/>
              <a:gd name="connsiteY13" fmla="*/ 219075 h 292894"/>
              <a:gd name="connsiteX14" fmla="*/ 11907 w 990600"/>
              <a:gd name="connsiteY14" fmla="*/ 140494 h 292894"/>
              <a:gd name="connsiteX0" fmla="*/ 0 w 978693"/>
              <a:gd name="connsiteY0" fmla="*/ 140494 h 292894"/>
              <a:gd name="connsiteX1" fmla="*/ 126206 w 978693"/>
              <a:gd name="connsiteY1" fmla="*/ 157163 h 292894"/>
              <a:gd name="connsiteX2" fmla="*/ 300037 w 978693"/>
              <a:gd name="connsiteY2" fmla="*/ 145256 h 292894"/>
              <a:gd name="connsiteX3" fmla="*/ 523875 w 978693"/>
              <a:gd name="connsiteY3" fmla="*/ 114300 h 292894"/>
              <a:gd name="connsiteX4" fmla="*/ 695325 w 978693"/>
              <a:gd name="connsiteY4" fmla="*/ 83344 h 292894"/>
              <a:gd name="connsiteX5" fmla="*/ 945356 w 978693"/>
              <a:gd name="connsiteY5" fmla="*/ 0 h 292894"/>
              <a:gd name="connsiteX6" fmla="*/ 978693 w 978693"/>
              <a:gd name="connsiteY6" fmla="*/ 73819 h 292894"/>
              <a:gd name="connsiteX7" fmla="*/ 890587 w 978693"/>
              <a:gd name="connsiteY7" fmla="*/ 135731 h 292894"/>
              <a:gd name="connsiteX8" fmla="*/ 738187 w 978693"/>
              <a:gd name="connsiteY8" fmla="*/ 214313 h 292894"/>
              <a:gd name="connsiteX9" fmla="*/ 600075 w 978693"/>
              <a:gd name="connsiteY9" fmla="*/ 264319 h 292894"/>
              <a:gd name="connsiteX10" fmla="*/ 457200 w 978693"/>
              <a:gd name="connsiteY10" fmla="*/ 280988 h 292894"/>
              <a:gd name="connsiteX11" fmla="*/ 307181 w 978693"/>
              <a:gd name="connsiteY11" fmla="*/ 292894 h 292894"/>
              <a:gd name="connsiteX12" fmla="*/ 147637 w 978693"/>
              <a:gd name="connsiteY12" fmla="*/ 264319 h 292894"/>
              <a:gd name="connsiteX13" fmla="*/ 3832 w 978693"/>
              <a:gd name="connsiteY13" fmla="*/ 217976 h 292894"/>
              <a:gd name="connsiteX14" fmla="*/ 0 w 978693"/>
              <a:gd name="connsiteY14" fmla="*/ 140494 h 292894"/>
              <a:gd name="connsiteX0" fmla="*/ 0 w 978693"/>
              <a:gd name="connsiteY0" fmla="*/ 140494 h 292894"/>
              <a:gd name="connsiteX1" fmla="*/ 126206 w 978693"/>
              <a:gd name="connsiteY1" fmla="*/ 157163 h 292894"/>
              <a:gd name="connsiteX2" fmla="*/ 300037 w 978693"/>
              <a:gd name="connsiteY2" fmla="*/ 145256 h 292894"/>
              <a:gd name="connsiteX3" fmla="*/ 523875 w 978693"/>
              <a:gd name="connsiteY3" fmla="*/ 114300 h 292894"/>
              <a:gd name="connsiteX4" fmla="*/ 695325 w 978693"/>
              <a:gd name="connsiteY4" fmla="*/ 83344 h 292894"/>
              <a:gd name="connsiteX5" fmla="*/ 945356 w 978693"/>
              <a:gd name="connsiteY5" fmla="*/ 0 h 292894"/>
              <a:gd name="connsiteX6" fmla="*/ 978693 w 978693"/>
              <a:gd name="connsiteY6" fmla="*/ 73819 h 292894"/>
              <a:gd name="connsiteX7" fmla="*/ 890587 w 978693"/>
              <a:gd name="connsiteY7" fmla="*/ 135731 h 292894"/>
              <a:gd name="connsiteX8" fmla="*/ 738187 w 978693"/>
              <a:gd name="connsiteY8" fmla="*/ 214313 h 292894"/>
              <a:gd name="connsiteX9" fmla="*/ 600075 w 978693"/>
              <a:gd name="connsiteY9" fmla="*/ 264319 h 292894"/>
              <a:gd name="connsiteX10" fmla="*/ 457200 w 978693"/>
              <a:gd name="connsiteY10" fmla="*/ 280988 h 292894"/>
              <a:gd name="connsiteX11" fmla="*/ 307181 w 978693"/>
              <a:gd name="connsiteY11" fmla="*/ 292894 h 292894"/>
              <a:gd name="connsiteX12" fmla="*/ 120452 w 978693"/>
              <a:gd name="connsiteY12" fmla="*/ 259921 h 292894"/>
              <a:gd name="connsiteX13" fmla="*/ 3832 w 978693"/>
              <a:gd name="connsiteY13" fmla="*/ 217976 h 292894"/>
              <a:gd name="connsiteX14" fmla="*/ 0 w 978693"/>
              <a:gd name="connsiteY14" fmla="*/ 140494 h 292894"/>
              <a:gd name="connsiteX0" fmla="*/ 0 w 978693"/>
              <a:gd name="connsiteY0" fmla="*/ 140494 h 293591"/>
              <a:gd name="connsiteX1" fmla="*/ 126206 w 978693"/>
              <a:gd name="connsiteY1" fmla="*/ 157163 h 293591"/>
              <a:gd name="connsiteX2" fmla="*/ 300037 w 978693"/>
              <a:gd name="connsiteY2" fmla="*/ 145256 h 293591"/>
              <a:gd name="connsiteX3" fmla="*/ 523875 w 978693"/>
              <a:gd name="connsiteY3" fmla="*/ 114300 h 293591"/>
              <a:gd name="connsiteX4" fmla="*/ 695325 w 978693"/>
              <a:gd name="connsiteY4" fmla="*/ 83344 h 293591"/>
              <a:gd name="connsiteX5" fmla="*/ 945356 w 978693"/>
              <a:gd name="connsiteY5" fmla="*/ 0 h 293591"/>
              <a:gd name="connsiteX6" fmla="*/ 978693 w 978693"/>
              <a:gd name="connsiteY6" fmla="*/ 73819 h 293591"/>
              <a:gd name="connsiteX7" fmla="*/ 890587 w 978693"/>
              <a:gd name="connsiteY7" fmla="*/ 135731 h 293591"/>
              <a:gd name="connsiteX8" fmla="*/ 738187 w 978693"/>
              <a:gd name="connsiteY8" fmla="*/ 214313 h 293591"/>
              <a:gd name="connsiteX9" fmla="*/ 600075 w 978693"/>
              <a:gd name="connsiteY9" fmla="*/ 264319 h 293591"/>
              <a:gd name="connsiteX10" fmla="*/ 457200 w 978693"/>
              <a:gd name="connsiteY10" fmla="*/ 280988 h 293591"/>
              <a:gd name="connsiteX11" fmla="*/ 307181 w 978693"/>
              <a:gd name="connsiteY11" fmla="*/ 292894 h 293591"/>
              <a:gd name="connsiteX12" fmla="*/ 120452 w 978693"/>
              <a:gd name="connsiteY12" fmla="*/ 259921 h 293591"/>
              <a:gd name="connsiteX13" fmla="*/ 3832 w 978693"/>
              <a:gd name="connsiteY13" fmla="*/ 217976 h 293591"/>
              <a:gd name="connsiteX14" fmla="*/ 0 w 978693"/>
              <a:gd name="connsiteY14" fmla="*/ 140494 h 293591"/>
              <a:gd name="connsiteX0" fmla="*/ 0 w 978693"/>
              <a:gd name="connsiteY0" fmla="*/ 140494 h 293591"/>
              <a:gd name="connsiteX1" fmla="*/ 126206 w 978693"/>
              <a:gd name="connsiteY1" fmla="*/ 157163 h 293591"/>
              <a:gd name="connsiteX2" fmla="*/ 300037 w 978693"/>
              <a:gd name="connsiteY2" fmla="*/ 145256 h 293591"/>
              <a:gd name="connsiteX3" fmla="*/ 523875 w 978693"/>
              <a:gd name="connsiteY3" fmla="*/ 114300 h 293591"/>
              <a:gd name="connsiteX4" fmla="*/ 695325 w 978693"/>
              <a:gd name="connsiteY4" fmla="*/ 83344 h 293591"/>
              <a:gd name="connsiteX5" fmla="*/ 945356 w 978693"/>
              <a:gd name="connsiteY5" fmla="*/ 0 h 293591"/>
              <a:gd name="connsiteX6" fmla="*/ 978693 w 978693"/>
              <a:gd name="connsiteY6" fmla="*/ 73819 h 293591"/>
              <a:gd name="connsiteX7" fmla="*/ 890587 w 978693"/>
              <a:gd name="connsiteY7" fmla="*/ 135731 h 293591"/>
              <a:gd name="connsiteX8" fmla="*/ 738187 w 978693"/>
              <a:gd name="connsiteY8" fmla="*/ 214313 h 293591"/>
              <a:gd name="connsiteX9" fmla="*/ 600075 w 978693"/>
              <a:gd name="connsiteY9" fmla="*/ 264319 h 293591"/>
              <a:gd name="connsiteX10" fmla="*/ 457200 w 978693"/>
              <a:gd name="connsiteY10" fmla="*/ 280988 h 293591"/>
              <a:gd name="connsiteX11" fmla="*/ 307181 w 978693"/>
              <a:gd name="connsiteY11" fmla="*/ 292894 h 293591"/>
              <a:gd name="connsiteX12" fmla="*/ 120452 w 978693"/>
              <a:gd name="connsiteY12" fmla="*/ 259921 h 293591"/>
              <a:gd name="connsiteX13" fmla="*/ 3832 w 978693"/>
              <a:gd name="connsiteY13" fmla="*/ 217976 h 293591"/>
              <a:gd name="connsiteX14" fmla="*/ 0 w 978693"/>
              <a:gd name="connsiteY14" fmla="*/ 140494 h 293591"/>
              <a:gd name="connsiteX0" fmla="*/ 0 w 978693"/>
              <a:gd name="connsiteY0" fmla="*/ 140494 h 293591"/>
              <a:gd name="connsiteX1" fmla="*/ 126206 w 978693"/>
              <a:gd name="connsiteY1" fmla="*/ 157163 h 293591"/>
              <a:gd name="connsiteX2" fmla="*/ 300037 w 978693"/>
              <a:gd name="connsiteY2" fmla="*/ 145256 h 293591"/>
              <a:gd name="connsiteX3" fmla="*/ 523875 w 978693"/>
              <a:gd name="connsiteY3" fmla="*/ 114300 h 293591"/>
              <a:gd name="connsiteX4" fmla="*/ 695325 w 978693"/>
              <a:gd name="connsiteY4" fmla="*/ 83344 h 293591"/>
              <a:gd name="connsiteX5" fmla="*/ 945356 w 978693"/>
              <a:gd name="connsiteY5" fmla="*/ 0 h 293591"/>
              <a:gd name="connsiteX6" fmla="*/ 978693 w 978693"/>
              <a:gd name="connsiteY6" fmla="*/ 73819 h 293591"/>
              <a:gd name="connsiteX7" fmla="*/ 890587 w 978693"/>
              <a:gd name="connsiteY7" fmla="*/ 135731 h 293591"/>
              <a:gd name="connsiteX8" fmla="*/ 738187 w 978693"/>
              <a:gd name="connsiteY8" fmla="*/ 214313 h 293591"/>
              <a:gd name="connsiteX9" fmla="*/ 600075 w 978693"/>
              <a:gd name="connsiteY9" fmla="*/ 264319 h 293591"/>
              <a:gd name="connsiteX10" fmla="*/ 457200 w 978693"/>
              <a:gd name="connsiteY10" fmla="*/ 280988 h 293591"/>
              <a:gd name="connsiteX11" fmla="*/ 307181 w 978693"/>
              <a:gd name="connsiteY11" fmla="*/ 292894 h 293591"/>
              <a:gd name="connsiteX12" fmla="*/ 120452 w 978693"/>
              <a:gd name="connsiteY12" fmla="*/ 259921 h 293591"/>
              <a:gd name="connsiteX13" fmla="*/ 3832 w 978693"/>
              <a:gd name="connsiteY13" fmla="*/ 217976 h 293591"/>
              <a:gd name="connsiteX14" fmla="*/ 0 w 978693"/>
              <a:gd name="connsiteY14" fmla="*/ 140494 h 293591"/>
              <a:gd name="connsiteX0" fmla="*/ 0 w 978693"/>
              <a:gd name="connsiteY0" fmla="*/ 140494 h 293628"/>
              <a:gd name="connsiteX1" fmla="*/ 126206 w 978693"/>
              <a:gd name="connsiteY1" fmla="*/ 157163 h 293628"/>
              <a:gd name="connsiteX2" fmla="*/ 300037 w 978693"/>
              <a:gd name="connsiteY2" fmla="*/ 145256 h 293628"/>
              <a:gd name="connsiteX3" fmla="*/ 523875 w 978693"/>
              <a:gd name="connsiteY3" fmla="*/ 114300 h 293628"/>
              <a:gd name="connsiteX4" fmla="*/ 695325 w 978693"/>
              <a:gd name="connsiteY4" fmla="*/ 83344 h 293628"/>
              <a:gd name="connsiteX5" fmla="*/ 945356 w 978693"/>
              <a:gd name="connsiteY5" fmla="*/ 0 h 293628"/>
              <a:gd name="connsiteX6" fmla="*/ 978693 w 978693"/>
              <a:gd name="connsiteY6" fmla="*/ 73819 h 293628"/>
              <a:gd name="connsiteX7" fmla="*/ 890587 w 978693"/>
              <a:gd name="connsiteY7" fmla="*/ 135731 h 293628"/>
              <a:gd name="connsiteX8" fmla="*/ 738187 w 978693"/>
              <a:gd name="connsiteY8" fmla="*/ 214313 h 293628"/>
              <a:gd name="connsiteX9" fmla="*/ 598644 w 978693"/>
              <a:gd name="connsiteY9" fmla="*/ 259921 h 293628"/>
              <a:gd name="connsiteX10" fmla="*/ 457200 w 978693"/>
              <a:gd name="connsiteY10" fmla="*/ 280988 h 293628"/>
              <a:gd name="connsiteX11" fmla="*/ 307181 w 978693"/>
              <a:gd name="connsiteY11" fmla="*/ 292894 h 293628"/>
              <a:gd name="connsiteX12" fmla="*/ 120452 w 978693"/>
              <a:gd name="connsiteY12" fmla="*/ 259921 h 293628"/>
              <a:gd name="connsiteX13" fmla="*/ 3832 w 978693"/>
              <a:gd name="connsiteY13" fmla="*/ 217976 h 293628"/>
              <a:gd name="connsiteX14" fmla="*/ 0 w 978693"/>
              <a:gd name="connsiteY14" fmla="*/ 140494 h 293628"/>
              <a:gd name="connsiteX0" fmla="*/ 0 w 978693"/>
              <a:gd name="connsiteY0" fmla="*/ 140494 h 293628"/>
              <a:gd name="connsiteX1" fmla="*/ 126206 w 978693"/>
              <a:gd name="connsiteY1" fmla="*/ 157163 h 293628"/>
              <a:gd name="connsiteX2" fmla="*/ 300037 w 978693"/>
              <a:gd name="connsiteY2" fmla="*/ 145256 h 293628"/>
              <a:gd name="connsiteX3" fmla="*/ 523875 w 978693"/>
              <a:gd name="connsiteY3" fmla="*/ 114300 h 293628"/>
              <a:gd name="connsiteX4" fmla="*/ 695325 w 978693"/>
              <a:gd name="connsiteY4" fmla="*/ 83344 h 293628"/>
              <a:gd name="connsiteX5" fmla="*/ 945356 w 978693"/>
              <a:gd name="connsiteY5" fmla="*/ 0 h 293628"/>
              <a:gd name="connsiteX6" fmla="*/ 978693 w 978693"/>
              <a:gd name="connsiteY6" fmla="*/ 73819 h 293628"/>
              <a:gd name="connsiteX7" fmla="*/ 890587 w 978693"/>
              <a:gd name="connsiteY7" fmla="*/ 135731 h 293628"/>
              <a:gd name="connsiteX8" fmla="*/ 738187 w 978693"/>
              <a:gd name="connsiteY8" fmla="*/ 214313 h 293628"/>
              <a:gd name="connsiteX9" fmla="*/ 598644 w 978693"/>
              <a:gd name="connsiteY9" fmla="*/ 259921 h 293628"/>
              <a:gd name="connsiteX10" fmla="*/ 457200 w 978693"/>
              <a:gd name="connsiteY10" fmla="*/ 280988 h 293628"/>
              <a:gd name="connsiteX11" fmla="*/ 307181 w 978693"/>
              <a:gd name="connsiteY11" fmla="*/ 292894 h 293628"/>
              <a:gd name="connsiteX12" fmla="*/ 120452 w 978693"/>
              <a:gd name="connsiteY12" fmla="*/ 259921 h 293628"/>
              <a:gd name="connsiteX13" fmla="*/ 3832 w 978693"/>
              <a:gd name="connsiteY13" fmla="*/ 217976 h 293628"/>
              <a:gd name="connsiteX14" fmla="*/ 0 w 978693"/>
              <a:gd name="connsiteY14" fmla="*/ 140494 h 293628"/>
              <a:gd name="connsiteX0" fmla="*/ 0 w 978693"/>
              <a:gd name="connsiteY0" fmla="*/ 140494 h 293628"/>
              <a:gd name="connsiteX1" fmla="*/ 126206 w 978693"/>
              <a:gd name="connsiteY1" fmla="*/ 157163 h 293628"/>
              <a:gd name="connsiteX2" fmla="*/ 300037 w 978693"/>
              <a:gd name="connsiteY2" fmla="*/ 145256 h 293628"/>
              <a:gd name="connsiteX3" fmla="*/ 523875 w 978693"/>
              <a:gd name="connsiteY3" fmla="*/ 114300 h 293628"/>
              <a:gd name="connsiteX4" fmla="*/ 695325 w 978693"/>
              <a:gd name="connsiteY4" fmla="*/ 83344 h 293628"/>
              <a:gd name="connsiteX5" fmla="*/ 945356 w 978693"/>
              <a:gd name="connsiteY5" fmla="*/ 0 h 293628"/>
              <a:gd name="connsiteX6" fmla="*/ 978693 w 978693"/>
              <a:gd name="connsiteY6" fmla="*/ 73819 h 293628"/>
              <a:gd name="connsiteX7" fmla="*/ 890587 w 978693"/>
              <a:gd name="connsiteY7" fmla="*/ 135731 h 293628"/>
              <a:gd name="connsiteX8" fmla="*/ 735326 w 978693"/>
              <a:gd name="connsiteY8" fmla="*/ 208815 h 293628"/>
              <a:gd name="connsiteX9" fmla="*/ 598644 w 978693"/>
              <a:gd name="connsiteY9" fmla="*/ 259921 h 293628"/>
              <a:gd name="connsiteX10" fmla="*/ 457200 w 978693"/>
              <a:gd name="connsiteY10" fmla="*/ 280988 h 293628"/>
              <a:gd name="connsiteX11" fmla="*/ 307181 w 978693"/>
              <a:gd name="connsiteY11" fmla="*/ 292894 h 293628"/>
              <a:gd name="connsiteX12" fmla="*/ 120452 w 978693"/>
              <a:gd name="connsiteY12" fmla="*/ 259921 h 293628"/>
              <a:gd name="connsiteX13" fmla="*/ 3832 w 978693"/>
              <a:gd name="connsiteY13" fmla="*/ 217976 h 293628"/>
              <a:gd name="connsiteX14" fmla="*/ 0 w 978693"/>
              <a:gd name="connsiteY14" fmla="*/ 140494 h 293628"/>
              <a:gd name="connsiteX0" fmla="*/ 0 w 978693"/>
              <a:gd name="connsiteY0" fmla="*/ 140494 h 293680"/>
              <a:gd name="connsiteX1" fmla="*/ 126206 w 978693"/>
              <a:gd name="connsiteY1" fmla="*/ 157163 h 293680"/>
              <a:gd name="connsiteX2" fmla="*/ 300037 w 978693"/>
              <a:gd name="connsiteY2" fmla="*/ 145256 h 293680"/>
              <a:gd name="connsiteX3" fmla="*/ 523875 w 978693"/>
              <a:gd name="connsiteY3" fmla="*/ 114300 h 293680"/>
              <a:gd name="connsiteX4" fmla="*/ 695325 w 978693"/>
              <a:gd name="connsiteY4" fmla="*/ 83344 h 293680"/>
              <a:gd name="connsiteX5" fmla="*/ 945356 w 978693"/>
              <a:gd name="connsiteY5" fmla="*/ 0 h 293680"/>
              <a:gd name="connsiteX6" fmla="*/ 978693 w 978693"/>
              <a:gd name="connsiteY6" fmla="*/ 73819 h 293680"/>
              <a:gd name="connsiteX7" fmla="*/ 890587 w 978693"/>
              <a:gd name="connsiteY7" fmla="*/ 135731 h 293680"/>
              <a:gd name="connsiteX8" fmla="*/ 735326 w 978693"/>
              <a:gd name="connsiteY8" fmla="*/ 208815 h 293680"/>
              <a:gd name="connsiteX9" fmla="*/ 602936 w 978693"/>
              <a:gd name="connsiteY9" fmla="*/ 254424 h 293680"/>
              <a:gd name="connsiteX10" fmla="*/ 457200 w 978693"/>
              <a:gd name="connsiteY10" fmla="*/ 280988 h 293680"/>
              <a:gd name="connsiteX11" fmla="*/ 307181 w 978693"/>
              <a:gd name="connsiteY11" fmla="*/ 292894 h 293680"/>
              <a:gd name="connsiteX12" fmla="*/ 120452 w 978693"/>
              <a:gd name="connsiteY12" fmla="*/ 259921 h 293680"/>
              <a:gd name="connsiteX13" fmla="*/ 3832 w 978693"/>
              <a:gd name="connsiteY13" fmla="*/ 217976 h 293680"/>
              <a:gd name="connsiteX14" fmla="*/ 0 w 978693"/>
              <a:gd name="connsiteY14" fmla="*/ 140494 h 293680"/>
              <a:gd name="connsiteX0" fmla="*/ 0 w 978693"/>
              <a:gd name="connsiteY0" fmla="*/ 140494 h 293364"/>
              <a:gd name="connsiteX1" fmla="*/ 126206 w 978693"/>
              <a:gd name="connsiteY1" fmla="*/ 157163 h 293364"/>
              <a:gd name="connsiteX2" fmla="*/ 300037 w 978693"/>
              <a:gd name="connsiteY2" fmla="*/ 145256 h 293364"/>
              <a:gd name="connsiteX3" fmla="*/ 523875 w 978693"/>
              <a:gd name="connsiteY3" fmla="*/ 114300 h 293364"/>
              <a:gd name="connsiteX4" fmla="*/ 695325 w 978693"/>
              <a:gd name="connsiteY4" fmla="*/ 83344 h 293364"/>
              <a:gd name="connsiteX5" fmla="*/ 945356 w 978693"/>
              <a:gd name="connsiteY5" fmla="*/ 0 h 293364"/>
              <a:gd name="connsiteX6" fmla="*/ 978693 w 978693"/>
              <a:gd name="connsiteY6" fmla="*/ 73819 h 293364"/>
              <a:gd name="connsiteX7" fmla="*/ 890587 w 978693"/>
              <a:gd name="connsiteY7" fmla="*/ 135731 h 293364"/>
              <a:gd name="connsiteX8" fmla="*/ 735326 w 978693"/>
              <a:gd name="connsiteY8" fmla="*/ 208815 h 293364"/>
              <a:gd name="connsiteX9" fmla="*/ 602936 w 978693"/>
              <a:gd name="connsiteY9" fmla="*/ 254424 h 293364"/>
              <a:gd name="connsiteX10" fmla="*/ 452907 w 978693"/>
              <a:gd name="connsiteY10" fmla="*/ 277690 h 293364"/>
              <a:gd name="connsiteX11" fmla="*/ 307181 w 978693"/>
              <a:gd name="connsiteY11" fmla="*/ 292894 h 293364"/>
              <a:gd name="connsiteX12" fmla="*/ 120452 w 978693"/>
              <a:gd name="connsiteY12" fmla="*/ 259921 h 293364"/>
              <a:gd name="connsiteX13" fmla="*/ 3832 w 978693"/>
              <a:gd name="connsiteY13" fmla="*/ 217976 h 293364"/>
              <a:gd name="connsiteX14" fmla="*/ 0 w 978693"/>
              <a:gd name="connsiteY14" fmla="*/ 140494 h 293364"/>
              <a:gd name="connsiteX0" fmla="*/ 0 w 978693"/>
              <a:gd name="connsiteY0" fmla="*/ 140494 h 289128"/>
              <a:gd name="connsiteX1" fmla="*/ 126206 w 978693"/>
              <a:gd name="connsiteY1" fmla="*/ 157163 h 289128"/>
              <a:gd name="connsiteX2" fmla="*/ 300037 w 978693"/>
              <a:gd name="connsiteY2" fmla="*/ 145256 h 289128"/>
              <a:gd name="connsiteX3" fmla="*/ 523875 w 978693"/>
              <a:gd name="connsiteY3" fmla="*/ 114300 h 289128"/>
              <a:gd name="connsiteX4" fmla="*/ 695325 w 978693"/>
              <a:gd name="connsiteY4" fmla="*/ 83344 h 289128"/>
              <a:gd name="connsiteX5" fmla="*/ 945356 w 978693"/>
              <a:gd name="connsiteY5" fmla="*/ 0 h 289128"/>
              <a:gd name="connsiteX6" fmla="*/ 978693 w 978693"/>
              <a:gd name="connsiteY6" fmla="*/ 73819 h 289128"/>
              <a:gd name="connsiteX7" fmla="*/ 890587 w 978693"/>
              <a:gd name="connsiteY7" fmla="*/ 135731 h 289128"/>
              <a:gd name="connsiteX8" fmla="*/ 735326 w 978693"/>
              <a:gd name="connsiteY8" fmla="*/ 208815 h 289128"/>
              <a:gd name="connsiteX9" fmla="*/ 602936 w 978693"/>
              <a:gd name="connsiteY9" fmla="*/ 254424 h 289128"/>
              <a:gd name="connsiteX10" fmla="*/ 452907 w 978693"/>
              <a:gd name="connsiteY10" fmla="*/ 277690 h 289128"/>
              <a:gd name="connsiteX11" fmla="*/ 310043 w 978693"/>
              <a:gd name="connsiteY11" fmla="*/ 288496 h 289128"/>
              <a:gd name="connsiteX12" fmla="*/ 120452 w 978693"/>
              <a:gd name="connsiteY12" fmla="*/ 259921 h 289128"/>
              <a:gd name="connsiteX13" fmla="*/ 3832 w 978693"/>
              <a:gd name="connsiteY13" fmla="*/ 217976 h 289128"/>
              <a:gd name="connsiteX14" fmla="*/ 0 w 978693"/>
              <a:gd name="connsiteY14" fmla="*/ 140494 h 289128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0037 w 978693"/>
              <a:gd name="connsiteY2" fmla="*/ 145256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3832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0037 w 978693"/>
              <a:gd name="connsiteY2" fmla="*/ 145256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0037 w 978693"/>
              <a:gd name="connsiteY2" fmla="*/ 145256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0037 w 978693"/>
              <a:gd name="connsiteY2" fmla="*/ 145256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0037 w 978693"/>
              <a:gd name="connsiteY2" fmla="*/ 145256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0037 w 978693"/>
              <a:gd name="connsiteY2" fmla="*/ 145256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5760 w 978693"/>
              <a:gd name="connsiteY2" fmla="*/ 152952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5760 w 978693"/>
              <a:gd name="connsiteY2" fmla="*/ 149654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5760 w 978693"/>
              <a:gd name="connsiteY2" fmla="*/ 149654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5760 w 978693"/>
              <a:gd name="connsiteY2" fmla="*/ 149654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78693"/>
              <a:gd name="connsiteY0" fmla="*/ 140494 h 290133"/>
              <a:gd name="connsiteX1" fmla="*/ 126206 w 978693"/>
              <a:gd name="connsiteY1" fmla="*/ 157163 h 290133"/>
              <a:gd name="connsiteX2" fmla="*/ 305760 w 978693"/>
              <a:gd name="connsiteY2" fmla="*/ 149654 h 290133"/>
              <a:gd name="connsiteX3" fmla="*/ 523875 w 978693"/>
              <a:gd name="connsiteY3" fmla="*/ 114300 h 290133"/>
              <a:gd name="connsiteX4" fmla="*/ 695325 w 978693"/>
              <a:gd name="connsiteY4" fmla="*/ 83344 h 290133"/>
              <a:gd name="connsiteX5" fmla="*/ 945356 w 978693"/>
              <a:gd name="connsiteY5" fmla="*/ 0 h 290133"/>
              <a:gd name="connsiteX6" fmla="*/ 978693 w 978693"/>
              <a:gd name="connsiteY6" fmla="*/ 73819 h 290133"/>
              <a:gd name="connsiteX7" fmla="*/ 890587 w 978693"/>
              <a:gd name="connsiteY7" fmla="*/ 135731 h 290133"/>
              <a:gd name="connsiteX8" fmla="*/ 735326 w 978693"/>
              <a:gd name="connsiteY8" fmla="*/ 208815 h 290133"/>
              <a:gd name="connsiteX9" fmla="*/ 602936 w 978693"/>
              <a:gd name="connsiteY9" fmla="*/ 254424 h 290133"/>
              <a:gd name="connsiteX10" fmla="*/ 455769 w 978693"/>
              <a:gd name="connsiteY10" fmla="*/ 283187 h 290133"/>
              <a:gd name="connsiteX11" fmla="*/ 310043 w 978693"/>
              <a:gd name="connsiteY11" fmla="*/ 288496 h 290133"/>
              <a:gd name="connsiteX12" fmla="*/ 120452 w 978693"/>
              <a:gd name="connsiteY12" fmla="*/ 259921 h 290133"/>
              <a:gd name="connsiteX13" fmla="*/ 12417 w 978693"/>
              <a:gd name="connsiteY13" fmla="*/ 217976 h 290133"/>
              <a:gd name="connsiteX14" fmla="*/ 0 w 978693"/>
              <a:gd name="connsiteY14" fmla="*/ 140494 h 290133"/>
              <a:gd name="connsiteX0" fmla="*/ 0 w 985847"/>
              <a:gd name="connsiteY0" fmla="*/ 140494 h 290133"/>
              <a:gd name="connsiteX1" fmla="*/ 126206 w 985847"/>
              <a:gd name="connsiteY1" fmla="*/ 157163 h 290133"/>
              <a:gd name="connsiteX2" fmla="*/ 305760 w 985847"/>
              <a:gd name="connsiteY2" fmla="*/ 149654 h 290133"/>
              <a:gd name="connsiteX3" fmla="*/ 523875 w 985847"/>
              <a:gd name="connsiteY3" fmla="*/ 114300 h 290133"/>
              <a:gd name="connsiteX4" fmla="*/ 695325 w 985847"/>
              <a:gd name="connsiteY4" fmla="*/ 83344 h 290133"/>
              <a:gd name="connsiteX5" fmla="*/ 945356 w 985847"/>
              <a:gd name="connsiteY5" fmla="*/ 0 h 290133"/>
              <a:gd name="connsiteX6" fmla="*/ 985847 w 985847"/>
              <a:gd name="connsiteY6" fmla="*/ 69421 h 290133"/>
              <a:gd name="connsiteX7" fmla="*/ 890587 w 985847"/>
              <a:gd name="connsiteY7" fmla="*/ 135731 h 290133"/>
              <a:gd name="connsiteX8" fmla="*/ 735326 w 985847"/>
              <a:gd name="connsiteY8" fmla="*/ 208815 h 290133"/>
              <a:gd name="connsiteX9" fmla="*/ 602936 w 985847"/>
              <a:gd name="connsiteY9" fmla="*/ 254424 h 290133"/>
              <a:gd name="connsiteX10" fmla="*/ 455769 w 985847"/>
              <a:gd name="connsiteY10" fmla="*/ 283187 h 290133"/>
              <a:gd name="connsiteX11" fmla="*/ 310043 w 985847"/>
              <a:gd name="connsiteY11" fmla="*/ 288496 h 290133"/>
              <a:gd name="connsiteX12" fmla="*/ 120452 w 985847"/>
              <a:gd name="connsiteY12" fmla="*/ 259921 h 290133"/>
              <a:gd name="connsiteX13" fmla="*/ 12417 w 985847"/>
              <a:gd name="connsiteY13" fmla="*/ 217976 h 290133"/>
              <a:gd name="connsiteX14" fmla="*/ 0 w 985847"/>
              <a:gd name="connsiteY14" fmla="*/ 140494 h 290133"/>
              <a:gd name="connsiteX0" fmla="*/ 0 w 985847"/>
              <a:gd name="connsiteY0" fmla="*/ 140494 h 290133"/>
              <a:gd name="connsiteX1" fmla="*/ 126206 w 985847"/>
              <a:gd name="connsiteY1" fmla="*/ 157163 h 290133"/>
              <a:gd name="connsiteX2" fmla="*/ 305760 w 985847"/>
              <a:gd name="connsiteY2" fmla="*/ 149654 h 290133"/>
              <a:gd name="connsiteX3" fmla="*/ 523875 w 985847"/>
              <a:gd name="connsiteY3" fmla="*/ 114300 h 290133"/>
              <a:gd name="connsiteX4" fmla="*/ 695325 w 985847"/>
              <a:gd name="connsiteY4" fmla="*/ 83344 h 290133"/>
              <a:gd name="connsiteX5" fmla="*/ 945356 w 985847"/>
              <a:gd name="connsiteY5" fmla="*/ 0 h 290133"/>
              <a:gd name="connsiteX6" fmla="*/ 985847 w 985847"/>
              <a:gd name="connsiteY6" fmla="*/ 69421 h 290133"/>
              <a:gd name="connsiteX7" fmla="*/ 890587 w 985847"/>
              <a:gd name="connsiteY7" fmla="*/ 135731 h 290133"/>
              <a:gd name="connsiteX8" fmla="*/ 735326 w 985847"/>
              <a:gd name="connsiteY8" fmla="*/ 208815 h 290133"/>
              <a:gd name="connsiteX9" fmla="*/ 602936 w 985847"/>
              <a:gd name="connsiteY9" fmla="*/ 254424 h 290133"/>
              <a:gd name="connsiteX10" fmla="*/ 455769 w 985847"/>
              <a:gd name="connsiteY10" fmla="*/ 283187 h 290133"/>
              <a:gd name="connsiteX11" fmla="*/ 310043 w 985847"/>
              <a:gd name="connsiteY11" fmla="*/ 288496 h 290133"/>
              <a:gd name="connsiteX12" fmla="*/ 120452 w 985847"/>
              <a:gd name="connsiteY12" fmla="*/ 259921 h 290133"/>
              <a:gd name="connsiteX13" fmla="*/ 12417 w 985847"/>
              <a:gd name="connsiteY13" fmla="*/ 217976 h 290133"/>
              <a:gd name="connsiteX14" fmla="*/ 0 w 985847"/>
              <a:gd name="connsiteY14" fmla="*/ 140494 h 290133"/>
              <a:gd name="connsiteX0" fmla="*/ 0 w 985847"/>
              <a:gd name="connsiteY0" fmla="*/ 140494 h 290133"/>
              <a:gd name="connsiteX1" fmla="*/ 126206 w 985847"/>
              <a:gd name="connsiteY1" fmla="*/ 157163 h 290133"/>
              <a:gd name="connsiteX2" fmla="*/ 305760 w 985847"/>
              <a:gd name="connsiteY2" fmla="*/ 149654 h 290133"/>
              <a:gd name="connsiteX3" fmla="*/ 523875 w 985847"/>
              <a:gd name="connsiteY3" fmla="*/ 114300 h 290133"/>
              <a:gd name="connsiteX4" fmla="*/ 695325 w 985847"/>
              <a:gd name="connsiteY4" fmla="*/ 83344 h 290133"/>
              <a:gd name="connsiteX5" fmla="*/ 945356 w 985847"/>
              <a:gd name="connsiteY5" fmla="*/ 0 h 290133"/>
              <a:gd name="connsiteX6" fmla="*/ 985847 w 985847"/>
              <a:gd name="connsiteY6" fmla="*/ 69421 h 290133"/>
              <a:gd name="connsiteX7" fmla="*/ 890587 w 985847"/>
              <a:gd name="connsiteY7" fmla="*/ 135731 h 290133"/>
              <a:gd name="connsiteX8" fmla="*/ 735326 w 985847"/>
              <a:gd name="connsiteY8" fmla="*/ 208815 h 290133"/>
              <a:gd name="connsiteX9" fmla="*/ 602936 w 985847"/>
              <a:gd name="connsiteY9" fmla="*/ 254424 h 290133"/>
              <a:gd name="connsiteX10" fmla="*/ 455769 w 985847"/>
              <a:gd name="connsiteY10" fmla="*/ 283187 h 290133"/>
              <a:gd name="connsiteX11" fmla="*/ 310043 w 985847"/>
              <a:gd name="connsiteY11" fmla="*/ 288496 h 290133"/>
              <a:gd name="connsiteX12" fmla="*/ 120452 w 985847"/>
              <a:gd name="connsiteY12" fmla="*/ 259921 h 290133"/>
              <a:gd name="connsiteX13" fmla="*/ 12417 w 985847"/>
              <a:gd name="connsiteY13" fmla="*/ 217976 h 290133"/>
              <a:gd name="connsiteX14" fmla="*/ 0 w 985847"/>
              <a:gd name="connsiteY14" fmla="*/ 140494 h 290133"/>
              <a:gd name="connsiteX0" fmla="*/ 0 w 985847"/>
              <a:gd name="connsiteY0" fmla="*/ 140494 h 290133"/>
              <a:gd name="connsiteX1" fmla="*/ 126206 w 985847"/>
              <a:gd name="connsiteY1" fmla="*/ 157163 h 290133"/>
              <a:gd name="connsiteX2" fmla="*/ 305760 w 985847"/>
              <a:gd name="connsiteY2" fmla="*/ 149654 h 290133"/>
              <a:gd name="connsiteX3" fmla="*/ 523875 w 985847"/>
              <a:gd name="connsiteY3" fmla="*/ 114300 h 290133"/>
              <a:gd name="connsiteX4" fmla="*/ 695325 w 985847"/>
              <a:gd name="connsiteY4" fmla="*/ 83344 h 290133"/>
              <a:gd name="connsiteX5" fmla="*/ 945356 w 985847"/>
              <a:gd name="connsiteY5" fmla="*/ 0 h 290133"/>
              <a:gd name="connsiteX6" fmla="*/ 985847 w 985847"/>
              <a:gd name="connsiteY6" fmla="*/ 69421 h 290133"/>
              <a:gd name="connsiteX7" fmla="*/ 890587 w 985847"/>
              <a:gd name="connsiteY7" fmla="*/ 135731 h 290133"/>
              <a:gd name="connsiteX8" fmla="*/ 746773 w 985847"/>
              <a:gd name="connsiteY8" fmla="*/ 208815 h 290133"/>
              <a:gd name="connsiteX9" fmla="*/ 602936 w 985847"/>
              <a:gd name="connsiteY9" fmla="*/ 254424 h 290133"/>
              <a:gd name="connsiteX10" fmla="*/ 455769 w 985847"/>
              <a:gd name="connsiteY10" fmla="*/ 283187 h 290133"/>
              <a:gd name="connsiteX11" fmla="*/ 310043 w 985847"/>
              <a:gd name="connsiteY11" fmla="*/ 288496 h 290133"/>
              <a:gd name="connsiteX12" fmla="*/ 120452 w 985847"/>
              <a:gd name="connsiteY12" fmla="*/ 259921 h 290133"/>
              <a:gd name="connsiteX13" fmla="*/ 12417 w 985847"/>
              <a:gd name="connsiteY13" fmla="*/ 217976 h 290133"/>
              <a:gd name="connsiteX14" fmla="*/ 0 w 985847"/>
              <a:gd name="connsiteY14" fmla="*/ 140494 h 290133"/>
              <a:gd name="connsiteX0" fmla="*/ 0 w 947615"/>
              <a:gd name="connsiteY0" fmla="*/ 140494 h 290133"/>
              <a:gd name="connsiteX1" fmla="*/ 126206 w 947615"/>
              <a:gd name="connsiteY1" fmla="*/ 157163 h 290133"/>
              <a:gd name="connsiteX2" fmla="*/ 305760 w 947615"/>
              <a:gd name="connsiteY2" fmla="*/ 149654 h 290133"/>
              <a:gd name="connsiteX3" fmla="*/ 523875 w 947615"/>
              <a:gd name="connsiteY3" fmla="*/ 114300 h 290133"/>
              <a:gd name="connsiteX4" fmla="*/ 695325 w 947615"/>
              <a:gd name="connsiteY4" fmla="*/ 83344 h 290133"/>
              <a:gd name="connsiteX5" fmla="*/ 945356 w 947615"/>
              <a:gd name="connsiteY5" fmla="*/ 0 h 290133"/>
              <a:gd name="connsiteX6" fmla="*/ 947615 w 947615"/>
              <a:gd name="connsiteY6" fmla="*/ 71053 h 290133"/>
              <a:gd name="connsiteX7" fmla="*/ 890587 w 947615"/>
              <a:gd name="connsiteY7" fmla="*/ 135731 h 290133"/>
              <a:gd name="connsiteX8" fmla="*/ 746773 w 947615"/>
              <a:gd name="connsiteY8" fmla="*/ 208815 h 290133"/>
              <a:gd name="connsiteX9" fmla="*/ 602936 w 947615"/>
              <a:gd name="connsiteY9" fmla="*/ 254424 h 290133"/>
              <a:gd name="connsiteX10" fmla="*/ 455769 w 947615"/>
              <a:gd name="connsiteY10" fmla="*/ 283187 h 290133"/>
              <a:gd name="connsiteX11" fmla="*/ 310043 w 947615"/>
              <a:gd name="connsiteY11" fmla="*/ 288496 h 290133"/>
              <a:gd name="connsiteX12" fmla="*/ 120452 w 947615"/>
              <a:gd name="connsiteY12" fmla="*/ 259921 h 290133"/>
              <a:gd name="connsiteX13" fmla="*/ 12417 w 947615"/>
              <a:gd name="connsiteY13" fmla="*/ 217976 h 290133"/>
              <a:gd name="connsiteX14" fmla="*/ 0 w 947615"/>
              <a:gd name="connsiteY14" fmla="*/ 140494 h 290133"/>
              <a:gd name="connsiteX0" fmla="*/ 0 w 990095"/>
              <a:gd name="connsiteY0" fmla="*/ 140494 h 290133"/>
              <a:gd name="connsiteX1" fmla="*/ 126206 w 990095"/>
              <a:gd name="connsiteY1" fmla="*/ 157163 h 290133"/>
              <a:gd name="connsiteX2" fmla="*/ 305760 w 990095"/>
              <a:gd name="connsiteY2" fmla="*/ 149654 h 290133"/>
              <a:gd name="connsiteX3" fmla="*/ 523875 w 990095"/>
              <a:gd name="connsiteY3" fmla="*/ 114300 h 290133"/>
              <a:gd name="connsiteX4" fmla="*/ 695325 w 990095"/>
              <a:gd name="connsiteY4" fmla="*/ 83344 h 290133"/>
              <a:gd name="connsiteX5" fmla="*/ 945356 w 990095"/>
              <a:gd name="connsiteY5" fmla="*/ 0 h 290133"/>
              <a:gd name="connsiteX6" fmla="*/ 990095 w 990095"/>
              <a:gd name="connsiteY6" fmla="*/ 62892 h 290133"/>
              <a:gd name="connsiteX7" fmla="*/ 890587 w 990095"/>
              <a:gd name="connsiteY7" fmla="*/ 135731 h 290133"/>
              <a:gd name="connsiteX8" fmla="*/ 746773 w 990095"/>
              <a:gd name="connsiteY8" fmla="*/ 208815 h 290133"/>
              <a:gd name="connsiteX9" fmla="*/ 602936 w 990095"/>
              <a:gd name="connsiteY9" fmla="*/ 254424 h 290133"/>
              <a:gd name="connsiteX10" fmla="*/ 455769 w 990095"/>
              <a:gd name="connsiteY10" fmla="*/ 283187 h 290133"/>
              <a:gd name="connsiteX11" fmla="*/ 310043 w 990095"/>
              <a:gd name="connsiteY11" fmla="*/ 288496 h 290133"/>
              <a:gd name="connsiteX12" fmla="*/ 120452 w 990095"/>
              <a:gd name="connsiteY12" fmla="*/ 259921 h 290133"/>
              <a:gd name="connsiteX13" fmla="*/ 12417 w 990095"/>
              <a:gd name="connsiteY13" fmla="*/ 217976 h 290133"/>
              <a:gd name="connsiteX14" fmla="*/ 0 w 990095"/>
              <a:gd name="connsiteY14" fmla="*/ 140494 h 290133"/>
              <a:gd name="connsiteX0" fmla="*/ 0 w 990095"/>
              <a:gd name="connsiteY0" fmla="*/ 140494 h 283590"/>
              <a:gd name="connsiteX1" fmla="*/ 126206 w 990095"/>
              <a:gd name="connsiteY1" fmla="*/ 157163 h 283590"/>
              <a:gd name="connsiteX2" fmla="*/ 305760 w 990095"/>
              <a:gd name="connsiteY2" fmla="*/ 149654 h 283590"/>
              <a:gd name="connsiteX3" fmla="*/ 523875 w 990095"/>
              <a:gd name="connsiteY3" fmla="*/ 114300 h 283590"/>
              <a:gd name="connsiteX4" fmla="*/ 695325 w 990095"/>
              <a:gd name="connsiteY4" fmla="*/ 83344 h 283590"/>
              <a:gd name="connsiteX5" fmla="*/ 945356 w 990095"/>
              <a:gd name="connsiteY5" fmla="*/ 0 h 283590"/>
              <a:gd name="connsiteX6" fmla="*/ 990095 w 990095"/>
              <a:gd name="connsiteY6" fmla="*/ 62892 h 283590"/>
              <a:gd name="connsiteX7" fmla="*/ 890587 w 990095"/>
              <a:gd name="connsiteY7" fmla="*/ 135731 h 283590"/>
              <a:gd name="connsiteX8" fmla="*/ 746773 w 990095"/>
              <a:gd name="connsiteY8" fmla="*/ 208815 h 283590"/>
              <a:gd name="connsiteX9" fmla="*/ 602936 w 990095"/>
              <a:gd name="connsiteY9" fmla="*/ 254424 h 283590"/>
              <a:gd name="connsiteX10" fmla="*/ 455769 w 990095"/>
              <a:gd name="connsiteY10" fmla="*/ 283187 h 283590"/>
              <a:gd name="connsiteX11" fmla="*/ 301547 w 990095"/>
              <a:gd name="connsiteY11" fmla="*/ 270543 h 283590"/>
              <a:gd name="connsiteX12" fmla="*/ 120452 w 990095"/>
              <a:gd name="connsiteY12" fmla="*/ 259921 h 283590"/>
              <a:gd name="connsiteX13" fmla="*/ 12417 w 990095"/>
              <a:gd name="connsiteY13" fmla="*/ 217976 h 283590"/>
              <a:gd name="connsiteX14" fmla="*/ 0 w 990095"/>
              <a:gd name="connsiteY14" fmla="*/ 140494 h 283590"/>
              <a:gd name="connsiteX0" fmla="*/ 0 w 990095"/>
              <a:gd name="connsiteY0" fmla="*/ 140494 h 270863"/>
              <a:gd name="connsiteX1" fmla="*/ 126206 w 990095"/>
              <a:gd name="connsiteY1" fmla="*/ 157163 h 270863"/>
              <a:gd name="connsiteX2" fmla="*/ 305760 w 990095"/>
              <a:gd name="connsiteY2" fmla="*/ 149654 h 270863"/>
              <a:gd name="connsiteX3" fmla="*/ 523875 w 990095"/>
              <a:gd name="connsiteY3" fmla="*/ 114300 h 270863"/>
              <a:gd name="connsiteX4" fmla="*/ 695325 w 990095"/>
              <a:gd name="connsiteY4" fmla="*/ 83344 h 270863"/>
              <a:gd name="connsiteX5" fmla="*/ 945356 w 990095"/>
              <a:gd name="connsiteY5" fmla="*/ 0 h 270863"/>
              <a:gd name="connsiteX6" fmla="*/ 990095 w 990095"/>
              <a:gd name="connsiteY6" fmla="*/ 62892 h 270863"/>
              <a:gd name="connsiteX7" fmla="*/ 890587 w 990095"/>
              <a:gd name="connsiteY7" fmla="*/ 135731 h 270863"/>
              <a:gd name="connsiteX8" fmla="*/ 746773 w 990095"/>
              <a:gd name="connsiteY8" fmla="*/ 208815 h 270863"/>
              <a:gd name="connsiteX9" fmla="*/ 602936 w 990095"/>
              <a:gd name="connsiteY9" fmla="*/ 254424 h 270863"/>
              <a:gd name="connsiteX10" fmla="*/ 457893 w 990095"/>
              <a:gd name="connsiteY10" fmla="*/ 266866 h 270863"/>
              <a:gd name="connsiteX11" fmla="*/ 301547 w 990095"/>
              <a:gd name="connsiteY11" fmla="*/ 270543 h 270863"/>
              <a:gd name="connsiteX12" fmla="*/ 120452 w 990095"/>
              <a:gd name="connsiteY12" fmla="*/ 259921 h 270863"/>
              <a:gd name="connsiteX13" fmla="*/ 12417 w 990095"/>
              <a:gd name="connsiteY13" fmla="*/ 217976 h 270863"/>
              <a:gd name="connsiteX14" fmla="*/ 0 w 990095"/>
              <a:gd name="connsiteY14" fmla="*/ 140494 h 270863"/>
              <a:gd name="connsiteX0" fmla="*/ 0 w 990095"/>
              <a:gd name="connsiteY0" fmla="*/ 140494 h 271127"/>
              <a:gd name="connsiteX1" fmla="*/ 126206 w 990095"/>
              <a:gd name="connsiteY1" fmla="*/ 157163 h 271127"/>
              <a:gd name="connsiteX2" fmla="*/ 305760 w 990095"/>
              <a:gd name="connsiteY2" fmla="*/ 149654 h 271127"/>
              <a:gd name="connsiteX3" fmla="*/ 523875 w 990095"/>
              <a:gd name="connsiteY3" fmla="*/ 114300 h 271127"/>
              <a:gd name="connsiteX4" fmla="*/ 695325 w 990095"/>
              <a:gd name="connsiteY4" fmla="*/ 83344 h 271127"/>
              <a:gd name="connsiteX5" fmla="*/ 945356 w 990095"/>
              <a:gd name="connsiteY5" fmla="*/ 0 h 271127"/>
              <a:gd name="connsiteX6" fmla="*/ 990095 w 990095"/>
              <a:gd name="connsiteY6" fmla="*/ 62892 h 271127"/>
              <a:gd name="connsiteX7" fmla="*/ 890587 w 990095"/>
              <a:gd name="connsiteY7" fmla="*/ 135731 h 271127"/>
              <a:gd name="connsiteX8" fmla="*/ 746773 w 990095"/>
              <a:gd name="connsiteY8" fmla="*/ 208815 h 271127"/>
              <a:gd name="connsiteX9" fmla="*/ 605060 w 990095"/>
              <a:gd name="connsiteY9" fmla="*/ 242999 h 271127"/>
              <a:gd name="connsiteX10" fmla="*/ 457893 w 990095"/>
              <a:gd name="connsiteY10" fmla="*/ 266866 h 271127"/>
              <a:gd name="connsiteX11" fmla="*/ 301547 w 990095"/>
              <a:gd name="connsiteY11" fmla="*/ 270543 h 271127"/>
              <a:gd name="connsiteX12" fmla="*/ 120452 w 990095"/>
              <a:gd name="connsiteY12" fmla="*/ 259921 h 271127"/>
              <a:gd name="connsiteX13" fmla="*/ 12417 w 990095"/>
              <a:gd name="connsiteY13" fmla="*/ 217976 h 271127"/>
              <a:gd name="connsiteX14" fmla="*/ 0 w 990095"/>
              <a:gd name="connsiteY14" fmla="*/ 140494 h 271127"/>
              <a:gd name="connsiteX0" fmla="*/ 0 w 990095"/>
              <a:gd name="connsiteY0" fmla="*/ 140494 h 271127"/>
              <a:gd name="connsiteX1" fmla="*/ 126206 w 990095"/>
              <a:gd name="connsiteY1" fmla="*/ 157163 h 271127"/>
              <a:gd name="connsiteX2" fmla="*/ 305760 w 990095"/>
              <a:gd name="connsiteY2" fmla="*/ 149654 h 271127"/>
              <a:gd name="connsiteX3" fmla="*/ 523875 w 990095"/>
              <a:gd name="connsiteY3" fmla="*/ 114300 h 271127"/>
              <a:gd name="connsiteX4" fmla="*/ 695325 w 990095"/>
              <a:gd name="connsiteY4" fmla="*/ 83344 h 271127"/>
              <a:gd name="connsiteX5" fmla="*/ 945356 w 990095"/>
              <a:gd name="connsiteY5" fmla="*/ 0 h 271127"/>
              <a:gd name="connsiteX6" fmla="*/ 990095 w 990095"/>
              <a:gd name="connsiteY6" fmla="*/ 62892 h 271127"/>
              <a:gd name="connsiteX7" fmla="*/ 890587 w 990095"/>
              <a:gd name="connsiteY7" fmla="*/ 135731 h 271127"/>
              <a:gd name="connsiteX8" fmla="*/ 748896 w 990095"/>
              <a:gd name="connsiteY8" fmla="*/ 190862 h 271127"/>
              <a:gd name="connsiteX9" fmla="*/ 605060 w 990095"/>
              <a:gd name="connsiteY9" fmla="*/ 242999 h 271127"/>
              <a:gd name="connsiteX10" fmla="*/ 457893 w 990095"/>
              <a:gd name="connsiteY10" fmla="*/ 266866 h 271127"/>
              <a:gd name="connsiteX11" fmla="*/ 301547 w 990095"/>
              <a:gd name="connsiteY11" fmla="*/ 270543 h 271127"/>
              <a:gd name="connsiteX12" fmla="*/ 120452 w 990095"/>
              <a:gd name="connsiteY12" fmla="*/ 259921 h 271127"/>
              <a:gd name="connsiteX13" fmla="*/ 12417 w 990095"/>
              <a:gd name="connsiteY13" fmla="*/ 217976 h 271127"/>
              <a:gd name="connsiteX14" fmla="*/ 0 w 990095"/>
              <a:gd name="connsiteY14" fmla="*/ 140494 h 271127"/>
              <a:gd name="connsiteX0" fmla="*/ 0 w 990095"/>
              <a:gd name="connsiteY0" fmla="*/ 140494 h 271127"/>
              <a:gd name="connsiteX1" fmla="*/ 126206 w 990095"/>
              <a:gd name="connsiteY1" fmla="*/ 157163 h 271127"/>
              <a:gd name="connsiteX2" fmla="*/ 305760 w 990095"/>
              <a:gd name="connsiteY2" fmla="*/ 149654 h 271127"/>
              <a:gd name="connsiteX3" fmla="*/ 523875 w 990095"/>
              <a:gd name="connsiteY3" fmla="*/ 114300 h 271127"/>
              <a:gd name="connsiteX4" fmla="*/ 695325 w 990095"/>
              <a:gd name="connsiteY4" fmla="*/ 83344 h 271127"/>
              <a:gd name="connsiteX5" fmla="*/ 945356 w 990095"/>
              <a:gd name="connsiteY5" fmla="*/ 0 h 271127"/>
              <a:gd name="connsiteX6" fmla="*/ 990095 w 990095"/>
              <a:gd name="connsiteY6" fmla="*/ 62892 h 271127"/>
              <a:gd name="connsiteX7" fmla="*/ 890587 w 990095"/>
              <a:gd name="connsiteY7" fmla="*/ 122674 h 271127"/>
              <a:gd name="connsiteX8" fmla="*/ 748896 w 990095"/>
              <a:gd name="connsiteY8" fmla="*/ 190862 h 271127"/>
              <a:gd name="connsiteX9" fmla="*/ 605060 w 990095"/>
              <a:gd name="connsiteY9" fmla="*/ 242999 h 271127"/>
              <a:gd name="connsiteX10" fmla="*/ 457893 w 990095"/>
              <a:gd name="connsiteY10" fmla="*/ 266866 h 271127"/>
              <a:gd name="connsiteX11" fmla="*/ 301547 w 990095"/>
              <a:gd name="connsiteY11" fmla="*/ 270543 h 271127"/>
              <a:gd name="connsiteX12" fmla="*/ 120452 w 990095"/>
              <a:gd name="connsiteY12" fmla="*/ 259921 h 271127"/>
              <a:gd name="connsiteX13" fmla="*/ 12417 w 990095"/>
              <a:gd name="connsiteY13" fmla="*/ 217976 h 271127"/>
              <a:gd name="connsiteX14" fmla="*/ 0 w 990095"/>
              <a:gd name="connsiteY14" fmla="*/ 140494 h 271127"/>
              <a:gd name="connsiteX0" fmla="*/ 0 w 977351"/>
              <a:gd name="connsiteY0" fmla="*/ 140494 h 271127"/>
              <a:gd name="connsiteX1" fmla="*/ 126206 w 977351"/>
              <a:gd name="connsiteY1" fmla="*/ 157163 h 271127"/>
              <a:gd name="connsiteX2" fmla="*/ 305760 w 977351"/>
              <a:gd name="connsiteY2" fmla="*/ 149654 h 271127"/>
              <a:gd name="connsiteX3" fmla="*/ 523875 w 977351"/>
              <a:gd name="connsiteY3" fmla="*/ 114300 h 271127"/>
              <a:gd name="connsiteX4" fmla="*/ 695325 w 977351"/>
              <a:gd name="connsiteY4" fmla="*/ 83344 h 271127"/>
              <a:gd name="connsiteX5" fmla="*/ 945356 w 977351"/>
              <a:gd name="connsiteY5" fmla="*/ 0 h 271127"/>
              <a:gd name="connsiteX6" fmla="*/ 977351 w 977351"/>
              <a:gd name="connsiteY6" fmla="*/ 62892 h 271127"/>
              <a:gd name="connsiteX7" fmla="*/ 890587 w 977351"/>
              <a:gd name="connsiteY7" fmla="*/ 122674 h 271127"/>
              <a:gd name="connsiteX8" fmla="*/ 748896 w 977351"/>
              <a:gd name="connsiteY8" fmla="*/ 190862 h 271127"/>
              <a:gd name="connsiteX9" fmla="*/ 605060 w 977351"/>
              <a:gd name="connsiteY9" fmla="*/ 242999 h 271127"/>
              <a:gd name="connsiteX10" fmla="*/ 457893 w 977351"/>
              <a:gd name="connsiteY10" fmla="*/ 266866 h 271127"/>
              <a:gd name="connsiteX11" fmla="*/ 301547 w 977351"/>
              <a:gd name="connsiteY11" fmla="*/ 270543 h 271127"/>
              <a:gd name="connsiteX12" fmla="*/ 120452 w 977351"/>
              <a:gd name="connsiteY12" fmla="*/ 259921 h 271127"/>
              <a:gd name="connsiteX13" fmla="*/ 12417 w 977351"/>
              <a:gd name="connsiteY13" fmla="*/ 217976 h 271127"/>
              <a:gd name="connsiteX14" fmla="*/ 0 w 977351"/>
              <a:gd name="connsiteY14" fmla="*/ 140494 h 271127"/>
              <a:gd name="connsiteX0" fmla="*/ 0 w 977351"/>
              <a:gd name="connsiteY0" fmla="*/ 140494 h 271851"/>
              <a:gd name="connsiteX1" fmla="*/ 126206 w 977351"/>
              <a:gd name="connsiteY1" fmla="*/ 157163 h 271851"/>
              <a:gd name="connsiteX2" fmla="*/ 305760 w 977351"/>
              <a:gd name="connsiteY2" fmla="*/ 149654 h 271851"/>
              <a:gd name="connsiteX3" fmla="*/ 523875 w 977351"/>
              <a:gd name="connsiteY3" fmla="*/ 114300 h 271851"/>
              <a:gd name="connsiteX4" fmla="*/ 695325 w 977351"/>
              <a:gd name="connsiteY4" fmla="*/ 83344 h 271851"/>
              <a:gd name="connsiteX5" fmla="*/ 945356 w 977351"/>
              <a:gd name="connsiteY5" fmla="*/ 0 h 271851"/>
              <a:gd name="connsiteX6" fmla="*/ 977351 w 977351"/>
              <a:gd name="connsiteY6" fmla="*/ 62892 h 271851"/>
              <a:gd name="connsiteX7" fmla="*/ 890587 w 977351"/>
              <a:gd name="connsiteY7" fmla="*/ 122674 h 271851"/>
              <a:gd name="connsiteX8" fmla="*/ 748896 w 977351"/>
              <a:gd name="connsiteY8" fmla="*/ 190862 h 271851"/>
              <a:gd name="connsiteX9" fmla="*/ 605060 w 977351"/>
              <a:gd name="connsiteY9" fmla="*/ 242999 h 271851"/>
              <a:gd name="connsiteX10" fmla="*/ 457893 w 977351"/>
              <a:gd name="connsiteY10" fmla="*/ 266866 h 271851"/>
              <a:gd name="connsiteX11" fmla="*/ 301547 w 977351"/>
              <a:gd name="connsiteY11" fmla="*/ 270543 h 271851"/>
              <a:gd name="connsiteX12" fmla="*/ 120452 w 977351"/>
              <a:gd name="connsiteY12" fmla="*/ 250128 h 271851"/>
              <a:gd name="connsiteX13" fmla="*/ 12417 w 977351"/>
              <a:gd name="connsiteY13" fmla="*/ 217976 h 271851"/>
              <a:gd name="connsiteX14" fmla="*/ 0 w 977351"/>
              <a:gd name="connsiteY14" fmla="*/ 140494 h 271851"/>
              <a:gd name="connsiteX0" fmla="*/ 0 w 977351"/>
              <a:gd name="connsiteY0" fmla="*/ 140494 h 271851"/>
              <a:gd name="connsiteX1" fmla="*/ 126206 w 977351"/>
              <a:gd name="connsiteY1" fmla="*/ 157163 h 271851"/>
              <a:gd name="connsiteX2" fmla="*/ 305760 w 977351"/>
              <a:gd name="connsiteY2" fmla="*/ 149654 h 271851"/>
              <a:gd name="connsiteX3" fmla="*/ 523875 w 977351"/>
              <a:gd name="connsiteY3" fmla="*/ 114300 h 271851"/>
              <a:gd name="connsiteX4" fmla="*/ 695325 w 977351"/>
              <a:gd name="connsiteY4" fmla="*/ 83344 h 271851"/>
              <a:gd name="connsiteX5" fmla="*/ 945356 w 977351"/>
              <a:gd name="connsiteY5" fmla="*/ 0 h 271851"/>
              <a:gd name="connsiteX6" fmla="*/ 977351 w 977351"/>
              <a:gd name="connsiteY6" fmla="*/ 62892 h 271851"/>
              <a:gd name="connsiteX7" fmla="*/ 890587 w 977351"/>
              <a:gd name="connsiteY7" fmla="*/ 122674 h 271851"/>
              <a:gd name="connsiteX8" fmla="*/ 748896 w 977351"/>
              <a:gd name="connsiteY8" fmla="*/ 190862 h 271851"/>
              <a:gd name="connsiteX9" fmla="*/ 605060 w 977351"/>
              <a:gd name="connsiteY9" fmla="*/ 242999 h 271851"/>
              <a:gd name="connsiteX10" fmla="*/ 457893 w 977351"/>
              <a:gd name="connsiteY10" fmla="*/ 266866 h 271851"/>
              <a:gd name="connsiteX11" fmla="*/ 301547 w 977351"/>
              <a:gd name="connsiteY11" fmla="*/ 270543 h 271851"/>
              <a:gd name="connsiteX12" fmla="*/ 120452 w 977351"/>
              <a:gd name="connsiteY12" fmla="*/ 250128 h 271851"/>
              <a:gd name="connsiteX13" fmla="*/ 10293 w 977351"/>
              <a:gd name="connsiteY13" fmla="*/ 203287 h 271851"/>
              <a:gd name="connsiteX14" fmla="*/ 0 w 977351"/>
              <a:gd name="connsiteY14" fmla="*/ 140494 h 271851"/>
              <a:gd name="connsiteX0" fmla="*/ 0 w 977351"/>
              <a:gd name="connsiteY0" fmla="*/ 140494 h 270635"/>
              <a:gd name="connsiteX1" fmla="*/ 126206 w 977351"/>
              <a:gd name="connsiteY1" fmla="*/ 157163 h 270635"/>
              <a:gd name="connsiteX2" fmla="*/ 305760 w 977351"/>
              <a:gd name="connsiteY2" fmla="*/ 149654 h 270635"/>
              <a:gd name="connsiteX3" fmla="*/ 523875 w 977351"/>
              <a:gd name="connsiteY3" fmla="*/ 114300 h 270635"/>
              <a:gd name="connsiteX4" fmla="*/ 695325 w 977351"/>
              <a:gd name="connsiteY4" fmla="*/ 83344 h 270635"/>
              <a:gd name="connsiteX5" fmla="*/ 945356 w 977351"/>
              <a:gd name="connsiteY5" fmla="*/ 0 h 270635"/>
              <a:gd name="connsiteX6" fmla="*/ 977351 w 977351"/>
              <a:gd name="connsiteY6" fmla="*/ 62892 h 270635"/>
              <a:gd name="connsiteX7" fmla="*/ 890587 w 977351"/>
              <a:gd name="connsiteY7" fmla="*/ 122674 h 270635"/>
              <a:gd name="connsiteX8" fmla="*/ 748896 w 977351"/>
              <a:gd name="connsiteY8" fmla="*/ 190862 h 270635"/>
              <a:gd name="connsiteX9" fmla="*/ 605060 w 977351"/>
              <a:gd name="connsiteY9" fmla="*/ 242999 h 270635"/>
              <a:gd name="connsiteX10" fmla="*/ 455770 w 977351"/>
              <a:gd name="connsiteY10" fmla="*/ 257073 h 270635"/>
              <a:gd name="connsiteX11" fmla="*/ 301547 w 977351"/>
              <a:gd name="connsiteY11" fmla="*/ 270543 h 270635"/>
              <a:gd name="connsiteX12" fmla="*/ 120452 w 977351"/>
              <a:gd name="connsiteY12" fmla="*/ 250128 h 270635"/>
              <a:gd name="connsiteX13" fmla="*/ 10293 w 977351"/>
              <a:gd name="connsiteY13" fmla="*/ 203287 h 270635"/>
              <a:gd name="connsiteX14" fmla="*/ 0 w 977351"/>
              <a:gd name="connsiteY14" fmla="*/ 140494 h 270635"/>
              <a:gd name="connsiteX0" fmla="*/ 0 w 977351"/>
              <a:gd name="connsiteY0" fmla="*/ 140494 h 270668"/>
              <a:gd name="connsiteX1" fmla="*/ 126206 w 977351"/>
              <a:gd name="connsiteY1" fmla="*/ 157163 h 270668"/>
              <a:gd name="connsiteX2" fmla="*/ 305760 w 977351"/>
              <a:gd name="connsiteY2" fmla="*/ 149654 h 270668"/>
              <a:gd name="connsiteX3" fmla="*/ 523875 w 977351"/>
              <a:gd name="connsiteY3" fmla="*/ 114300 h 270668"/>
              <a:gd name="connsiteX4" fmla="*/ 695325 w 977351"/>
              <a:gd name="connsiteY4" fmla="*/ 83344 h 270668"/>
              <a:gd name="connsiteX5" fmla="*/ 945356 w 977351"/>
              <a:gd name="connsiteY5" fmla="*/ 0 h 270668"/>
              <a:gd name="connsiteX6" fmla="*/ 977351 w 977351"/>
              <a:gd name="connsiteY6" fmla="*/ 62892 h 270668"/>
              <a:gd name="connsiteX7" fmla="*/ 890587 w 977351"/>
              <a:gd name="connsiteY7" fmla="*/ 122674 h 270668"/>
              <a:gd name="connsiteX8" fmla="*/ 748896 w 977351"/>
              <a:gd name="connsiteY8" fmla="*/ 190862 h 270668"/>
              <a:gd name="connsiteX9" fmla="*/ 611432 w 977351"/>
              <a:gd name="connsiteY9" fmla="*/ 225046 h 270668"/>
              <a:gd name="connsiteX10" fmla="*/ 455770 w 977351"/>
              <a:gd name="connsiteY10" fmla="*/ 257073 h 270668"/>
              <a:gd name="connsiteX11" fmla="*/ 301547 w 977351"/>
              <a:gd name="connsiteY11" fmla="*/ 270543 h 270668"/>
              <a:gd name="connsiteX12" fmla="*/ 120452 w 977351"/>
              <a:gd name="connsiteY12" fmla="*/ 250128 h 270668"/>
              <a:gd name="connsiteX13" fmla="*/ 10293 w 977351"/>
              <a:gd name="connsiteY13" fmla="*/ 203287 h 270668"/>
              <a:gd name="connsiteX14" fmla="*/ 0 w 977351"/>
              <a:gd name="connsiteY14" fmla="*/ 140494 h 270668"/>
              <a:gd name="connsiteX0" fmla="*/ 0 w 977351"/>
              <a:gd name="connsiteY0" fmla="*/ 140494 h 270668"/>
              <a:gd name="connsiteX1" fmla="*/ 126206 w 977351"/>
              <a:gd name="connsiteY1" fmla="*/ 157163 h 270668"/>
              <a:gd name="connsiteX2" fmla="*/ 305760 w 977351"/>
              <a:gd name="connsiteY2" fmla="*/ 149654 h 270668"/>
              <a:gd name="connsiteX3" fmla="*/ 523875 w 977351"/>
              <a:gd name="connsiteY3" fmla="*/ 114300 h 270668"/>
              <a:gd name="connsiteX4" fmla="*/ 695325 w 977351"/>
              <a:gd name="connsiteY4" fmla="*/ 83344 h 270668"/>
              <a:gd name="connsiteX5" fmla="*/ 945356 w 977351"/>
              <a:gd name="connsiteY5" fmla="*/ 0 h 270668"/>
              <a:gd name="connsiteX6" fmla="*/ 977351 w 977351"/>
              <a:gd name="connsiteY6" fmla="*/ 62892 h 270668"/>
              <a:gd name="connsiteX7" fmla="*/ 890587 w 977351"/>
              <a:gd name="connsiteY7" fmla="*/ 122674 h 270668"/>
              <a:gd name="connsiteX8" fmla="*/ 748896 w 977351"/>
              <a:gd name="connsiteY8" fmla="*/ 181069 h 270668"/>
              <a:gd name="connsiteX9" fmla="*/ 611432 w 977351"/>
              <a:gd name="connsiteY9" fmla="*/ 225046 h 270668"/>
              <a:gd name="connsiteX10" fmla="*/ 455770 w 977351"/>
              <a:gd name="connsiteY10" fmla="*/ 257073 h 270668"/>
              <a:gd name="connsiteX11" fmla="*/ 301547 w 977351"/>
              <a:gd name="connsiteY11" fmla="*/ 270543 h 270668"/>
              <a:gd name="connsiteX12" fmla="*/ 120452 w 977351"/>
              <a:gd name="connsiteY12" fmla="*/ 250128 h 270668"/>
              <a:gd name="connsiteX13" fmla="*/ 10293 w 977351"/>
              <a:gd name="connsiteY13" fmla="*/ 203287 h 270668"/>
              <a:gd name="connsiteX14" fmla="*/ 0 w 977351"/>
              <a:gd name="connsiteY14" fmla="*/ 140494 h 270668"/>
              <a:gd name="connsiteX0" fmla="*/ 0 w 977351"/>
              <a:gd name="connsiteY0" fmla="*/ 140494 h 270668"/>
              <a:gd name="connsiteX1" fmla="*/ 126206 w 977351"/>
              <a:gd name="connsiteY1" fmla="*/ 157163 h 270668"/>
              <a:gd name="connsiteX2" fmla="*/ 305760 w 977351"/>
              <a:gd name="connsiteY2" fmla="*/ 149654 h 270668"/>
              <a:gd name="connsiteX3" fmla="*/ 523875 w 977351"/>
              <a:gd name="connsiteY3" fmla="*/ 114300 h 270668"/>
              <a:gd name="connsiteX4" fmla="*/ 695325 w 977351"/>
              <a:gd name="connsiteY4" fmla="*/ 83344 h 270668"/>
              <a:gd name="connsiteX5" fmla="*/ 945356 w 977351"/>
              <a:gd name="connsiteY5" fmla="*/ 0 h 270668"/>
              <a:gd name="connsiteX6" fmla="*/ 977351 w 977351"/>
              <a:gd name="connsiteY6" fmla="*/ 62892 h 270668"/>
              <a:gd name="connsiteX7" fmla="*/ 890587 w 977351"/>
              <a:gd name="connsiteY7" fmla="*/ 114513 h 270668"/>
              <a:gd name="connsiteX8" fmla="*/ 748896 w 977351"/>
              <a:gd name="connsiteY8" fmla="*/ 181069 h 270668"/>
              <a:gd name="connsiteX9" fmla="*/ 611432 w 977351"/>
              <a:gd name="connsiteY9" fmla="*/ 225046 h 270668"/>
              <a:gd name="connsiteX10" fmla="*/ 455770 w 977351"/>
              <a:gd name="connsiteY10" fmla="*/ 257073 h 270668"/>
              <a:gd name="connsiteX11" fmla="*/ 301547 w 977351"/>
              <a:gd name="connsiteY11" fmla="*/ 270543 h 270668"/>
              <a:gd name="connsiteX12" fmla="*/ 120452 w 977351"/>
              <a:gd name="connsiteY12" fmla="*/ 250128 h 270668"/>
              <a:gd name="connsiteX13" fmla="*/ 10293 w 977351"/>
              <a:gd name="connsiteY13" fmla="*/ 203287 h 270668"/>
              <a:gd name="connsiteX14" fmla="*/ 0 w 977351"/>
              <a:gd name="connsiteY14" fmla="*/ 140494 h 270668"/>
              <a:gd name="connsiteX0" fmla="*/ 0 w 975227"/>
              <a:gd name="connsiteY0" fmla="*/ 140494 h 270668"/>
              <a:gd name="connsiteX1" fmla="*/ 126206 w 975227"/>
              <a:gd name="connsiteY1" fmla="*/ 157163 h 270668"/>
              <a:gd name="connsiteX2" fmla="*/ 305760 w 975227"/>
              <a:gd name="connsiteY2" fmla="*/ 149654 h 270668"/>
              <a:gd name="connsiteX3" fmla="*/ 523875 w 975227"/>
              <a:gd name="connsiteY3" fmla="*/ 114300 h 270668"/>
              <a:gd name="connsiteX4" fmla="*/ 695325 w 975227"/>
              <a:gd name="connsiteY4" fmla="*/ 83344 h 270668"/>
              <a:gd name="connsiteX5" fmla="*/ 945356 w 975227"/>
              <a:gd name="connsiteY5" fmla="*/ 0 h 270668"/>
              <a:gd name="connsiteX6" fmla="*/ 975227 w 975227"/>
              <a:gd name="connsiteY6" fmla="*/ 54731 h 270668"/>
              <a:gd name="connsiteX7" fmla="*/ 890587 w 975227"/>
              <a:gd name="connsiteY7" fmla="*/ 114513 h 270668"/>
              <a:gd name="connsiteX8" fmla="*/ 748896 w 975227"/>
              <a:gd name="connsiteY8" fmla="*/ 181069 h 270668"/>
              <a:gd name="connsiteX9" fmla="*/ 611432 w 975227"/>
              <a:gd name="connsiteY9" fmla="*/ 225046 h 270668"/>
              <a:gd name="connsiteX10" fmla="*/ 455770 w 975227"/>
              <a:gd name="connsiteY10" fmla="*/ 257073 h 270668"/>
              <a:gd name="connsiteX11" fmla="*/ 301547 w 975227"/>
              <a:gd name="connsiteY11" fmla="*/ 270543 h 270668"/>
              <a:gd name="connsiteX12" fmla="*/ 120452 w 975227"/>
              <a:gd name="connsiteY12" fmla="*/ 250128 h 270668"/>
              <a:gd name="connsiteX13" fmla="*/ 10293 w 975227"/>
              <a:gd name="connsiteY13" fmla="*/ 203287 h 270668"/>
              <a:gd name="connsiteX14" fmla="*/ 0 w 975227"/>
              <a:gd name="connsiteY14" fmla="*/ 140494 h 270668"/>
              <a:gd name="connsiteX0" fmla="*/ 0 w 975227"/>
              <a:gd name="connsiteY0" fmla="*/ 140494 h 270663"/>
              <a:gd name="connsiteX1" fmla="*/ 126206 w 975227"/>
              <a:gd name="connsiteY1" fmla="*/ 157163 h 270663"/>
              <a:gd name="connsiteX2" fmla="*/ 305760 w 975227"/>
              <a:gd name="connsiteY2" fmla="*/ 149654 h 270663"/>
              <a:gd name="connsiteX3" fmla="*/ 523875 w 975227"/>
              <a:gd name="connsiteY3" fmla="*/ 114300 h 270663"/>
              <a:gd name="connsiteX4" fmla="*/ 695325 w 975227"/>
              <a:gd name="connsiteY4" fmla="*/ 83344 h 270663"/>
              <a:gd name="connsiteX5" fmla="*/ 945356 w 975227"/>
              <a:gd name="connsiteY5" fmla="*/ 0 h 270663"/>
              <a:gd name="connsiteX6" fmla="*/ 975227 w 975227"/>
              <a:gd name="connsiteY6" fmla="*/ 54731 h 270663"/>
              <a:gd name="connsiteX7" fmla="*/ 890587 w 975227"/>
              <a:gd name="connsiteY7" fmla="*/ 114513 h 270663"/>
              <a:gd name="connsiteX8" fmla="*/ 748896 w 975227"/>
              <a:gd name="connsiteY8" fmla="*/ 181069 h 270663"/>
              <a:gd name="connsiteX9" fmla="*/ 611432 w 975227"/>
              <a:gd name="connsiteY9" fmla="*/ 225046 h 270663"/>
              <a:gd name="connsiteX10" fmla="*/ 451522 w 975227"/>
              <a:gd name="connsiteY10" fmla="*/ 242384 h 270663"/>
              <a:gd name="connsiteX11" fmla="*/ 301547 w 975227"/>
              <a:gd name="connsiteY11" fmla="*/ 270543 h 270663"/>
              <a:gd name="connsiteX12" fmla="*/ 120452 w 975227"/>
              <a:gd name="connsiteY12" fmla="*/ 250128 h 270663"/>
              <a:gd name="connsiteX13" fmla="*/ 10293 w 975227"/>
              <a:gd name="connsiteY13" fmla="*/ 203287 h 270663"/>
              <a:gd name="connsiteX14" fmla="*/ 0 w 975227"/>
              <a:gd name="connsiteY14" fmla="*/ 140494 h 270663"/>
              <a:gd name="connsiteX0" fmla="*/ 0 w 975227"/>
              <a:gd name="connsiteY0" fmla="*/ 140494 h 270663"/>
              <a:gd name="connsiteX1" fmla="*/ 126206 w 975227"/>
              <a:gd name="connsiteY1" fmla="*/ 157163 h 270663"/>
              <a:gd name="connsiteX2" fmla="*/ 305760 w 975227"/>
              <a:gd name="connsiteY2" fmla="*/ 149654 h 270663"/>
              <a:gd name="connsiteX3" fmla="*/ 523875 w 975227"/>
              <a:gd name="connsiteY3" fmla="*/ 114300 h 270663"/>
              <a:gd name="connsiteX4" fmla="*/ 695325 w 975227"/>
              <a:gd name="connsiteY4" fmla="*/ 83344 h 270663"/>
              <a:gd name="connsiteX5" fmla="*/ 945356 w 975227"/>
              <a:gd name="connsiteY5" fmla="*/ 0 h 270663"/>
              <a:gd name="connsiteX6" fmla="*/ 975227 w 975227"/>
              <a:gd name="connsiteY6" fmla="*/ 54731 h 270663"/>
              <a:gd name="connsiteX7" fmla="*/ 890587 w 975227"/>
              <a:gd name="connsiteY7" fmla="*/ 114513 h 270663"/>
              <a:gd name="connsiteX8" fmla="*/ 748896 w 975227"/>
              <a:gd name="connsiteY8" fmla="*/ 181069 h 270663"/>
              <a:gd name="connsiteX9" fmla="*/ 611432 w 975227"/>
              <a:gd name="connsiteY9" fmla="*/ 213621 h 270663"/>
              <a:gd name="connsiteX10" fmla="*/ 451522 w 975227"/>
              <a:gd name="connsiteY10" fmla="*/ 242384 h 270663"/>
              <a:gd name="connsiteX11" fmla="*/ 301547 w 975227"/>
              <a:gd name="connsiteY11" fmla="*/ 270543 h 270663"/>
              <a:gd name="connsiteX12" fmla="*/ 120452 w 975227"/>
              <a:gd name="connsiteY12" fmla="*/ 250128 h 270663"/>
              <a:gd name="connsiteX13" fmla="*/ 10293 w 975227"/>
              <a:gd name="connsiteY13" fmla="*/ 203287 h 270663"/>
              <a:gd name="connsiteX14" fmla="*/ 0 w 975227"/>
              <a:gd name="connsiteY14" fmla="*/ 140494 h 270663"/>
              <a:gd name="connsiteX0" fmla="*/ 0 w 975227"/>
              <a:gd name="connsiteY0" fmla="*/ 140494 h 270663"/>
              <a:gd name="connsiteX1" fmla="*/ 126206 w 975227"/>
              <a:gd name="connsiteY1" fmla="*/ 157163 h 270663"/>
              <a:gd name="connsiteX2" fmla="*/ 305760 w 975227"/>
              <a:gd name="connsiteY2" fmla="*/ 149654 h 270663"/>
              <a:gd name="connsiteX3" fmla="*/ 523875 w 975227"/>
              <a:gd name="connsiteY3" fmla="*/ 114300 h 270663"/>
              <a:gd name="connsiteX4" fmla="*/ 695325 w 975227"/>
              <a:gd name="connsiteY4" fmla="*/ 83344 h 270663"/>
              <a:gd name="connsiteX5" fmla="*/ 945356 w 975227"/>
              <a:gd name="connsiteY5" fmla="*/ 0 h 270663"/>
              <a:gd name="connsiteX6" fmla="*/ 975227 w 975227"/>
              <a:gd name="connsiteY6" fmla="*/ 54731 h 270663"/>
              <a:gd name="connsiteX7" fmla="*/ 890587 w 975227"/>
              <a:gd name="connsiteY7" fmla="*/ 114513 h 270663"/>
              <a:gd name="connsiteX8" fmla="*/ 751020 w 975227"/>
              <a:gd name="connsiteY8" fmla="*/ 169644 h 270663"/>
              <a:gd name="connsiteX9" fmla="*/ 611432 w 975227"/>
              <a:gd name="connsiteY9" fmla="*/ 213621 h 270663"/>
              <a:gd name="connsiteX10" fmla="*/ 451522 w 975227"/>
              <a:gd name="connsiteY10" fmla="*/ 242384 h 270663"/>
              <a:gd name="connsiteX11" fmla="*/ 301547 w 975227"/>
              <a:gd name="connsiteY11" fmla="*/ 270543 h 270663"/>
              <a:gd name="connsiteX12" fmla="*/ 120452 w 975227"/>
              <a:gd name="connsiteY12" fmla="*/ 250128 h 270663"/>
              <a:gd name="connsiteX13" fmla="*/ 10293 w 975227"/>
              <a:gd name="connsiteY13" fmla="*/ 203287 h 270663"/>
              <a:gd name="connsiteX14" fmla="*/ 0 w 975227"/>
              <a:gd name="connsiteY14" fmla="*/ 140494 h 270663"/>
              <a:gd name="connsiteX0" fmla="*/ 0 w 975227"/>
              <a:gd name="connsiteY0" fmla="*/ 140494 h 270663"/>
              <a:gd name="connsiteX1" fmla="*/ 126206 w 975227"/>
              <a:gd name="connsiteY1" fmla="*/ 157163 h 270663"/>
              <a:gd name="connsiteX2" fmla="*/ 305760 w 975227"/>
              <a:gd name="connsiteY2" fmla="*/ 149654 h 270663"/>
              <a:gd name="connsiteX3" fmla="*/ 523875 w 975227"/>
              <a:gd name="connsiteY3" fmla="*/ 114300 h 270663"/>
              <a:gd name="connsiteX4" fmla="*/ 695325 w 975227"/>
              <a:gd name="connsiteY4" fmla="*/ 83344 h 270663"/>
              <a:gd name="connsiteX5" fmla="*/ 945356 w 975227"/>
              <a:gd name="connsiteY5" fmla="*/ 0 h 270663"/>
              <a:gd name="connsiteX6" fmla="*/ 975227 w 975227"/>
              <a:gd name="connsiteY6" fmla="*/ 54731 h 270663"/>
              <a:gd name="connsiteX7" fmla="*/ 892712 w 975227"/>
              <a:gd name="connsiteY7" fmla="*/ 107985 h 270663"/>
              <a:gd name="connsiteX8" fmla="*/ 751020 w 975227"/>
              <a:gd name="connsiteY8" fmla="*/ 169644 h 270663"/>
              <a:gd name="connsiteX9" fmla="*/ 611432 w 975227"/>
              <a:gd name="connsiteY9" fmla="*/ 213621 h 270663"/>
              <a:gd name="connsiteX10" fmla="*/ 451522 w 975227"/>
              <a:gd name="connsiteY10" fmla="*/ 242384 h 270663"/>
              <a:gd name="connsiteX11" fmla="*/ 301547 w 975227"/>
              <a:gd name="connsiteY11" fmla="*/ 270543 h 270663"/>
              <a:gd name="connsiteX12" fmla="*/ 120452 w 975227"/>
              <a:gd name="connsiteY12" fmla="*/ 250128 h 270663"/>
              <a:gd name="connsiteX13" fmla="*/ 10293 w 975227"/>
              <a:gd name="connsiteY13" fmla="*/ 203287 h 270663"/>
              <a:gd name="connsiteX14" fmla="*/ 0 w 975227"/>
              <a:gd name="connsiteY14" fmla="*/ 140494 h 270663"/>
              <a:gd name="connsiteX0" fmla="*/ 0 w 975227"/>
              <a:gd name="connsiteY0" fmla="*/ 140494 h 260140"/>
              <a:gd name="connsiteX1" fmla="*/ 126206 w 975227"/>
              <a:gd name="connsiteY1" fmla="*/ 157163 h 260140"/>
              <a:gd name="connsiteX2" fmla="*/ 305760 w 975227"/>
              <a:gd name="connsiteY2" fmla="*/ 149654 h 260140"/>
              <a:gd name="connsiteX3" fmla="*/ 523875 w 975227"/>
              <a:gd name="connsiteY3" fmla="*/ 114300 h 260140"/>
              <a:gd name="connsiteX4" fmla="*/ 695325 w 975227"/>
              <a:gd name="connsiteY4" fmla="*/ 83344 h 260140"/>
              <a:gd name="connsiteX5" fmla="*/ 945356 w 975227"/>
              <a:gd name="connsiteY5" fmla="*/ 0 h 260140"/>
              <a:gd name="connsiteX6" fmla="*/ 975227 w 975227"/>
              <a:gd name="connsiteY6" fmla="*/ 54731 h 260140"/>
              <a:gd name="connsiteX7" fmla="*/ 892712 w 975227"/>
              <a:gd name="connsiteY7" fmla="*/ 107985 h 260140"/>
              <a:gd name="connsiteX8" fmla="*/ 751020 w 975227"/>
              <a:gd name="connsiteY8" fmla="*/ 169644 h 260140"/>
              <a:gd name="connsiteX9" fmla="*/ 611432 w 975227"/>
              <a:gd name="connsiteY9" fmla="*/ 213621 h 260140"/>
              <a:gd name="connsiteX10" fmla="*/ 451522 w 975227"/>
              <a:gd name="connsiteY10" fmla="*/ 242384 h 260140"/>
              <a:gd name="connsiteX11" fmla="*/ 293051 w 975227"/>
              <a:gd name="connsiteY11" fmla="*/ 259118 h 260140"/>
              <a:gd name="connsiteX12" fmla="*/ 120452 w 975227"/>
              <a:gd name="connsiteY12" fmla="*/ 250128 h 260140"/>
              <a:gd name="connsiteX13" fmla="*/ 10293 w 975227"/>
              <a:gd name="connsiteY13" fmla="*/ 203287 h 260140"/>
              <a:gd name="connsiteX14" fmla="*/ 0 w 975227"/>
              <a:gd name="connsiteY14" fmla="*/ 140494 h 260140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5760 w 975227"/>
              <a:gd name="connsiteY2" fmla="*/ 149654 h 259118"/>
              <a:gd name="connsiteX3" fmla="*/ 523875 w 975227"/>
              <a:gd name="connsiteY3" fmla="*/ 114300 h 259118"/>
              <a:gd name="connsiteX4" fmla="*/ 695325 w 975227"/>
              <a:gd name="connsiteY4" fmla="*/ 83344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203287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5760 w 975227"/>
              <a:gd name="connsiteY2" fmla="*/ 149654 h 259118"/>
              <a:gd name="connsiteX3" fmla="*/ 523875 w 975227"/>
              <a:gd name="connsiteY3" fmla="*/ 114300 h 259118"/>
              <a:gd name="connsiteX4" fmla="*/ 695325 w 975227"/>
              <a:gd name="connsiteY4" fmla="*/ 83344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4551 h 259118"/>
              <a:gd name="connsiteX3" fmla="*/ 523875 w 975227"/>
              <a:gd name="connsiteY3" fmla="*/ 114300 h 259118"/>
              <a:gd name="connsiteX4" fmla="*/ 695325 w 975227"/>
              <a:gd name="connsiteY4" fmla="*/ 83344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4551 h 259118"/>
              <a:gd name="connsiteX3" fmla="*/ 523875 w 975227"/>
              <a:gd name="connsiteY3" fmla="*/ 124093 h 259118"/>
              <a:gd name="connsiteX4" fmla="*/ 695325 w 975227"/>
              <a:gd name="connsiteY4" fmla="*/ 83344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4551 h 259118"/>
              <a:gd name="connsiteX3" fmla="*/ 523875 w 975227"/>
              <a:gd name="connsiteY3" fmla="*/ 124093 h 259118"/>
              <a:gd name="connsiteX4" fmla="*/ 701696 w 975227"/>
              <a:gd name="connsiteY4" fmla="*/ 86608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4551 h 259118"/>
              <a:gd name="connsiteX3" fmla="*/ 523875 w 975227"/>
              <a:gd name="connsiteY3" fmla="*/ 124093 h 259118"/>
              <a:gd name="connsiteX4" fmla="*/ 703821 w 975227"/>
              <a:gd name="connsiteY4" fmla="*/ 94769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4551 h 259118"/>
              <a:gd name="connsiteX3" fmla="*/ 523875 w 975227"/>
              <a:gd name="connsiteY3" fmla="*/ 132254 h 259118"/>
              <a:gd name="connsiteX4" fmla="*/ 703821 w 975227"/>
              <a:gd name="connsiteY4" fmla="*/ 94769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9447 h 259118"/>
              <a:gd name="connsiteX3" fmla="*/ 523875 w 975227"/>
              <a:gd name="connsiteY3" fmla="*/ 132254 h 259118"/>
              <a:gd name="connsiteX4" fmla="*/ 703821 w 975227"/>
              <a:gd name="connsiteY4" fmla="*/ 94769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9447 h 259118"/>
              <a:gd name="connsiteX3" fmla="*/ 523875 w 975227"/>
              <a:gd name="connsiteY3" fmla="*/ 132254 h 259118"/>
              <a:gd name="connsiteX4" fmla="*/ 703821 w 975227"/>
              <a:gd name="connsiteY4" fmla="*/ 94769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9447 h 259118"/>
              <a:gd name="connsiteX3" fmla="*/ 523875 w 975227"/>
              <a:gd name="connsiteY3" fmla="*/ 132254 h 259118"/>
              <a:gd name="connsiteX4" fmla="*/ 722937 w 975227"/>
              <a:gd name="connsiteY4" fmla="*/ 91504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9447 h 259118"/>
              <a:gd name="connsiteX3" fmla="*/ 523875 w 975227"/>
              <a:gd name="connsiteY3" fmla="*/ 132254 h 259118"/>
              <a:gd name="connsiteX4" fmla="*/ 771790 w 975227"/>
              <a:gd name="connsiteY4" fmla="*/ 75182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9447 h 259118"/>
              <a:gd name="connsiteX3" fmla="*/ 523875 w 975227"/>
              <a:gd name="connsiteY3" fmla="*/ 132254 h 259118"/>
              <a:gd name="connsiteX4" fmla="*/ 771790 w 975227"/>
              <a:gd name="connsiteY4" fmla="*/ 75182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  <a:gd name="connsiteX0" fmla="*/ 0 w 975227"/>
              <a:gd name="connsiteY0" fmla="*/ 140494 h 259118"/>
              <a:gd name="connsiteX1" fmla="*/ 126206 w 975227"/>
              <a:gd name="connsiteY1" fmla="*/ 157163 h 259118"/>
              <a:gd name="connsiteX2" fmla="*/ 307883 w 975227"/>
              <a:gd name="connsiteY2" fmla="*/ 159447 h 259118"/>
              <a:gd name="connsiteX3" fmla="*/ 523875 w 975227"/>
              <a:gd name="connsiteY3" fmla="*/ 132254 h 259118"/>
              <a:gd name="connsiteX4" fmla="*/ 771790 w 975227"/>
              <a:gd name="connsiteY4" fmla="*/ 75182 h 259118"/>
              <a:gd name="connsiteX5" fmla="*/ 945356 w 975227"/>
              <a:gd name="connsiteY5" fmla="*/ 0 h 259118"/>
              <a:gd name="connsiteX6" fmla="*/ 975227 w 975227"/>
              <a:gd name="connsiteY6" fmla="*/ 54731 h 259118"/>
              <a:gd name="connsiteX7" fmla="*/ 892712 w 975227"/>
              <a:gd name="connsiteY7" fmla="*/ 107985 h 259118"/>
              <a:gd name="connsiteX8" fmla="*/ 751020 w 975227"/>
              <a:gd name="connsiteY8" fmla="*/ 169644 h 259118"/>
              <a:gd name="connsiteX9" fmla="*/ 611432 w 975227"/>
              <a:gd name="connsiteY9" fmla="*/ 213621 h 259118"/>
              <a:gd name="connsiteX10" fmla="*/ 451522 w 975227"/>
              <a:gd name="connsiteY10" fmla="*/ 242384 h 259118"/>
              <a:gd name="connsiteX11" fmla="*/ 293051 w 975227"/>
              <a:gd name="connsiteY11" fmla="*/ 259118 h 259118"/>
              <a:gd name="connsiteX12" fmla="*/ 118327 w 975227"/>
              <a:gd name="connsiteY12" fmla="*/ 241968 h 259118"/>
              <a:gd name="connsiteX13" fmla="*/ 10293 w 975227"/>
              <a:gd name="connsiteY13" fmla="*/ 193494 h 259118"/>
              <a:gd name="connsiteX14" fmla="*/ 0 w 975227"/>
              <a:gd name="connsiteY14" fmla="*/ 140494 h 259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75227" h="259118">
                <a:moveTo>
                  <a:pt x="0" y="140494"/>
                </a:moveTo>
                <a:cubicBezTo>
                  <a:pt x="18965" y="130358"/>
                  <a:pt x="74892" y="154004"/>
                  <a:pt x="126206" y="157163"/>
                </a:cubicBezTo>
                <a:cubicBezTo>
                  <a:pt x="177520" y="160322"/>
                  <a:pt x="241605" y="163599"/>
                  <a:pt x="307883" y="159447"/>
                </a:cubicBezTo>
                <a:cubicBezTo>
                  <a:pt x="374161" y="155296"/>
                  <a:pt x="446557" y="146298"/>
                  <a:pt x="523875" y="132254"/>
                </a:cubicBezTo>
                <a:cubicBezTo>
                  <a:pt x="601193" y="118210"/>
                  <a:pt x="661186" y="108649"/>
                  <a:pt x="771790" y="75182"/>
                </a:cubicBezTo>
                <a:cubicBezTo>
                  <a:pt x="882394" y="41715"/>
                  <a:pt x="881128" y="37574"/>
                  <a:pt x="945356" y="0"/>
                </a:cubicBezTo>
                <a:lnTo>
                  <a:pt x="975227" y="54731"/>
                </a:lnTo>
                <a:cubicBezTo>
                  <a:pt x="966099" y="77353"/>
                  <a:pt x="930080" y="88833"/>
                  <a:pt x="892712" y="107985"/>
                </a:cubicBezTo>
                <a:cubicBezTo>
                  <a:pt x="855344" y="127137"/>
                  <a:pt x="797900" y="152038"/>
                  <a:pt x="751020" y="169644"/>
                </a:cubicBezTo>
                <a:cubicBezTo>
                  <a:pt x="704140" y="187250"/>
                  <a:pt x="661348" y="201498"/>
                  <a:pt x="611432" y="213621"/>
                </a:cubicBezTo>
                <a:cubicBezTo>
                  <a:pt x="561516" y="225744"/>
                  <a:pt x="504586" y="234801"/>
                  <a:pt x="451522" y="242384"/>
                </a:cubicBezTo>
                <a:cubicBezTo>
                  <a:pt x="398459" y="249967"/>
                  <a:pt x="348583" y="259187"/>
                  <a:pt x="293051" y="259118"/>
                </a:cubicBezTo>
                <a:cubicBezTo>
                  <a:pt x="237519" y="259049"/>
                  <a:pt x="168885" y="254454"/>
                  <a:pt x="118327" y="241968"/>
                </a:cubicBezTo>
                <a:lnTo>
                  <a:pt x="10293" y="193494"/>
                </a:lnTo>
                <a:lnTo>
                  <a:pt x="0" y="140494"/>
                </a:lnTo>
                <a:close/>
              </a:path>
            </a:pathLst>
          </a:custGeom>
          <a:solidFill>
            <a:srgbClr val="FEFCFD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8301CD0-C0DC-4160-9133-8455331B5C76}"/>
              </a:ext>
            </a:extLst>
          </p:cNvPr>
          <p:cNvSpPr/>
          <p:nvPr/>
        </p:nvSpPr>
        <p:spPr bwMode="auto">
          <a:xfrm rot="599843">
            <a:off x="4716073" y="5341632"/>
            <a:ext cx="703739" cy="236808"/>
          </a:xfrm>
          <a:custGeom>
            <a:avLst/>
            <a:gdLst>
              <a:gd name="connsiteX0" fmla="*/ 0 w 821532"/>
              <a:gd name="connsiteY0" fmla="*/ 104775 h 197643"/>
              <a:gd name="connsiteX1" fmla="*/ 161925 w 821532"/>
              <a:gd name="connsiteY1" fmla="*/ 154781 h 197643"/>
              <a:gd name="connsiteX2" fmla="*/ 371475 w 821532"/>
              <a:gd name="connsiteY2" fmla="*/ 154781 h 197643"/>
              <a:gd name="connsiteX3" fmla="*/ 566738 w 821532"/>
              <a:gd name="connsiteY3" fmla="*/ 104775 h 197643"/>
              <a:gd name="connsiteX4" fmla="*/ 821532 w 821532"/>
              <a:gd name="connsiteY4" fmla="*/ 0 h 197643"/>
              <a:gd name="connsiteX5" fmla="*/ 738188 w 821532"/>
              <a:gd name="connsiteY5" fmla="*/ 97631 h 197643"/>
              <a:gd name="connsiteX6" fmla="*/ 554832 w 821532"/>
              <a:gd name="connsiteY6" fmla="*/ 154781 h 197643"/>
              <a:gd name="connsiteX7" fmla="*/ 347663 w 821532"/>
              <a:gd name="connsiteY7" fmla="*/ 195262 h 197643"/>
              <a:gd name="connsiteX8" fmla="*/ 190500 w 821532"/>
              <a:gd name="connsiteY8" fmla="*/ 197643 h 197643"/>
              <a:gd name="connsiteX9" fmla="*/ 0 w 821532"/>
              <a:gd name="connsiteY9" fmla="*/ 104775 h 197643"/>
              <a:gd name="connsiteX0" fmla="*/ 0 w 821532"/>
              <a:gd name="connsiteY0" fmla="*/ 104775 h 205400"/>
              <a:gd name="connsiteX1" fmla="*/ 161925 w 821532"/>
              <a:gd name="connsiteY1" fmla="*/ 154781 h 205400"/>
              <a:gd name="connsiteX2" fmla="*/ 371475 w 821532"/>
              <a:gd name="connsiteY2" fmla="*/ 154781 h 205400"/>
              <a:gd name="connsiteX3" fmla="*/ 566738 w 821532"/>
              <a:gd name="connsiteY3" fmla="*/ 104775 h 205400"/>
              <a:gd name="connsiteX4" fmla="*/ 821532 w 821532"/>
              <a:gd name="connsiteY4" fmla="*/ 0 h 205400"/>
              <a:gd name="connsiteX5" fmla="*/ 738188 w 821532"/>
              <a:gd name="connsiteY5" fmla="*/ 97631 h 205400"/>
              <a:gd name="connsiteX6" fmla="*/ 554832 w 821532"/>
              <a:gd name="connsiteY6" fmla="*/ 154781 h 205400"/>
              <a:gd name="connsiteX7" fmla="*/ 347663 w 821532"/>
              <a:gd name="connsiteY7" fmla="*/ 195262 h 205400"/>
              <a:gd name="connsiteX8" fmla="*/ 190500 w 821532"/>
              <a:gd name="connsiteY8" fmla="*/ 197643 h 205400"/>
              <a:gd name="connsiteX9" fmla="*/ 0 w 821532"/>
              <a:gd name="connsiteY9" fmla="*/ 104775 h 205400"/>
              <a:gd name="connsiteX0" fmla="*/ 0 w 821532"/>
              <a:gd name="connsiteY0" fmla="*/ 104775 h 201523"/>
              <a:gd name="connsiteX1" fmla="*/ 161925 w 821532"/>
              <a:gd name="connsiteY1" fmla="*/ 154781 h 201523"/>
              <a:gd name="connsiteX2" fmla="*/ 371475 w 821532"/>
              <a:gd name="connsiteY2" fmla="*/ 154781 h 201523"/>
              <a:gd name="connsiteX3" fmla="*/ 566738 w 821532"/>
              <a:gd name="connsiteY3" fmla="*/ 104775 h 201523"/>
              <a:gd name="connsiteX4" fmla="*/ 821532 w 821532"/>
              <a:gd name="connsiteY4" fmla="*/ 0 h 201523"/>
              <a:gd name="connsiteX5" fmla="*/ 738188 w 821532"/>
              <a:gd name="connsiteY5" fmla="*/ 97631 h 201523"/>
              <a:gd name="connsiteX6" fmla="*/ 554832 w 821532"/>
              <a:gd name="connsiteY6" fmla="*/ 154781 h 201523"/>
              <a:gd name="connsiteX7" fmla="*/ 347663 w 821532"/>
              <a:gd name="connsiteY7" fmla="*/ 195262 h 201523"/>
              <a:gd name="connsiteX8" fmla="*/ 173508 w 821532"/>
              <a:gd name="connsiteY8" fmla="*/ 191115 h 201523"/>
              <a:gd name="connsiteX9" fmla="*/ 0 w 821532"/>
              <a:gd name="connsiteY9" fmla="*/ 104775 h 201523"/>
              <a:gd name="connsiteX0" fmla="*/ 0 w 821532"/>
              <a:gd name="connsiteY0" fmla="*/ 104775 h 201117"/>
              <a:gd name="connsiteX1" fmla="*/ 161925 w 821532"/>
              <a:gd name="connsiteY1" fmla="*/ 154781 h 201117"/>
              <a:gd name="connsiteX2" fmla="*/ 371475 w 821532"/>
              <a:gd name="connsiteY2" fmla="*/ 154781 h 201117"/>
              <a:gd name="connsiteX3" fmla="*/ 566738 w 821532"/>
              <a:gd name="connsiteY3" fmla="*/ 104775 h 201117"/>
              <a:gd name="connsiteX4" fmla="*/ 821532 w 821532"/>
              <a:gd name="connsiteY4" fmla="*/ 0 h 201117"/>
              <a:gd name="connsiteX5" fmla="*/ 738188 w 821532"/>
              <a:gd name="connsiteY5" fmla="*/ 97631 h 201117"/>
              <a:gd name="connsiteX6" fmla="*/ 554832 w 821532"/>
              <a:gd name="connsiteY6" fmla="*/ 154781 h 201117"/>
              <a:gd name="connsiteX7" fmla="*/ 347663 w 821532"/>
              <a:gd name="connsiteY7" fmla="*/ 195262 h 201117"/>
              <a:gd name="connsiteX8" fmla="*/ 173508 w 821532"/>
              <a:gd name="connsiteY8" fmla="*/ 191115 h 201117"/>
              <a:gd name="connsiteX9" fmla="*/ 0 w 821532"/>
              <a:gd name="connsiteY9" fmla="*/ 104775 h 201117"/>
              <a:gd name="connsiteX0" fmla="*/ 0 w 821532"/>
              <a:gd name="connsiteY0" fmla="*/ 104775 h 203073"/>
              <a:gd name="connsiteX1" fmla="*/ 161925 w 821532"/>
              <a:gd name="connsiteY1" fmla="*/ 154781 h 203073"/>
              <a:gd name="connsiteX2" fmla="*/ 371475 w 821532"/>
              <a:gd name="connsiteY2" fmla="*/ 154781 h 203073"/>
              <a:gd name="connsiteX3" fmla="*/ 566738 w 821532"/>
              <a:gd name="connsiteY3" fmla="*/ 104775 h 203073"/>
              <a:gd name="connsiteX4" fmla="*/ 821532 w 821532"/>
              <a:gd name="connsiteY4" fmla="*/ 0 h 203073"/>
              <a:gd name="connsiteX5" fmla="*/ 738188 w 821532"/>
              <a:gd name="connsiteY5" fmla="*/ 97631 h 203073"/>
              <a:gd name="connsiteX6" fmla="*/ 554832 w 821532"/>
              <a:gd name="connsiteY6" fmla="*/ 154781 h 203073"/>
              <a:gd name="connsiteX7" fmla="*/ 351911 w 821532"/>
              <a:gd name="connsiteY7" fmla="*/ 198526 h 203073"/>
              <a:gd name="connsiteX8" fmla="*/ 173508 w 821532"/>
              <a:gd name="connsiteY8" fmla="*/ 191115 h 203073"/>
              <a:gd name="connsiteX9" fmla="*/ 0 w 821532"/>
              <a:gd name="connsiteY9" fmla="*/ 104775 h 203073"/>
              <a:gd name="connsiteX0" fmla="*/ 0 w 821532"/>
              <a:gd name="connsiteY0" fmla="*/ 104775 h 203073"/>
              <a:gd name="connsiteX1" fmla="*/ 161925 w 821532"/>
              <a:gd name="connsiteY1" fmla="*/ 154781 h 203073"/>
              <a:gd name="connsiteX2" fmla="*/ 371475 w 821532"/>
              <a:gd name="connsiteY2" fmla="*/ 154781 h 203073"/>
              <a:gd name="connsiteX3" fmla="*/ 566738 w 821532"/>
              <a:gd name="connsiteY3" fmla="*/ 104775 h 203073"/>
              <a:gd name="connsiteX4" fmla="*/ 821532 w 821532"/>
              <a:gd name="connsiteY4" fmla="*/ 0 h 203073"/>
              <a:gd name="connsiteX5" fmla="*/ 738188 w 821532"/>
              <a:gd name="connsiteY5" fmla="*/ 97631 h 203073"/>
              <a:gd name="connsiteX6" fmla="*/ 554832 w 821532"/>
              <a:gd name="connsiteY6" fmla="*/ 154781 h 203073"/>
              <a:gd name="connsiteX7" fmla="*/ 351911 w 821532"/>
              <a:gd name="connsiteY7" fmla="*/ 198526 h 203073"/>
              <a:gd name="connsiteX8" fmla="*/ 173508 w 821532"/>
              <a:gd name="connsiteY8" fmla="*/ 191115 h 203073"/>
              <a:gd name="connsiteX9" fmla="*/ 0 w 821532"/>
              <a:gd name="connsiteY9" fmla="*/ 104775 h 203073"/>
              <a:gd name="connsiteX0" fmla="*/ 0 w 821532"/>
              <a:gd name="connsiteY0" fmla="*/ 104775 h 202735"/>
              <a:gd name="connsiteX1" fmla="*/ 161925 w 821532"/>
              <a:gd name="connsiteY1" fmla="*/ 154781 h 202735"/>
              <a:gd name="connsiteX2" fmla="*/ 371475 w 821532"/>
              <a:gd name="connsiteY2" fmla="*/ 154781 h 202735"/>
              <a:gd name="connsiteX3" fmla="*/ 566738 w 821532"/>
              <a:gd name="connsiteY3" fmla="*/ 104775 h 202735"/>
              <a:gd name="connsiteX4" fmla="*/ 821532 w 821532"/>
              <a:gd name="connsiteY4" fmla="*/ 0 h 202735"/>
              <a:gd name="connsiteX5" fmla="*/ 738188 w 821532"/>
              <a:gd name="connsiteY5" fmla="*/ 97631 h 202735"/>
              <a:gd name="connsiteX6" fmla="*/ 544212 w 821532"/>
              <a:gd name="connsiteY6" fmla="*/ 159678 h 202735"/>
              <a:gd name="connsiteX7" fmla="*/ 351911 w 821532"/>
              <a:gd name="connsiteY7" fmla="*/ 198526 h 202735"/>
              <a:gd name="connsiteX8" fmla="*/ 173508 w 821532"/>
              <a:gd name="connsiteY8" fmla="*/ 191115 h 202735"/>
              <a:gd name="connsiteX9" fmla="*/ 0 w 821532"/>
              <a:gd name="connsiteY9" fmla="*/ 104775 h 202735"/>
              <a:gd name="connsiteX0" fmla="*/ 0 w 821532"/>
              <a:gd name="connsiteY0" fmla="*/ 104775 h 202735"/>
              <a:gd name="connsiteX1" fmla="*/ 161925 w 821532"/>
              <a:gd name="connsiteY1" fmla="*/ 154781 h 202735"/>
              <a:gd name="connsiteX2" fmla="*/ 371475 w 821532"/>
              <a:gd name="connsiteY2" fmla="*/ 154781 h 202735"/>
              <a:gd name="connsiteX3" fmla="*/ 566738 w 821532"/>
              <a:gd name="connsiteY3" fmla="*/ 104775 h 202735"/>
              <a:gd name="connsiteX4" fmla="*/ 821532 w 821532"/>
              <a:gd name="connsiteY4" fmla="*/ 0 h 202735"/>
              <a:gd name="connsiteX5" fmla="*/ 738188 w 821532"/>
              <a:gd name="connsiteY5" fmla="*/ 97631 h 202735"/>
              <a:gd name="connsiteX6" fmla="*/ 544212 w 821532"/>
              <a:gd name="connsiteY6" fmla="*/ 159678 h 202735"/>
              <a:gd name="connsiteX7" fmla="*/ 351911 w 821532"/>
              <a:gd name="connsiteY7" fmla="*/ 198526 h 202735"/>
              <a:gd name="connsiteX8" fmla="*/ 173508 w 821532"/>
              <a:gd name="connsiteY8" fmla="*/ 191115 h 202735"/>
              <a:gd name="connsiteX9" fmla="*/ 0 w 821532"/>
              <a:gd name="connsiteY9" fmla="*/ 104775 h 202735"/>
              <a:gd name="connsiteX0" fmla="*/ 0 w 821532"/>
              <a:gd name="connsiteY0" fmla="*/ 104775 h 202291"/>
              <a:gd name="connsiteX1" fmla="*/ 161925 w 821532"/>
              <a:gd name="connsiteY1" fmla="*/ 154781 h 202291"/>
              <a:gd name="connsiteX2" fmla="*/ 371475 w 821532"/>
              <a:gd name="connsiteY2" fmla="*/ 154781 h 202291"/>
              <a:gd name="connsiteX3" fmla="*/ 566738 w 821532"/>
              <a:gd name="connsiteY3" fmla="*/ 104775 h 202291"/>
              <a:gd name="connsiteX4" fmla="*/ 821532 w 821532"/>
              <a:gd name="connsiteY4" fmla="*/ 0 h 202291"/>
              <a:gd name="connsiteX5" fmla="*/ 738188 w 821532"/>
              <a:gd name="connsiteY5" fmla="*/ 97631 h 202291"/>
              <a:gd name="connsiteX6" fmla="*/ 546337 w 821532"/>
              <a:gd name="connsiteY6" fmla="*/ 166207 h 202291"/>
              <a:gd name="connsiteX7" fmla="*/ 351911 w 821532"/>
              <a:gd name="connsiteY7" fmla="*/ 198526 h 202291"/>
              <a:gd name="connsiteX8" fmla="*/ 173508 w 821532"/>
              <a:gd name="connsiteY8" fmla="*/ 191115 h 202291"/>
              <a:gd name="connsiteX9" fmla="*/ 0 w 821532"/>
              <a:gd name="connsiteY9" fmla="*/ 104775 h 202291"/>
              <a:gd name="connsiteX0" fmla="*/ 0 w 828465"/>
              <a:gd name="connsiteY0" fmla="*/ 104789 h 202305"/>
              <a:gd name="connsiteX1" fmla="*/ 161925 w 828465"/>
              <a:gd name="connsiteY1" fmla="*/ 154795 h 202305"/>
              <a:gd name="connsiteX2" fmla="*/ 371475 w 828465"/>
              <a:gd name="connsiteY2" fmla="*/ 154795 h 202305"/>
              <a:gd name="connsiteX3" fmla="*/ 566738 w 828465"/>
              <a:gd name="connsiteY3" fmla="*/ 104789 h 202305"/>
              <a:gd name="connsiteX4" fmla="*/ 821532 w 828465"/>
              <a:gd name="connsiteY4" fmla="*/ 14 h 202305"/>
              <a:gd name="connsiteX5" fmla="*/ 738188 w 828465"/>
              <a:gd name="connsiteY5" fmla="*/ 97645 h 202305"/>
              <a:gd name="connsiteX6" fmla="*/ 546337 w 828465"/>
              <a:gd name="connsiteY6" fmla="*/ 166221 h 202305"/>
              <a:gd name="connsiteX7" fmla="*/ 351911 w 828465"/>
              <a:gd name="connsiteY7" fmla="*/ 198540 h 202305"/>
              <a:gd name="connsiteX8" fmla="*/ 173508 w 828465"/>
              <a:gd name="connsiteY8" fmla="*/ 191129 h 202305"/>
              <a:gd name="connsiteX9" fmla="*/ 0 w 828465"/>
              <a:gd name="connsiteY9" fmla="*/ 104789 h 202305"/>
              <a:gd name="connsiteX0" fmla="*/ 0 w 827496"/>
              <a:gd name="connsiteY0" fmla="*/ 104789 h 202305"/>
              <a:gd name="connsiteX1" fmla="*/ 161925 w 827496"/>
              <a:gd name="connsiteY1" fmla="*/ 154795 h 202305"/>
              <a:gd name="connsiteX2" fmla="*/ 371475 w 827496"/>
              <a:gd name="connsiteY2" fmla="*/ 154795 h 202305"/>
              <a:gd name="connsiteX3" fmla="*/ 566738 w 827496"/>
              <a:gd name="connsiteY3" fmla="*/ 104789 h 202305"/>
              <a:gd name="connsiteX4" fmla="*/ 821532 w 827496"/>
              <a:gd name="connsiteY4" fmla="*/ 14 h 202305"/>
              <a:gd name="connsiteX5" fmla="*/ 723320 w 827496"/>
              <a:gd name="connsiteY5" fmla="*/ 100910 h 202305"/>
              <a:gd name="connsiteX6" fmla="*/ 546337 w 827496"/>
              <a:gd name="connsiteY6" fmla="*/ 166221 h 202305"/>
              <a:gd name="connsiteX7" fmla="*/ 351911 w 827496"/>
              <a:gd name="connsiteY7" fmla="*/ 198540 h 202305"/>
              <a:gd name="connsiteX8" fmla="*/ 173508 w 827496"/>
              <a:gd name="connsiteY8" fmla="*/ 191129 h 202305"/>
              <a:gd name="connsiteX9" fmla="*/ 0 w 827496"/>
              <a:gd name="connsiteY9" fmla="*/ 104789 h 202305"/>
              <a:gd name="connsiteX0" fmla="*/ 0 w 826724"/>
              <a:gd name="connsiteY0" fmla="*/ 104780 h 202296"/>
              <a:gd name="connsiteX1" fmla="*/ 161925 w 826724"/>
              <a:gd name="connsiteY1" fmla="*/ 154786 h 202296"/>
              <a:gd name="connsiteX2" fmla="*/ 371475 w 826724"/>
              <a:gd name="connsiteY2" fmla="*/ 154786 h 202296"/>
              <a:gd name="connsiteX3" fmla="*/ 566738 w 826724"/>
              <a:gd name="connsiteY3" fmla="*/ 104780 h 202296"/>
              <a:gd name="connsiteX4" fmla="*/ 821532 w 826724"/>
              <a:gd name="connsiteY4" fmla="*/ 5 h 202296"/>
              <a:gd name="connsiteX5" fmla="*/ 723320 w 826724"/>
              <a:gd name="connsiteY5" fmla="*/ 100901 h 202296"/>
              <a:gd name="connsiteX6" fmla="*/ 546337 w 826724"/>
              <a:gd name="connsiteY6" fmla="*/ 166212 h 202296"/>
              <a:gd name="connsiteX7" fmla="*/ 351911 w 826724"/>
              <a:gd name="connsiteY7" fmla="*/ 198531 h 202296"/>
              <a:gd name="connsiteX8" fmla="*/ 173508 w 826724"/>
              <a:gd name="connsiteY8" fmla="*/ 191120 h 202296"/>
              <a:gd name="connsiteX9" fmla="*/ 0 w 826724"/>
              <a:gd name="connsiteY9" fmla="*/ 104780 h 202296"/>
              <a:gd name="connsiteX0" fmla="*/ 0 w 830793"/>
              <a:gd name="connsiteY0" fmla="*/ 111307 h 208823"/>
              <a:gd name="connsiteX1" fmla="*/ 161925 w 830793"/>
              <a:gd name="connsiteY1" fmla="*/ 161313 h 208823"/>
              <a:gd name="connsiteX2" fmla="*/ 371475 w 830793"/>
              <a:gd name="connsiteY2" fmla="*/ 161313 h 208823"/>
              <a:gd name="connsiteX3" fmla="*/ 566738 w 830793"/>
              <a:gd name="connsiteY3" fmla="*/ 111307 h 208823"/>
              <a:gd name="connsiteX4" fmla="*/ 825779 w 830793"/>
              <a:gd name="connsiteY4" fmla="*/ 3 h 208823"/>
              <a:gd name="connsiteX5" fmla="*/ 723320 w 830793"/>
              <a:gd name="connsiteY5" fmla="*/ 107428 h 208823"/>
              <a:gd name="connsiteX6" fmla="*/ 546337 w 830793"/>
              <a:gd name="connsiteY6" fmla="*/ 172739 h 208823"/>
              <a:gd name="connsiteX7" fmla="*/ 351911 w 830793"/>
              <a:gd name="connsiteY7" fmla="*/ 205058 h 208823"/>
              <a:gd name="connsiteX8" fmla="*/ 173508 w 830793"/>
              <a:gd name="connsiteY8" fmla="*/ 197647 h 208823"/>
              <a:gd name="connsiteX9" fmla="*/ 0 w 830793"/>
              <a:gd name="connsiteY9" fmla="*/ 111307 h 208823"/>
              <a:gd name="connsiteX0" fmla="*/ 0 w 831438"/>
              <a:gd name="connsiteY0" fmla="*/ 117908 h 215424"/>
              <a:gd name="connsiteX1" fmla="*/ 161925 w 831438"/>
              <a:gd name="connsiteY1" fmla="*/ 167914 h 215424"/>
              <a:gd name="connsiteX2" fmla="*/ 371475 w 831438"/>
              <a:gd name="connsiteY2" fmla="*/ 167914 h 215424"/>
              <a:gd name="connsiteX3" fmla="*/ 566738 w 831438"/>
              <a:gd name="connsiteY3" fmla="*/ 117908 h 215424"/>
              <a:gd name="connsiteX4" fmla="*/ 825779 w 831438"/>
              <a:gd name="connsiteY4" fmla="*/ 6604 h 215424"/>
              <a:gd name="connsiteX5" fmla="*/ 723320 w 831438"/>
              <a:gd name="connsiteY5" fmla="*/ 114029 h 215424"/>
              <a:gd name="connsiteX6" fmla="*/ 546337 w 831438"/>
              <a:gd name="connsiteY6" fmla="*/ 179340 h 215424"/>
              <a:gd name="connsiteX7" fmla="*/ 351911 w 831438"/>
              <a:gd name="connsiteY7" fmla="*/ 211659 h 215424"/>
              <a:gd name="connsiteX8" fmla="*/ 173508 w 831438"/>
              <a:gd name="connsiteY8" fmla="*/ 204248 h 215424"/>
              <a:gd name="connsiteX9" fmla="*/ 0 w 831438"/>
              <a:gd name="connsiteY9" fmla="*/ 117908 h 215424"/>
              <a:gd name="connsiteX0" fmla="*/ 0 w 831438"/>
              <a:gd name="connsiteY0" fmla="*/ 117908 h 215424"/>
              <a:gd name="connsiteX1" fmla="*/ 161925 w 831438"/>
              <a:gd name="connsiteY1" fmla="*/ 167914 h 215424"/>
              <a:gd name="connsiteX2" fmla="*/ 371475 w 831438"/>
              <a:gd name="connsiteY2" fmla="*/ 167914 h 215424"/>
              <a:gd name="connsiteX3" fmla="*/ 566738 w 831438"/>
              <a:gd name="connsiteY3" fmla="*/ 117908 h 215424"/>
              <a:gd name="connsiteX4" fmla="*/ 825779 w 831438"/>
              <a:gd name="connsiteY4" fmla="*/ 6604 h 215424"/>
              <a:gd name="connsiteX5" fmla="*/ 723320 w 831438"/>
              <a:gd name="connsiteY5" fmla="*/ 114029 h 215424"/>
              <a:gd name="connsiteX6" fmla="*/ 546337 w 831438"/>
              <a:gd name="connsiteY6" fmla="*/ 179340 h 215424"/>
              <a:gd name="connsiteX7" fmla="*/ 351911 w 831438"/>
              <a:gd name="connsiteY7" fmla="*/ 211659 h 215424"/>
              <a:gd name="connsiteX8" fmla="*/ 173508 w 831438"/>
              <a:gd name="connsiteY8" fmla="*/ 204248 h 215424"/>
              <a:gd name="connsiteX9" fmla="*/ 0 w 831438"/>
              <a:gd name="connsiteY9" fmla="*/ 117908 h 215424"/>
              <a:gd name="connsiteX0" fmla="*/ 0 w 831438"/>
              <a:gd name="connsiteY0" fmla="*/ 117908 h 215424"/>
              <a:gd name="connsiteX1" fmla="*/ 161925 w 831438"/>
              <a:gd name="connsiteY1" fmla="*/ 167914 h 215424"/>
              <a:gd name="connsiteX2" fmla="*/ 371475 w 831438"/>
              <a:gd name="connsiteY2" fmla="*/ 167914 h 215424"/>
              <a:gd name="connsiteX3" fmla="*/ 566738 w 831438"/>
              <a:gd name="connsiteY3" fmla="*/ 117908 h 215424"/>
              <a:gd name="connsiteX4" fmla="*/ 825779 w 831438"/>
              <a:gd name="connsiteY4" fmla="*/ 6604 h 215424"/>
              <a:gd name="connsiteX5" fmla="*/ 723320 w 831438"/>
              <a:gd name="connsiteY5" fmla="*/ 114029 h 215424"/>
              <a:gd name="connsiteX6" fmla="*/ 546337 w 831438"/>
              <a:gd name="connsiteY6" fmla="*/ 179340 h 215424"/>
              <a:gd name="connsiteX7" fmla="*/ 351911 w 831438"/>
              <a:gd name="connsiteY7" fmla="*/ 211659 h 215424"/>
              <a:gd name="connsiteX8" fmla="*/ 173508 w 831438"/>
              <a:gd name="connsiteY8" fmla="*/ 204248 h 215424"/>
              <a:gd name="connsiteX9" fmla="*/ 0 w 831438"/>
              <a:gd name="connsiteY9" fmla="*/ 117908 h 215424"/>
              <a:gd name="connsiteX0" fmla="*/ 0 w 831438"/>
              <a:gd name="connsiteY0" fmla="*/ 117908 h 215424"/>
              <a:gd name="connsiteX1" fmla="*/ 161925 w 831438"/>
              <a:gd name="connsiteY1" fmla="*/ 167914 h 215424"/>
              <a:gd name="connsiteX2" fmla="*/ 371475 w 831438"/>
              <a:gd name="connsiteY2" fmla="*/ 167914 h 215424"/>
              <a:gd name="connsiteX3" fmla="*/ 566738 w 831438"/>
              <a:gd name="connsiteY3" fmla="*/ 117908 h 215424"/>
              <a:gd name="connsiteX4" fmla="*/ 825779 w 831438"/>
              <a:gd name="connsiteY4" fmla="*/ 6604 h 215424"/>
              <a:gd name="connsiteX5" fmla="*/ 723320 w 831438"/>
              <a:gd name="connsiteY5" fmla="*/ 114029 h 215424"/>
              <a:gd name="connsiteX6" fmla="*/ 546337 w 831438"/>
              <a:gd name="connsiteY6" fmla="*/ 179340 h 215424"/>
              <a:gd name="connsiteX7" fmla="*/ 351911 w 831438"/>
              <a:gd name="connsiteY7" fmla="*/ 211659 h 215424"/>
              <a:gd name="connsiteX8" fmla="*/ 173508 w 831438"/>
              <a:gd name="connsiteY8" fmla="*/ 204248 h 215424"/>
              <a:gd name="connsiteX9" fmla="*/ 0 w 831438"/>
              <a:gd name="connsiteY9" fmla="*/ 117908 h 215424"/>
              <a:gd name="connsiteX0" fmla="*/ 0 w 831438"/>
              <a:gd name="connsiteY0" fmla="*/ 117908 h 215424"/>
              <a:gd name="connsiteX1" fmla="*/ 161925 w 831438"/>
              <a:gd name="connsiteY1" fmla="*/ 167914 h 215424"/>
              <a:gd name="connsiteX2" fmla="*/ 371475 w 831438"/>
              <a:gd name="connsiteY2" fmla="*/ 161386 h 215424"/>
              <a:gd name="connsiteX3" fmla="*/ 566738 w 831438"/>
              <a:gd name="connsiteY3" fmla="*/ 117908 h 215424"/>
              <a:gd name="connsiteX4" fmla="*/ 825779 w 831438"/>
              <a:gd name="connsiteY4" fmla="*/ 6604 h 215424"/>
              <a:gd name="connsiteX5" fmla="*/ 723320 w 831438"/>
              <a:gd name="connsiteY5" fmla="*/ 114029 h 215424"/>
              <a:gd name="connsiteX6" fmla="*/ 546337 w 831438"/>
              <a:gd name="connsiteY6" fmla="*/ 179340 h 215424"/>
              <a:gd name="connsiteX7" fmla="*/ 351911 w 831438"/>
              <a:gd name="connsiteY7" fmla="*/ 211659 h 215424"/>
              <a:gd name="connsiteX8" fmla="*/ 173508 w 831438"/>
              <a:gd name="connsiteY8" fmla="*/ 204248 h 215424"/>
              <a:gd name="connsiteX9" fmla="*/ 0 w 831438"/>
              <a:gd name="connsiteY9" fmla="*/ 117908 h 215424"/>
              <a:gd name="connsiteX0" fmla="*/ 0 w 831438"/>
              <a:gd name="connsiteY0" fmla="*/ 117908 h 215424"/>
              <a:gd name="connsiteX1" fmla="*/ 161925 w 831438"/>
              <a:gd name="connsiteY1" fmla="*/ 167914 h 215424"/>
              <a:gd name="connsiteX2" fmla="*/ 371475 w 831438"/>
              <a:gd name="connsiteY2" fmla="*/ 161386 h 215424"/>
              <a:gd name="connsiteX3" fmla="*/ 566738 w 831438"/>
              <a:gd name="connsiteY3" fmla="*/ 117908 h 215424"/>
              <a:gd name="connsiteX4" fmla="*/ 825779 w 831438"/>
              <a:gd name="connsiteY4" fmla="*/ 6604 h 215424"/>
              <a:gd name="connsiteX5" fmla="*/ 723320 w 831438"/>
              <a:gd name="connsiteY5" fmla="*/ 114029 h 215424"/>
              <a:gd name="connsiteX6" fmla="*/ 546337 w 831438"/>
              <a:gd name="connsiteY6" fmla="*/ 179340 h 215424"/>
              <a:gd name="connsiteX7" fmla="*/ 351911 w 831438"/>
              <a:gd name="connsiteY7" fmla="*/ 211659 h 215424"/>
              <a:gd name="connsiteX8" fmla="*/ 173508 w 831438"/>
              <a:gd name="connsiteY8" fmla="*/ 204248 h 215424"/>
              <a:gd name="connsiteX9" fmla="*/ 0 w 831438"/>
              <a:gd name="connsiteY9" fmla="*/ 117908 h 215424"/>
              <a:gd name="connsiteX0" fmla="*/ 0 w 831438"/>
              <a:gd name="connsiteY0" fmla="*/ 117908 h 215424"/>
              <a:gd name="connsiteX1" fmla="*/ 161925 w 831438"/>
              <a:gd name="connsiteY1" fmla="*/ 167914 h 215424"/>
              <a:gd name="connsiteX2" fmla="*/ 371475 w 831438"/>
              <a:gd name="connsiteY2" fmla="*/ 161386 h 215424"/>
              <a:gd name="connsiteX3" fmla="*/ 566738 w 831438"/>
              <a:gd name="connsiteY3" fmla="*/ 117908 h 215424"/>
              <a:gd name="connsiteX4" fmla="*/ 825779 w 831438"/>
              <a:gd name="connsiteY4" fmla="*/ 6604 h 215424"/>
              <a:gd name="connsiteX5" fmla="*/ 723320 w 831438"/>
              <a:gd name="connsiteY5" fmla="*/ 114029 h 215424"/>
              <a:gd name="connsiteX6" fmla="*/ 546337 w 831438"/>
              <a:gd name="connsiteY6" fmla="*/ 179340 h 215424"/>
              <a:gd name="connsiteX7" fmla="*/ 351911 w 831438"/>
              <a:gd name="connsiteY7" fmla="*/ 211659 h 215424"/>
              <a:gd name="connsiteX8" fmla="*/ 173508 w 831438"/>
              <a:gd name="connsiteY8" fmla="*/ 204248 h 215424"/>
              <a:gd name="connsiteX9" fmla="*/ 0 w 831438"/>
              <a:gd name="connsiteY9" fmla="*/ 117908 h 215424"/>
              <a:gd name="connsiteX0" fmla="*/ 0 w 831438"/>
              <a:gd name="connsiteY0" fmla="*/ 117908 h 215424"/>
              <a:gd name="connsiteX1" fmla="*/ 161925 w 831438"/>
              <a:gd name="connsiteY1" fmla="*/ 161386 h 215424"/>
              <a:gd name="connsiteX2" fmla="*/ 371475 w 831438"/>
              <a:gd name="connsiteY2" fmla="*/ 161386 h 215424"/>
              <a:gd name="connsiteX3" fmla="*/ 566738 w 831438"/>
              <a:gd name="connsiteY3" fmla="*/ 117908 h 215424"/>
              <a:gd name="connsiteX4" fmla="*/ 825779 w 831438"/>
              <a:gd name="connsiteY4" fmla="*/ 6604 h 215424"/>
              <a:gd name="connsiteX5" fmla="*/ 723320 w 831438"/>
              <a:gd name="connsiteY5" fmla="*/ 114029 h 215424"/>
              <a:gd name="connsiteX6" fmla="*/ 546337 w 831438"/>
              <a:gd name="connsiteY6" fmla="*/ 179340 h 215424"/>
              <a:gd name="connsiteX7" fmla="*/ 351911 w 831438"/>
              <a:gd name="connsiteY7" fmla="*/ 211659 h 215424"/>
              <a:gd name="connsiteX8" fmla="*/ 173508 w 831438"/>
              <a:gd name="connsiteY8" fmla="*/ 204248 h 215424"/>
              <a:gd name="connsiteX9" fmla="*/ 0 w 831438"/>
              <a:gd name="connsiteY9" fmla="*/ 117908 h 215424"/>
              <a:gd name="connsiteX0" fmla="*/ 0 w 827852"/>
              <a:gd name="connsiteY0" fmla="*/ 111362 h 208878"/>
              <a:gd name="connsiteX1" fmla="*/ 161925 w 827852"/>
              <a:gd name="connsiteY1" fmla="*/ 154840 h 208878"/>
              <a:gd name="connsiteX2" fmla="*/ 371475 w 827852"/>
              <a:gd name="connsiteY2" fmla="*/ 154840 h 208878"/>
              <a:gd name="connsiteX3" fmla="*/ 632582 w 827852"/>
              <a:gd name="connsiteY3" fmla="*/ 93409 h 208878"/>
              <a:gd name="connsiteX4" fmla="*/ 825779 w 827852"/>
              <a:gd name="connsiteY4" fmla="*/ 58 h 208878"/>
              <a:gd name="connsiteX5" fmla="*/ 723320 w 827852"/>
              <a:gd name="connsiteY5" fmla="*/ 107483 h 208878"/>
              <a:gd name="connsiteX6" fmla="*/ 546337 w 827852"/>
              <a:gd name="connsiteY6" fmla="*/ 172794 h 208878"/>
              <a:gd name="connsiteX7" fmla="*/ 351911 w 827852"/>
              <a:gd name="connsiteY7" fmla="*/ 205113 h 208878"/>
              <a:gd name="connsiteX8" fmla="*/ 173508 w 827852"/>
              <a:gd name="connsiteY8" fmla="*/ 197702 h 208878"/>
              <a:gd name="connsiteX9" fmla="*/ 0 w 827852"/>
              <a:gd name="connsiteY9" fmla="*/ 111362 h 208878"/>
              <a:gd name="connsiteX0" fmla="*/ 0 w 828186"/>
              <a:gd name="connsiteY0" fmla="*/ 111314 h 208830"/>
              <a:gd name="connsiteX1" fmla="*/ 161925 w 828186"/>
              <a:gd name="connsiteY1" fmla="*/ 154792 h 208830"/>
              <a:gd name="connsiteX2" fmla="*/ 371475 w 828186"/>
              <a:gd name="connsiteY2" fmla="*/ 154792 h 208830"/>
              <a:gd name="connsiteX3" fmla="*/ 624086 w 828186"/>
              <a:gd name="connsiteY3" fmla="*/ 101522 h 208830"/>
              <a:gd name="connsiteX4" fmla="*/ 825779 w 828186"/>
              <a:gd name="connsiteY4" fmla="*/ 10 h 208830"/>
              <a:gd name="connsiteX5" fmla="*/ 723320 w 828186"/>
              <a:gd name="connsiteY5" fmla="*/ 107435 h 208830"/>
              <a:gd name="connsiteX6" fmla="*/ 546337 w 828186"/>
              <a:gd name="connsiteY6" fmla="*/ 172746 h 208830"/>
              <a:gd name="connsiteX7" fmla="*/ 351911 w 828186"/>
              <a:gd name="connsiteY7" fmla="*/ 205065 h 208830"/>
              <a:gd name="connsiteX8" fmla="*/ 173508 w 828186"/>
              <a:gd name="connsiteY8" fmla="*/ 197654 h 208830"/>
              <a:gd name="connsiteX9" fmla="*/ 0 w 828186"/>
              <a:gd name="connsiteY9" fmla="*/ 111314 h 208830"/>
              <a:gd name="connsiteX0" fmla="*/ 0 w 828186"/>
              <a:gd name="connsiteY0" fmla="*/ 111314 h 211039"/>
              <a:gd name="connsiteX1" fmla="*/ 161925 w 828186"/>
              <a:gd name="connsiteY1" fmla="*/ 154792 h 211039"/>
              <a:gd name="connsiteX2" fmla="*/ 371475 w 828186"/>
              <a:gd name="connsiteY2" fmla="*/ 154792 h 211039"/>
              <a:gd name="connsiteX3" fmla="*/ 624086 w 828186"/>
              <a:gd name="connsiteY3" fmla="*/ 101522 h 211039"/>
              <a:gd name="connsiteX4" fmla="*/ 825779 w 828186"/>
              <a:gd name="connsiteY4" fmla="*/ 10 h 211039"/>
              <a:gd name="connsiteX5" fmla="*/ 723320 w 828186"/>
              <a:gd name="connsiteY5" fmla="*/ 107435 h 211039"/>
              <a:gd name="connsiteX6" fmla="*/ 546337 w 828186"/>
              <a:gd name="connsiteY6" fmla="*/ 172746 h 211039"/>
              <a:gd name="connsiteX7" fmla="*/ 366779 w 828186"/>
              <a:gd name="connsiteY7" fmla="*/ 208330 h 211039"/>
              <a:gd name="connsiteX8" fmla="*/ 173508 w 828186"/>
              <a:gd name="connsiteY8" fmla="*/ 197654 h 211039"/>
              <a:gd name="connsiteX9" fmla="*/ 0 w 828186"/>
              <a:gd name="connsiteY9" fmla="*/ 111314 h 211039"/>
              <a:gd name="connsiteX0" fmla="*/ 0 w 828186"/>
              <a:gd name="connsiteY0" fmla="*/ 111314 h 207858"/>
              <a:gd name="connsiteX1" fmla="*/ 161925 w 828186"/>
              <a:gd name="connsiteY1" fmla="*/ 154792 h 207858"/>
              <a:gd name="connsiteX2" fmla="*/ 371475 w 828186"/>
              <a:gd name="connsiteY2" fmla="*/ 154792 h 207858"/>
              <a:gd name="connsiteX3" fmla="*/ 624086 w 828186"/>
              <a:gd name="connsiteY3" fmla="*/ 101522 h 207858"/>
              <a:gd name="connsiteX4" fmla="*/ 825779 w 828186"/>
              <a:gd name="connsiteY4" fmla="*/ 10 h 207858"/>
              <a:gd name="connsiteX5" fmla="*/ 723320 w 828186"/>
              <a:gd name="connsiteY5" fmla="*/ 107435 h 207858"/>
              <a:gd name="connsiteX6" fmla="*/ 546337 w 828186"/>
              <a:gd name="connsiteY6" fmla="*/ 172746 h 207858"/>
              <a:gd name="connsiteX7" fmla="*/ 379522 w 828186"/>
              <a:gd name="connsiteY7" fmla="*/ 203434 h 207858"/>
              <a:gd name="connsiteX8" fmla="*/ 173508 w 828186"/>
              <a:gd name="connsiteY8" fmla="*/ 197654 h 207858"/>
              <a:gd name="connsiteX9" fmla="*/ 0 w 828186"/>
              <a:gd name="connsiteY9" fmla="*/ 111314 h 207858"/>
              <a:gd name="connsiteX0" fmla="*/ 0 w 828186"/>
              <a:gd name="connsiteY0" fmla="*/ 111314 h 206232"/>
              <a:gd name="connsiteX1" fmla="*/ 161925 w 828186"/>
              <a:gd name="connsiteY1" fmla="*/ 154792 h 206232"/>
              <a:gd name="connsiteX2" fmla="*/ 371475 w 828186"/>
              <a:gd name="connsiteY2" fmla="*/ 154792 h 206232"/>
              <a:gd name="connsiteX3" fmla="*/ 624086 w 828186"/>
              <a:gd name="connsiteY3" fmla="*/ 101522 h 206232"/>
              <a:gd name="connsiteX4" fmla="*/ 825779 w 828186"/>
              <a:gd name="connsiteY4" fmla="*/ 10 h 206232"/>
              <a:gd name="connsiteX5" fmla="*/ 723320 w 828186"/>
              <a:gd name="connsiteY5" fmla="*/ 107435 h 206232"/>
              <a:gd name="connsiteX6" fmla="*/ 546337 w 828186"/>
              <a:gd name="connsiteY6" fmla="*/ 172746 h 206232"/>
              <a:gd name="connsiteX7" fmla="*/ 379522 w 828186"/>
              <a:gd name="connsiteY7" fmla="*/ 203434 h 206232"/>
              <a:gd name="connsiteX8" fmla="*/ 186252 w 828186"/>
              <a:gd name="connsiteY8" fmla="*/ 194390 h 206232"/>
              <a:gd name="connsiteX9" fmla="*/ 0 w 828186"/>
              <a:gd name="connsiteY9" fmla="*/ 111314 h 206232"/>
              <a:gd name="connsiteX0" fmla="*/ 0 w 851108"/>
              <a:gd name="connsiteY0" fmla="*/ 127633 h 222551"/>
              <a:gd name="connsiteX1" fmla="*/ 161925 w 851108"/>
              <a:gd name="connsiteY1" fmla="*/ 171111 h 222551"/>
              <a:gd name="connsiteX2" fmla="*/ 371475 w 851108"/>
              <a:gd name="connsiteY2" fmla="*/ 171111 h 222551"/>
              <a:gd name="connsiteX3" fmla="*/ 624086 w 851108"/>
              <a:gd name="connsiteY3" fmla="*/ 117841 h 222551"/>
              <a:gd name="connsiteX4" fmla="*/ 849144 w 851108"/>
              <a:gd name="connsiteY4" fmla="*/ 8 h 222551"/>
              <a:gd name="connsiteX5" fmla="*/ 723320 w 851108"/>
              <a:gd name="connsiteY5" fmla="*/ 123754 h 222551"/>
              <a:gd name="connsiteX6" fmla="*/ 546337 w 851108"/>
              <a:gd name="connsiteY6" fmla="*/ 189065 h 222551"/>
              <a:gd name="connsiteX7" fmla="*/ 379522 w 851108"/>
              <a:gd name="connsiteY7" fmla="*/ 219753 h 222551"/>
              <a:gd name="connsiteX8" fmla="*/ 186252 w 851108"/>
              <a:gd name="connsiteY8" fmla="*/ 210709 h 222551"/>
              <a:gd name="connsiteX9" fmla="*/ 0 w 851108"/>
              <a:gd name="connsiteY9" fmla="*/ 127633 h 222551"/>
              <a:gd name="connsiteX0" fmla="*/ 0 w 849275"/>
              <a:gd name="connsiteY0" fmla="*/ 128081 h 222999"/>
              <a:gd name="connsiteX1" fmla="*/ 161925 w 849275"/>
              <a:gd name="connsiteY1" fmla="*/ 171559 h 222999"/>
              <a:gd name="connsiteX2" fmla="*/ 371475 w 849275"/>
              <a:gd name="connsiteY2" fmla="*/ 171559 h 222999"/>
              <a:gd name="connsiteX3" fmla="*/ 700551 w 849275"/>
              <a:gd name="connsiteY3" fmla="*/ 85646 h 222999"/>
              <a:gd name="connsiteX4" fmla="*/ 849144 w 849275"/>
              <a:gd name="connsiteY4" fmla="*/ 456 h 222999"/>
              <a:gd name="connsiteX5" fmla="*/ 723320 w 849275"/>
              <a:gd name="connsiteY5" fmla="*/ 124202 h 222999"/>
              <a:gd name="connsiteX6" fmla="*/ 546337 w 849275"/>
              <a:gd name="connsiteY6" fmla="*/ 189513 h 222999"/>
              <a:gd name="connsiteX7" fmla="*/ 379522 w 849275"/>
              <a:gd name="connsiteY7" fmla="*/ 220201 h 222999"/>
              <a:gd name="connsiteX8" fmla="*/ 186252 w 849275"/>
              <a:gd name="connsiteY8" fmla="*/ 211157 h 222999"/>
              <a:gd name="connsiteX9" fmla="*/ 0 w 849275"/>
              <a:gd name="connsiteY9" fmla="*/ 128081 h 222999"/>
              <a:gd name="connsiteX0" fmla="*/ 0 w 849600"/>
              <a:gd name="connsiteY0" fmla="*/ 127827 h 222745"/>
              <a:gd name="connsiteX1" fmla="*/ 161925 w 849600"/>
              <a:gd name="connsiteY1" fmla="*/ 171305 h 222745"/>
              <a:gd name="connsiteX2" fmla="*/ 371475 w 849600"/>
              <a:gd name="connsiteY2" fmla="*/ 171305 h 222745"/>
              <a:gd name="connsiteX3" fmla="*/ 679311 w 849600"/>
              <a:gd name="connsiteY3" fmla="*/ 96817 h 222745"/>
              <a:gd name="connsiteX4" fmla="*/ 849144 w 849600"/>
              <a:gd name="connsiteY4" fmla="*/ 202 h 222745"/>
              <a:gd name="connsiteX5" fmla="*/ 723320 w 849600"/>
              <a:gd name="connsiteY5" fmla="*/ 123948 h 222745"/>
              <a:gd name="connsiteX6" fmla="*/ 546337 w 849600"/>
              <a:gd name="connsiteY6" fmla="*/ 189259 h 222745"/>
              <a:gd name="connsiteX7" fmla="*/ 379522 w 849600"/>
              <a:gd name="connsiteY7" fmla="*/ 219947 h 222745"/>
              <a:gd name="connsiteX8" fmla="*/ 186252 w 849600"/>
              <a:gd name="connsiteY8" fmla="*/ 210903 h 222745"/>
              <a:gd name="connsiteX9" fmla="*/ 0 w 849600"/>
              <a:gd name="connsiteY9" fmla="*/ 127827 h 222745"/>
              <a:gd name="connsiteX0" fmla="*/ 0 w 850194"/>
              <a:gd name="connsiteY0" fmla="*/ 127674 h 222592"/>
              <a:gd name="connsiteX1" fmla="*/ 161925 w 850194"/>
              <a:gd name="connsiteY1" fmla="*/ 171152 h 222592"/>
              <a:gd name="connsiteX2" fmla="*/ 371475 w 850194"/>
              <a:gd name="connsiteY2" fmla="*/ 171152 h 222592"/>
              <a:gd name="connsiteX3" fmla="*/ 653823 w 850194"/>
              <a:gd name="connsiteY3" fmla="*/ 109721 h 222592"/>
              <a:gd name="connsiteX4" fmla="*/ 849144 w 850194"/>
              <a:gd name="connsiteY4" fmla="*/ 49 h 222592"/>
              <a:gd name="connsiteX5" fmla="*/ 723320 w 850194"/>
              <a:gd name="connsiteY5" fmla="*/ 123795 h 222592"/>
              <a:gd name="connsiteX6" fmla="*/ 546337 w 850194"/>
              <a:gd name="connsiteY6" fmla="*/ 189106 h 222592"/>
              <a:gd name="connsiteX7" fmla="*/ 379522 w 850194"/>
              <a:gd name="connsiteY7" fmla="*/ 219794 h 222592"/>
              <a:gd name="connsiteX8" fmla="*/ 186252 w 850194"/>
              <a:gd name="connsiteY8" fmla="*/ 210750 h 222592"/>
              <a:gd name="connsiteX9" fmla="*/ 0 w 850194"/>
              <a:gd name="connsiteY9" fmla="*/ 127674 h 222592"/>
              <a:gd name="connsiteX0" fmla="*/ 0 w 850194"/>
              <a:gd name="connsiteY0" fmla="*/ 127677 h 222595"/>
              <a:gd name="connsiteX1" fmla="*/ 161925 w 850194"/>
              <a:gd name="connsiteY1" fmla="*/ 171155 h 222595"/>
              <a:gd name="connsiteX2" fmla="*/ 371475 w 850194"/>
              <a:gd name="connsiteY2" fmla="*/ 171155 h 222595"/>
              <a:gd name="connsiteX3" fmla="*/ 653823 w 850194"/>
              <a:gd name="connsiteY3" fmla="*/ 109724 h 222595"/>
              <a:gd name="connsiteX4" fmla="*/ 849144 w 850194"/>
              <a:gd name="connsiteY4" fmla="*/ 52 h 222595"/>
              <a:gd name="connsiteX5" fmla="*/ 723320 w 850194"/>
              <a:gd name="connsiteY5" fmla="*/ 123798 h 222595"/>
              <a:gd name="connsiteX6" fmla="*/ 546337 w 850194"/>
              <a:gd name="connsiteY6" fmla="*/ 189109 h 222595"/>
              <a:gd name="connsiteX7" fmla="*/ 379522 w 850194"/>
              <a:gd name="connsiteY7" fmla="*/ 219797 h 222595"/>
              <a:gd name="connsiteX8" fmla="*/ 186252 w 850194"/>
              <a:gd name="connsiteY8" fmla="*/ 210753 h 222595"/>
              <a:gd name="connsiteX9" fmla="*/ 0 w 850194"/>
              <a:gd name="connsiteY9" fmla="*/ 127677 h 222595"/>
              <a:gd name="connsiteX0" fmla="*/ 0 w 850194"/>
              <a:gd name="connsiteY0" fmla="*/ 127680 h 222598"/>
              <a:gd name="connsiteX1" fmla="*/ 161925 w 850194"/>
              <a:gd name="connsiteY1" fmla="*/ 171158 h 222598"/>
              <a:gd name="connsiteX2" fmla="*/ 371475 w 850194"/>
              <a:gd name="connsiteY2" fmla="*/ 171158 h 222598"/>
              <a:gd name="connsiteX3" fmla="*/ 653823 w 850194"/>
              <a:gd name="connsiteY3" fmla="*/ 109727 h 222598"/>
              <a:gd name="connsiteX4" fmla="*/ 849144 w 850194"/>
              <a:gd name="connsiteY4" fmla="*/ 55 h 222598"/>
              <a:gd name="connsiteX5" fmla="*/ 723320 w 850194"/>
              <a:gd name="connsiteY5" fmla="*/ 123801 h 222598"/>
              <a:gd name="connsiteX6" fmla="*/ 546337 w 850194"/>
              <a:gd name="connsiteY6" fmla="*/ 189112 h 222598"/>
              <a:gd name="connsiteX7" fmla="*/ 379522 w 850194"/>
              <a:gd name="connsiteY7" fmla="*/ 219800 h 222598"/>
              <a:gd name="connsiteX8" fmla="*/ 186252 w 850194"/>
              <a:gd name="connsiteY8" fmla="*/ 210756 h 222598"/>
              <a:gd name="connsiteX9" fmla="*/ 0 w 850194"/>
              <a:gd name="connsiteY9" fmla="*/ 127680 h 222598"/>
              <a:gd name="connsiteX0" fmla="*/ 0 w 850496"/>
              <a:gd name="connsiteY0" fmla="*/ 127641 h 222559"/>
              <a:gd name="connsiteX1" fmla="*/ 161925 w 850496"/>
              <a:gd name="connsiteY1" fmla="*/ 171119 h 222559"/>
              <a:gd name="connsiteX2" fmla="*/ 371475 w 850496"/>
              <a:gd name="connsiteY2" fmla="*/ 171119 h 222559"/>
              <a:gd name="connsiteX3" fmla="*/ 643203 w 850496"/>
              <a:gd name="connsiteY3" fmla="*/ 116217 h 222559"/>
              <a:gd name="connsiteX4" fmla="*/ 849144 w 850496"/>
              <a:gd name="connsiteY4" fmla="*/ 16 h 222559"/>
              <a:gd name="connsiteX5" fmla="*/ 723320 w 850496"/>
              <a:gd name="connsiteY5" fmla="*/ 123762 h 222559"/>
              <a:gd name="connsiteX6" fmla="*/ 546337 w 850496"/>
              <a:gd name="connsiteY6" fmla="*/ 189073 h 222559"/>
              <a:gd name="connsiteX7" fmla="*/ 379522 w 850496"/>
              <a:gd name="connsiteY7" fmla="*/ 219761 h 222559"/>
              <a:gd name="connsiteX8" fmla="*/ 186252 w 850496"/>
              <a:gd name="connsiteY8" fmla="*/ 210717 h 222559"/>
              <a:gd name="connsiteX9" fmla="*/ 0 w 850496"/>
              <a:gd name="connsiteY9" fmla="*/ 127641 h 222559"/>
              <a:gd name="connsiteX0" fmla="*/ 0 w 850496"/>
              <a:gd name="connsiteY0" fmla="*/ 127641 h 222559"/>
              <a:gd name="connsiteX1" fmla="*/ 161925 w 850496"/>
              <a:gd name="connsiteY1" fmla="*/ 171119 h 222559"/>
              <a:gd name="connsiteX2" fmla="*/ 371475 w 850496"/>
              <a:gd name="connsiteY2" fmla="*/ 171119 h 222559"/>
              <a:gd name="connsiteX3" fmla="*/ 643203 w 850496"/>
              <a:gd name="connsiteY3" fmla="*/ 116217 h 222559"/>
              <a:gd name="connsiteX4" fmla="*/ 849144 w 850496"/>
              <a:gd name="connsiteY4" fmla="*/ 16 h 222559"/>
              <a:gd name="connsiteX5" fmla="*/ 723320 w 850496"/>
              <a:gd name="connsiteY5" fmla="*/ 123762 h 222559"/>
              <a:gd name="connsiteX6" fmla="*/ 546337 w 850496"/>
              <a:gd name="connsiteY6" fmla="*/ 189073 h 222559"/>
              <a:gd name="connsiteX7" fmla="*/ 379522 w 850496"/>
              <a:gd name="connsiteY7" fmla="*/ 219761 h 222559"/>
              <a:gd name="connsiteX8" fmla="*/ 186252 w 850496"/>
              <a:gd name="connsiteY8" fmla="*/ 210717 h 222559"/>
              <a:gd name="connsiteX9" fmla="*/ 0 w 850496"/>
              <a:gd name="connsiteY9" fmla="*/ 127641 h 222559"/>
              <a:gd name="connsiteX0" fmla="*/ 0 w 850496"/>
              <a:gd name="connsiteY0" fmla="*/ 127641 h 222559"/>
              <a:gd name="connsiteX1" fmla="*/ 187413 w 850496"/>
              <a:gd name="connsiteY1" fmla="*/ 172751 h 222559"/>
              <a:gd name="connsiteX2" fmla="*/ 371475 w 850496"/>
              <a:gd name="connsiteY2" fmla="*/ 171119 h 222559"/>
              <a:gd name="connsiteX3" fmla="*/ 643203 w 850496"/>
              <a:gd name="connsiteY3" fmla="*/ 116217 h 222559"/>
              <a:gd name="connsiteX4" fmla="*/ 849144 w 850496"/>
              <a:gd name="connsiteY4" fmla="*/ 16 h 222559"/>
              <a:gd name="connsiteX5" fmla="*/ 723320 w 850496"/>
              <a:gd name="connsiteY5" fmla="*/ 123762 h 222559"/>
              <a:gd name="connsiteX6" fmla="*/ 546337 w 850496"/>
              <a:gd name="connsiteY6" fmla="*/ 189073 h 222559"/>
              <a:gd name="connsiteX7" fmla="*/ 379522 w 850496"/>
              <a:gd name="connsiteY7" fmla="*/ 219761 h 222559"/>
              <a:gd name="connsiteX8" fmla="*/ 186252 w 850496"/>
              <a:gd name="connsiteY8" fmla="*/ 210717 h 222559"/>
              <a:gd name="connsiteX9" fmla="*/ 0 w 850496"/>
              <a:gd name="connsiteY9" fmla="*/ 127641 h 222559"/>
              <a:gd name="connsiteX0" fmla="*/ 0 w 850496"/>
              <a:gd name="connsiteY0" fmla="*/ 127641 h 222559"/>
              <a:gd name="connsiteX1" fmla="*/ 187413 w 850496"/>
              <a:gd name="connsiteY1" fmla="*/ 172751 h 222559"/>
              <a:gd name="connsiteX2" fmla="*/ 371475 w 850496"/>
              <a:gd name="connsiteY2" fmla="*/ 171119 h 222559"/>
              <a:gd name="connsiteX3" fmla="*/ 643203 w 850496"/>
              <a:gd name="connsiteY3" fmla="*/ 116217 h 222559"/>
              <a:gd name="connsiteX4" fmla="*/ 849144 w 850496"/>
              <a:gd name="connsiteY4" fmla="*/ 16 h 222559"/>
              <a:gd name="connsiteX5" fmla="*/ 723320 w 850496"/>
              <a:gd name="connsiteY5" fmla="*/ 123762 h 222559"/>
              <a:gd name="connsiteX6" fmla="*/ 546337 w 850496"/>
              <a:gd name="connsiteY6" fmla="*/ 189073 h 222559"/>
              <a:gd name="connsiteX7" fmla="*/ 379522 w 850496"/>
              <a:gd name="connsiteY7" fmla="*/ 219761 h 222559"/>
              <a:gd name="connsiteX8" fmla="*/ 186252 w 850496"/>
              <a:gd name="connsiteY8" fmla="*/ 210717 h 222559"/>
              <a:gd name="connsiteX9" fmla="*/ 0 w 850496"/>
              <a:gd name="connsiteY9" fmla="*/ 127641 h 222559"/>
              <a:gd name="connsiteX0" fmla="*/ 0 w 850491"/>
              <a:gd name="connsiteY0" fmla="*/ 127641 h 219761"/>
              <a:gd name="connsiteX1" fmla="*/ 187413 w 850491"/>
              <a:gd name="connsiteY1" fmla="*/ 172751 h 219761"/>
              <a:gd name="connsiteX2" fmla="*/ 371475 w 850491"/>
              <a:gd name="connsiteY2" fmla="*/ 171119 h 219761"/>
              <a:gd name="connsiteX3" fmla="*/ 643203 w 850491"/>
              <a:gd name="connsiteY3" fmla="*/ 116217 h 219761"/>
              <a:gd name="connsiteX4" fmla="*/ 849144 w 850491"/>
              <a:gd name="connsiteY4" fmla="*/ 16 h 219761"/>
              <a:gd name="connsiteX5" fmla="*/ 723320 w 850491"/>
              <a:gd name="connsiteY5" fmla="*/ 123762 h 219761"/>
              <a:gd name="connsiteX6" fmla="*/ 548461 w 850491"/>
              <a:gd name="connsiteY6" fmla="*/ 190705 h 219761"/>
              <a:gd name="connsiteX7" fmla="*/ 379522 w 850491"/>
              <a:gd name="connsiteY7" fmla="*/ 219761 h 219761"/>
              <a:gd name="connsiteX8" fmla="*/ 186252 w 850491"/>
              <a:gd name="connsiteY8" fmla="*/ 210717 h 219761"/>
              <a:gd name="connsiteX9" fmla="*/ 0 w 850491"/>
              <a:gd name="connsiteY9" fmla="*/ 127641 h 219761"/>
              <a:gd name="connsiteX0" fmla="*/ 0 w 850491"/>
              <a:gd name="connsiteY0" fmla="*/ 127641 h 219761"/>
              <a:gd name="connsiteX1" fmla="*/ 187413 w 850491"/>
              <a:gd name="connsiteY1" fmla="*/ 172751 h 219761"/>
              <a:gd name="connsiteX2" fmla="*/ 371475 w 850491"/>
              <a:gd name="connsiteY2" fmla="*/ 171119 h 219761"/>
              <a:gd name="connsiteX3" fmla="*/ 643203 w 850491"/>
              <a:gd name="connsiteY3" fmla="*/ 116217 h 219761"/>
              <a:gd name="connsiteX4" fmla="*/ 849144 w 850491"/>
              <a:gd name="connsiteY4" fmla="*/ 16 h 219761"/>
              <a:gd name="connsiteX5" fmla="*/ 723320 w 850491"/>
              <a:gd name="connsiteY5" fmla="*/ 123762 h 219761"/>
              <a:gd name="connsiteX6" fmla="*/ 548461 w 850491"/>
              <a:gd name="connsiteY6" fmla="*/ 190705 h 219761"/>
              <a:gd name="connsiteX7" fmla="*/ 379522 w 850491"/>
              <a:gd name="connsiteY7" fmla="*/ 219761 h 219761"/>
              <a:gd name="connsiteX8" fmla="*/ 186252 w 850491"/>
              <a:gd name="connsiteY8" fmla="*/ 210717 h 219761"/>
              <a:gd name="connsiteX9" fmla="*/ 0 w 850491"/>
              <a:gd name="connsiteY9" fmla="*/ 127641 h 219761"/>
              <a:gd name="connsiteX0" fmla="*/ 0 w 850473"/>
              <a:gd name="connsiteY0" fmla="*/ 127641 h 219761"/>
              <a:gd name="connsiteX1" fmla="*/ 187413 w 850473"/>
              <a:gd name="connsiteY1" fmla="*/ 172751 h 219761"/>
              <a:gd name="connsiteX2" fmla="*/ 371475 w 850473"/>
              <a:gd name="connsiteY2" fmla="*/ 171119 h 219761"/>
              <a:gd name="connsiteX3" fmla="*/ 643203 w 850473"/>
              <a:gd name="connsiteY3" fmla="*/ 116217 h 219761"/>
              <a:gd name="connsiteX4" fmla="*/ 849144 w 850473"/>
              <a:gd name="connsiteY4" fmla="*/ 16 h 219761"/>
              <a:gd name="connsiteX5" fmla="*/ 723320 w 850473"/>
              <a:gd name="connsiteY5" fmla="*/ 123762 h 219761"/>
              <a:gd name="connsiteX6" fmla="*/ 556957 w 850473"/>
              <a:gd name="connsiteY6" fmla="*/ 190705 h 219761"/>
              <a:gd name="connsiteX7" fmla="*/ 379522 w 850473"/>
              <a:gd name="connsiteY7" fmla="*/ 219761 h 219761"/>
              <a:gd name="connsiteX8" fmla="*/ 186252 w 850473"/>
              <a:gd name="connsiteY8" fmla="*/ 210717 h 219761"/>
              <a:gd name="connsiteX9" fmla="*/ 0 w 850473"/>
              <a:gd name="connsiteY9" fmla="*/ 127641 h 219761"/>
              <a:gd name="connsiteX0" fmla="*/ 0 w 850473"/>
              <a:gd name="connsiteY0" fmla="*/ 127641 h 219761"/>
              <a:gd name="connsiteX1" fmla="*/ 187413 w 850473"/>
              <a:gd name="connsiteY1" fmla="*/ 172751 h 219761"/>
              <a:gd name="connsiteX2" fmla="*/ 371475 w 850473"/>
              <a:gd name="connsiteY2" fmla="*/ 171119 h 219761"/>
              <a:gd name="connsiteX3" fmla="*/ 643203 w 850473"/>
              <a:gd name="connsiteY3" fmla="*/ 116217 h 219761"/>
              <a:gd name="connsiteX4" fmla="*/ 849144 w 850473"/>
              <a:gd name="connsiteY4" fmla="*/ 16 h 219761"/>
              <a:gd name="connsiteX5" fmla="*/ 723320 w 850473"/>
              <a:gd name="connsiteY5" fmla="*/ 123762 h 219761"/>
              <a:gd name="connsiteX6" fmla="*/ 556957 w 850473"/>
              <a:gd name="connsiteY6" fmla="*/ 190705 h 219761"/>
              <a:gd name="connsiteX7" fmla="*/ 356159 w 850473"/>
              <a:gd name="connsiteY7" fmla="*/ 219761 h 219761"/>
              <a:gd name="connsiteX8" fmla="*/ 186252 w 850473"/>
              <a:gd name="connsiteY8" fmla="*/ 210717 h 219761"/>
              <a:gd name="connsiteX9" fmla="*/ 0 w 850473"/>
              <a:gd name="connsiteY9" fmla="*/ 127641 h 219761"/>
              <a:gd name="connsiteX0" fmla="*/ 0 w 850473"/>
              <a:gd name="connsiteY0" fmla="*/ 127639 h 219759"/>
              <a:gd name="connsiteX1" fmla="*/ 187413 w 850473"/>
              <a:gd name="connsiteY1" fmla="*/ 172749 h 219759"/>
              <a:gd name="connsiteX2" fmla="*/ 384219 w 850473"/>
              <a:gd name="connsiteY2" fmla="*/ 174381 h 219759"/>
              <a:gd name="connsiteX3" fmla="*/ 643203 w 850473"/>
              <a:gd name="connsiteY3" fmla="*/ 116215 h 219759"/>
              <a:gd name="connsiteX4" fmla="*/ 849144 w 850473"/>
              <a:gd name="connsiteY4" fmla="*/ 14 h 219759"/>
              <a:gd name="connsiteX5" fmla="*/ 723320 w 850473"/>
              <a:gd name="connsiteY5" fmla="*/ 123760 h 219759"/>
              <a:gd name="connsiteX6" fmla="*/ 556957 w 850473"/>
              <a:gd name="connsiteY6" fmla="*/ 190703 h 219759"/>
              <a:gd name="connsiteX7" fmla="*/ 356159 w 850473"/>
              <a:gd name="connsiteY7" fmla="*/ 219759 h 219759"/>
              <a:gd name="connsiteX8" fmla="*/ 186252 w 850473"/>
              <a:gd name="connsiteY8" fmla="*/ 210715 h 219759"/>
              <a:gd name="connsiteX9" fmla="*/ 0 w 850473"/>
              <a:gd name="connsiteY9" fmla="*/ 127639 h 219759"/>
              <a:gd name="connsiteX0" fmla="*/ 0 w 850473"/>
              <a:gd name="connsiteY0" fmla="*/ 127639 h 219759"/>
              <a:gd name="connsiteX1" fmla="*/ 187413 w 850473"/>
              <a:gd name="connsiteY1" fmla="*/ 172749 h 219759"/>
              <a:gd name="connsiteX2" fmla="*/ 411831 w 850473"/>
              <a:gd name="connsiteY2" fmla="*/ 174381 h 219759"/>
              <a:gd name="connsiteX3" fmla="*/ 643203 w 850473"/>
              <a:gd name="connsiteY3" fmla="*/ 116215 h 219759"/>
              <a:gd name="connsiteX4" fmla="*/ 849144 w 850473"/>
              <a:gd name="connsiteY4" fmla="*/ 14 h 219759"/>
              <a:gd name="connsiteX5" fmla="*/ 723320 w 850473"/>
              <a:gd name="connsiteY5" fmla="*/ 123760 h 219759"/>
              <a:gd name="connsiteX6" fmla="*/ 556957 w 850473"/>
              <a:gd name="connsiteY6" fmla="*/ 190703 h 219759"/>
              <a:gd name="connsiteX7" fmla="*/ 356159 w 850473"/>
              <a:gd name="connsiteY7" fmla="*/ 219759 h 219759"/>
              <a:gd name="connsiteX8" fmla="*/ 186252 w 850473"/>
              <a:gd name="connsiteY8" fmla="*/ 210715 h 219759"/>
              <a:gd name="connsiteX9" fmla="*/ 0 w 850473"/>
              <a:gd name="connsiteY9" fmla="*/ 127639 h 219759"/>
              <a:gd name="connsiteX0" fmla="*/ 0 w 884166"/>
              <a:gd name="connsiteY0" fmla="*/ 160278 h 252398"/>
              <a:gd name="connsiteX1" fmla="*/ 187413 w 884166"/>
              <a:gd name="connsiteY1" fmla="*/ 205388 h 252398"/>
              <a:gd name="connsiteX2" fmla="*/ 411831 w 884166"/>
              <a:gd name="connsiteY2" fmla="*/ 207020 h 252398"/>
              <a:gd name="connsiteX3" fmla="*/ 643203 w 884166"/>
              <a:gd name="connsiteY3" fmla="*/ 148854 h 252398"/>
              <a:gd name="connsiteX4" fmla="*/ 883128 w 884166"/>
              <a:gd name="connsiteY4" fmla="*/ 10 h 252398"/>
              <a:gd name="connsiteX5" fmla="*/ 723320 w 884166"/>
              <a:gd name="connsiteY5" fmla="*/ 156399 h 252398"/>
              <a:gd name="connsiteX6" fmla="*/ 556957 w 884166"/>
              <a:gd name="connsiteY6" fmla="*/ 223342 h 252398"/>
              <a:gd name="connsiteX7" fmla="*/ 356159 w 884166"/>
              <a:gd name="connsiteY7" fmla="*/ 252398 h 252398"/>
              <a:gd name="connsiteX8" fmla="*/ 186252 w 884166"/>
              <a:gd name="connsiteY8" fmla="*/ 243354 h 252398"/>
              <a:gd name="connsiteX9" fmla="*/ 0 w 884166"/>
              <a:gd name="connsiteY9" fmla="*/ 160278 h 252398"/>
              <a:gd name="connsiteX0" fmla="*/ 0 w 889794"/>
              <a:gd name="connsiteY0" fmla="*/ 140694 h 232814"/>
              <a:gd name="connsiteX1" fmla="*/ 187413 w 889794"/>
              <a:gd name="connsiteY1" fmla="*/ 185804 h 232814"/>
              <a:gd name="connsiteX2" fmla="*/ 411831 w 889794"/>
              <a:gd name="connsiteY2" fmla="*/ 187436 h 232814"/>
              <a:gd name="connsiteX3" fmla="*/ 643203 w 889794"/>
              <a:gd name="connsiteY3" fmla="*/ 129270 h 232814"/>
              <a:gd name="connsiteX4" fmla="*/ 888792 w 889794"/>
              <a:gd name="connsiteY4" fmla="*/ 12 h 232814"/>
              <a:gd name="connsiteX5" fmla="*/ 723320 w 889794"/>
              <a:gd name="connsiteY5" fmla="*/ 136815 h 232814"/>
              <a:gd name="connsiteX6" fmla="*/ 556957 w 889794"/>
              <a:gd name="connsiteY6" fmla="*/ 203758 h 232814"/>
              <a:gd name="connsiteX7" fmla="*/ 356159 w 889794"/>
              <a:gd name="connsiteY7" fmla="*/ 232814 h 232814"/>
              <a:gd name="connsiteX8" fmla="*/ 186252 w 889794"/>
              <a:gd name="connsiteY8" fmla="*/ 223770 h 232814"/>
              <a:gd name="connsiteX9" fmla="*/ 0 w 889794"/>
              <a:gd name="connsiteY9" fmla="*/ 140694 h 232814"/>
              <a:gd name="connsiteX0" fmla="*/ 0 w 887684"/>
              <a:gd name="connsiteY0" fmla="*/ 143957 h 236077"/>
              <a:gd name="connsiteX1" fmla="*/ 187413 w 887684"/>
              <a:gd name="connsiteY1" fmla="*/ 189067 h 236077"/>
              <a:gd name="connsiteX2" fmla="*/ 411831 w 887684"/>
              <a:gd name="connsiteY2" fmla="*/ 190699 h 236077"/>
              <a:gd name="connsiteX3" fmla="*/ 643203 w 887684"/>
              <a:gd name="connsiteY3" fmla="*/ 132533 h 236077"/>
              <a:gd name="connsiteX4" fmla="*/ 886669 w 887684"/>
              <a:gd name="connsiteY4" fmla="*/ 11 h 236077"/>
              <a:gd name="connsiteX5" fmla="*/ 723320 w 887684"/>
              <a:gd name="connsiteY5" fmla="*/ 140078 h 236077"/>
              <a:gd name="connsiteX6" fmla="*/ 556957 w 887684"/>
              <a:gd name="connsiteY6" fmla="*/ 207021 h 236077"/>
              <a:gd name="connsiteX7" fmla="*/ 356159 w 887684"/>
              <a:gd name="connsiteY7" fmla="*/ 236077 h 236077"/>
              <a:gd name="connsiteX8" fmla="*/ 186252 w 887684"/>
              <a:gd name="connsiteY8" fmla="*/ 227033 h 236077"/>
              <a:gd name="connsiteX9" fmla="*/ 0 w 887684"/>
              <a:gd name="connsiteY9" fmla="*/ 143957 h 236077"/>
              <a:gd name="connsiteX0" fmla="*/ 0 w 887079"/>
              <a:gd name="connsiteY0" fmla="*/ 144465 h 236585"/>
              <a:gd name="connsiteX1" fmla="*/ 187413 w 887079"/>
              <a:gd name="connsiteY1" fmla="*/ 189575 h 236585"/>
              <a:gd name="connsiteX2" fmla="*/ 411831 w 887079"/>
              <a:gd name="connsiteY2" fmla="*/ 191207 h 236585"/>
              <a:gd name="connsiteX3" fmla="*/ 643203 w 887079"/>
              <a:gd name="connsiteY3" fmla="*/ 133041 h 236585"/>
              <a:gd name="connsiteX4" fmla="*/ 886669 w 887079"/>
              <a:gd name="connsiteY4" fmla="*/ 519 h 236585"/>
              <a:gd name="connsiteX5" fmla="*/ 723320 w 887079"/>
              <a:gd name="connsiteY5" fmla="*/ 140586 h 236585"/>
              <a:gd name="connsiteX6" fmla="*/ 556957 w 887079"/>
              <a:gd name="connsiteY6" fmla="*/ 207529 h 236585"/>
              <a:gd name="connsiteX7" fmla="*/ 356159 w 887079"/>
              <a:gd name="connsiteY7" fmla="*/ 236585 h 236585"/>
              <a:gd name="connsiteX8" fmla="*/ 186252 w 887079"/>
              <a:gd name="connsiteY8" fmla="*/ 227541 h 236585"/>
              <a:gd name="connsiteX9" fmla="*/ 0 w 887079"/>
              <a:gd name="connsiteY9" fmla="*/ 144465 h 236585"/>
              <a:gd name="connsiteX0" fmla="*/ 0 w 878600"/>
              <a:gd name="connsiteY0" fmla="*/ 146091 h 238211"/>
              <a:gd name="connsiteX1" fmla="*/ 187413 w 878600"/>
              <a:gd name="connsiteY1" fmla="*/ 191201 h 238211"/>
              <a:gd name="connsiteX2" fmla="*/ 411831 w 878600"/>
              <a:gd name="connsiteY2" fmla="*/ 192833 h 238211"/>
              <a:gd name="connsiteX3" fmla="*/ 643203 w 878600"/>
              <a:gd name="connsiteY3" fmla="*/ 134667 h 238211"/>
              <a:gd name="connsiteX4" fmla="*/ 878173 w 878600"/>
              <a:gd name="connsiteY4" fmla="*/ 513 h 238211"/>
              <a:gd name="connsiteX5" fmla="*/ 723320 w 878600"/>
              <a:gd name="connsiteY5" fmla="*/ 142212 h 238211"/>
              <a:gd name="connsiteX6" fmla="*/ 556957 w 878600"/>
              <a:gd name="connsiteY6" fmla="*/ 209155 h 238211"/>
              <a:gd name="connsiteX7" fmla="*/ 356159 w 878600"/>
              <a:gd name="connsiteY7" fmla="*/ 238211 h 238211"/>
              <a:gd name="connsiteX8" fmla="*/ 186252 w 878600"/>
              <a:gd name="connsiteY8" fmla="*/ 229167 h 238211"/>
              <a:gd name="connsiteX9" fmla="*/ 0 w 878600"/>
              <a:gd name="connsiteY9" fmla="*/ 146091 h 238211"/>
              <a:gd name="connsiteX0" fmla="*/ 0 w 878465"/>
              <a:gd name="connsiteY0" fmla="*/ 146281 h 238401"/>
              <a:gd name="connsiteX1" fmla="*/ 187413 w 878465"/>
              <a:gd name="connsiteY1" fmla="*/ 191391 h 238401"/>
              <a:gd name="connsiteX2" fmla="*/ 411831 w 878465"/>
              <a:gd name="connsiteY2" fmla="*/ 193023 h 238401"/>
              <a:gd name="connsiteX3" fmla="*/ 643203 w 878465"/>
              <a:gd name="connsiteY3" fmla="*/ 134857 h 238401"/>
              <a:gd name="connsiteX4" fmla="*/ 878173 w 878465"/>
              <a:gd name="connsiteY4" fmla="*/ 703 h 238401"/>
              <a:gd name="connsiteX5" fmla="*/ 723320 w 878465"/>
              <a:gd name="connsiteY5" fmla="*/ 142402 h 238401"/>
              <a:gd name="connsiteX6" fmla="*/ 556957 w 878465"/>
              <a:gd name="connsiteY6" fmla="*/ 209345 h 238401"/>
              <a:gd name="connsiteX7" fmla="*/ 356159 w 878465"/>
              <a:gd name="connsiteY7" fmla="*/ 238401 h 238401"/>
              <a:gd name="connsiteX8" fmla="*/ 186252 w 878465"/>
              <a:gd name="connsiteY8" fmla="*/ 229357 h 238401"/>
              <a:gd name="connsiteX9" fmla="*/ 0 w 878465"/>
              <a:gd name="connsiteY9" fmla="*/ 146281 h 238401"/>
              <a:gd name="connsiteX0" fmla="*/ 0 w 878465"/>
              <a:gd name="connsiteY0" fmla="*/ 146281 h 238597"/>
              <a:gd name="connsiteX1" fmla="*/ 187413 w 878465"/>
              <a:gd name="connsiteY1" fmla="*/ 191391 h 238597"/>
              <a:gd name="connsiteX2" fmla="*/ 411831 w 878465"/>
              <a:gd name="connsiteY2" fmla="*/ 193023 h 238597"/>
              <a:gd name="connsiteX3" fmla="*/ 643203 w 878465"/>
              <a:gd name="connsiteY3" fmla="*/ 134857 h 238597"/>
              <a:gd name="connsiteX4" fmla="*/ 878173 w 878465"/>
              <a:gd name="connsiteY4" fmla="*/ 703 h 238597"/>
              <a:gd name="connsiteX5" fmla="*/ 723320 w 878465"/>
              <a:gd name="connsiteY5" fmla="*/ 142402 h 238597"/>
              <a:gd name="connsiteX6" fmla="*/ 556957 w 878465"/>
              <a:gd name="connsiteY6" fmla="*/ 209345 h 238597"/>
              <a:gd name="connsiteX7" fmla="*/ 356159 w 878465"/>
              <a:gd name="connsiteY7" fmla="*/ 238401 h 238597"/>
              <a:gd name="connsiteX8" fmla="*/ 175632 w 878465"/>
              <a:gd name="connsiteY8" fmla="*/ 221196 h 238597"/>
              <a:gd name="connsiteX9" fmla="*/ 0 w 878465"/>
              <a:gd name="connsiteY9" fmla="*/ 146281 h 238597"/>
              <a:gd name="connsiteX0" fmla="*/ 0 w 878465"/>
              <a:gd name="connsiteY0" fmla="*/ 146281 h 238880"/>
              <a:gd name="connsiteX1" fmla="*/ 187413 w 878465"/>
              <a:gd name="connsiteY1" fmla="*/ 191391 h 238880"/>
              <a:gd name="connsiteX2" fmla="*/ 411831 w 878465"/>
              <a:gd name="connsiteY2" fmla="*/ 193023 h 238880"/>
              <a:gd name="connsiteX3" fmla="*/ 643203 w 878465"/>
              <a:gd name="connsiteY3" fmla="*/ 134857 h 238880"/>
              <a:gd name="connsiteX4" fmla="*/ 878173 w 878465"/>
              <a:gd name="connsiteY4" fmla="*/ 703 h 238880"/>
              <a:gd name="connsiteX5" fmla="*/ 723320 w 878465"/>
              <a:gd name="connsiteY5" fmla="*/ 142402 h 238880"/>
              <a:gd name="connsiteX6" fmla="*/ 556957 w 878465"/>
              <a:gd name="connsiteY6" fmla="*/ 209345 h 238880"/>
              <a:gd name="connsiteX7" fmla="*/ 356159 w 878465"/>
              <a:gd name="connsiteY7" fmla="*/ 238401 h 238880"/>
              <a:gd name="connsiteX8" fmla="*/ 175632 w 878465"/>
              <a:gd name="connsiteY8" fmla="*/ 221196 h 238880"/>
              <a:gd name="connsiteX9" fmla="*/ 0 w 878465"/>
              <a:gd name="connsiteY9" fmla="*/ 146281 h 238880"/>
              <a:gd name="connsiteX0" fmla="*/ 0 w 878465"/>
              <a:gd name="connsiteY0" fmla="*/ 146281 h 238681"/>
              <a:gd name="connsiteX1" fmla="*/ 187413 w 878465"/>
              <a:gd name="connsiteY1" fmla="*/ 191391 h 238681"/>
              <a:gd name="connsiteX2" fmla="*/ 411831 w 878465"/>
              <a:gd name="connsiteY2" fmla="*/ 193023 h 238681"/>
              <a:gd name="connsiteX3" fmla="*/ 643203 w 878465"/>
              <a:gd name="connsiteY3" fmla="*/ 134857 h 238681"/>
              <a:gd name="connsiteX4" fmla="*/ 878173 w 878465"/>
              <a:gd name="connsiteY4" fmla="*/ 703 h 238681"/>
              <a:gd name="connsiteX5" fmla="*/ 723320 w 878465"/>
              <a:gd name="connsiteY5" fmla="*/ 142402 h 238681"/>
              <a:gd name="connsiteX6" fmla="*/ 556957 w 878465"/>
              <a:gd name="connsiteY6" fmla="*/ 209345 h 238681"/>
              <a:gd name="connsiteX7" fmla="*/ 356159 w 878465"/>
              <a:gd name="connsiteY7" fmla="*/ 238401 h 238681"/>
              <a:gd name="connsiteX8" fmla="*/ 175632 w 878465"/>
              <a:gd name="connsiteY8" fmla="*/ 221196 h 238681"/>
              <a:gd name="connsiteX9" fmla="*/ 0 w 878465"/>
              <a:gd name="connsiteY9" fmla="*/ 146281 h 238681"/>
              <a:gd name="connsiteX0" fmla="*/ 0 w 889591"/>
              <a:gd name="connsiteY0" fmla="*/ 137766 h 230166"/>
              <a:gd name="connsiteX1" fmla="*/ 187413 w 889591"/>
              <a:gd name="connsiteY1" fmla="*/ 182876 h 230166"/>
              <a:gd name="connsiteX2" fmla="*/ 411831 w 889591"/>
              <a:gd name="connsiteY2" fmla="*/ 184508 h 230166"/>
              <a:gd name="connsiteX3" fmla="*/ 643203 w 889591"/>
              <a:gd name="connsiteY3" fmla="*/ 126342 h 230166"/>
              <a:gd name="connsiteX4" fmla="*/ 889314 w 889591"/>
              <a:gd name="connsiteY4" fmla="*/ 749 h 230166"/>
              <a:gd name="connsiteX5" fmla="*/ 723320 w 889591"/>
              <a:gd name="connsiteY5" fmla="*/ 133887 h 230166"/>
              <a:gd name="connsiteX6" fmla="*/ 556957 w 889591"/>
              <a:gd name="connsiteY6" fmla="*/ 200830 h 230166"/>
              <a:gd name="connsiteX7" fmla="*/ 356159 w 889591"/>
              <a:gd name="connsiteY7" fmla="*/ 229886 h 230166"/>
              <a:gd name="connsiteX8" fmla="*/ 175632 w 889591"/>
              <a:gd name="connsiteY8" fmla="*/ 212681 h 230166"/>
              <a:gd name="connsiteX9" fmla="*/ 0 w 889591"/>
              <a:gd name="connsiteY9" fmla="*/ 137766 h 230166"/>
              <a:gd name="connsiteX0" fmla="*/ 0 w 889669"/>
              <a:gd name="connsiteY0" fmla="*/ 137645 h 230045"/>
              <a:gd name="connsiteX1" fmla="*/ 187413 w 889669"/>
              <a:gd name="connsiteY1" fmla="*/ 182755 h 230045"/>
              <a:gd name="connsiteX2" fmla="*/ 411831 w 889669"/>
              <a:gd name="connsiteY2" fmla="*/ 184387 h 230045"/>
              <a:gd name="connsiteX3" fmla="*/ 643203 w 889669"/>
              <a:gd name="connsiteY3" fmla="*/ 126221 h 230045"/>
              <a:gd name="connsiteX4" fmla="*/ 889314 w 889669"/>
              <a:gd name="connsiteY4" fmla="*/ 628 h 230045"/>
              <a:gd name="connsiteX5" fmla="*/ 723320 w 889669"/>
              <a:gd name="connsiteY5" fmla="*/ 133766 h 230045"/>
              <a:gd name="connsiteX6" fmla="*/ 556957 w 889669"/>
              <a:gd name="connsiteY6" fmla="*/ 200709 h 230045"/>
              <a:gd name="connsiteX7" fmla="*/ 356159 w 889669"/>
              <a:gd name="connsiteY7" fmla="*/ 229765 h 230045"/>
              <a:gd name="connsiteX8" fmla="*/ 175632 w 889669"/>
              <a:gd name="connsiteY8" fmla="*/ 212560 h 230045"/>
              <a:gd name="connsiteX9" fmla="*/ 0 w 889669"/>
              <a:gd name="connsiteY9" fmla="*/ 137645 h 230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9669" h="230045">
                <a:moveTo>
                  <a:pt x="0" y="137645"/>
                </a:moveTo>
                <a:cubicBezTo>
                  <a:pt x="53975" y="154314"/>
                  <a:pt x="118775" y="174965"/>
                  <a:pt x="187413" y="182755"/>
                </a:cubicBezTo>
                <a:cubicBezTo>
                  <a:pt x="256051" y="190545"/>
                  <a:pt x="335866" y="193809"/>
                  <a:pt x="411831" y="184387"/>
                </a:cubicBezTo>
                <a:cubicBezTo>
                  <a:pt x="487796" y="174965"/>
                  <a:pt x="563622" y="156848"/>
                  <a:pt x="643203" y="126221"/>
                </a:cubicBezTo>
                <a:cubicBezTo>
                  <a:pt x="722784" y="95594"/>
                  <a:pt x="898620" y="-9030"/>
                  <a:pt x="889314" y="628"/>
                </a:cubicBezTo>
                <a:cubicBezTo>
                  <a:pt x="825682" y="66662"/>
                  <a:pt x="778713" y="100419"/>
                  <a:pt x="723320" y="133766"/>
                </a:cubicBezTo>
                <a:cubicBezTo>
                  <a:pt x="667927" y="167113"/>
                  <a:pt x="618150" y="184709"/>
                  <a:pt x="556957" y="200709"/>
                </a:cubicBezTo>
                <a:cubicBezTo>
                  <a:pt x="495764" y="216709"/>
                  <a:pt x="419713" y="227790"/>
                  <a:pt x="356159" y="229765"/>
                </a:cubicBezTo>
                <a:cubicBezTo>
                  <a:pt x="292605" y="231740"/>
                  <a:pt x="224372" y="223016"/>
                  <a:pt x="175632" y="212560"/>
                </a:cubicBezTo>
                <a:cubicBezTo>
                  <a:pt x="126892" y="202104"/>
                  <a:pt x="4762" y="144789"/>
                  <a:pt x="0" y="137645"/>
                </a:cubicBezTo>
                <a:close/>
              </a:path>
            </a:pathLst>
          </a:custGeom>
          <a:solidFill>
            <a:srgbClr val="FEFCFD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0AF5FE4-99C1-4FBD-B786-9D4C33C2F055}"/>
              </a:ext>
            </a:extLst>
          </p:cNvPr>
          <p:cNvSpPr/>
          <p:nvPr/>
        </p:nvSpPr>
        <p:spPr bwMode="auto">
          <a:xfrm rot="930744">
            <a:off x="4544699" y="5228755"/>
            <a:ext cx="258372" cy="252683"/>
          </a:xfrm>
          <a:custGeom>
            <a:avLst/>
            <a:gdLst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04787 w 352425"/>
              <a:gd name="connsiteY7" fmla="*/ 304800 h 385763"/>
              <a:gd name="connsiteX8" fmla="*/ 150018 w 352425"/>
              <a:gd name="connsiteY8" fmla="*/ 261938 h 385763"/>
              <a:gd name="connsiteX9" fmla="*/ 83343 w 352425"/>
              <a:gd name="connsiteY9" fmla="*/ 192882 h 385763"/>
              <a:gd name="connsiteX10" fmla="*/ 78581 w 352425"/>
              <a:gd name="connsiteY10" fmla="*/ 171450 h 385763"/>
              <a:gd name="connsiteX11" fmla="*/ 64293 w 352425"/>
              <a:gd name="connsiteY11" fmla="*/ 116682 h 385763"/>
              <a:gd name="connsiteX12" fmla="*/ 71437 w 352425"/>
              <a:gd name="connsiteY12" fmla="*/ 35719 h 385763"/>
              <a:gd name="connsiteX13" fmla="*/ 88106 w 352425"/>
              <a:gd name="connsiteY13" fmla="*/ 21432 h 385763"/>
              <a:gd name="connsiteX14" fmla="*/ 119062 w 352425"/>
              <a:gd name="connsiteY14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21102 w 352425"/>
              <a:gd name="connsiteY7" fmla="*/ 310156 h 385763"/>
              <a:gd name="connsiteX8" fmla="*/ 150018 w 352425"/>
              <a:gd name="connsiteY8" fmla="*/ 261938 h 385763"/>
              <a:gd name="connsiteX9" fmla="*/ 83343 w 352425"/>
              <a:gd name="connsiteY9" fmla="*/ 192882 h 385763"/>
              <a:gd name="connsiteX10" fmla="*/ 78581 w 352425"/>
              <a:gd name="connsiteY10" fmla="*/ 171450 h 385763"/>
              <a:gd name="connsiteX11" fmla="*/ 64293 w 352425"/>
              <a:gd name="connsiteY11" fmla="*/ 116682 h 385763"/>
              <a:gd name="connsiteX12" fmla="*/ 71437 w 352425"/>
              <a:gd name="connsiteY12" fmla="*/ 35719 h 385763"/>
              <a:gd name="connsiteX13" fmla="*/ 88106 w 352425"/>
              <a:gd name="connsiteY13" fmla="*/ 21432 h 385763"/>
              <a:gd name="connsiteX14" fmla="*/ 119062 w 352425"/>
              <a:gd name="connsiteY14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21102 w 352425"/>
              <a:gd name="connsiteY7" fmla="*/ 310156 h 385763"/>
              <a:gd name="connsiteX8" fmla="*/ 150018 w 352425"/>
              <a:gd name="connsiteY8" fmla="*/ 261938 h 385763"/>
              <a:gd name="connsiteX9" fmla="*/ 114313 w 352425"/>
              <a:gd name="connsiteY9" fmla="*/ 206528 h 385763"/>
              <a:gd name="connsiteX10" fmla="*/ 78581 w 352425"/>
              <a:gd name="connsiteY10" fmla="*/ 171450 h 385763"/>
              <a:gd name="connsiteX11" fmla="*/ 64293 w 352425"/>
              <a:gd name="connsiteY11" fmla="*/ 116682 h 385763"/>
              <a:gd name="connsiteX12" fmla="*/ 71437 w 352425"/>
              <a:gd name="connsiteY12" fmla="*/ 35719 h 385763"/>
              <a:gd name="connsiteX13" fmla="*/ 88106 w 352425"/>
              <a:gd name="connsiteY13" fmla="*/ 21432 h 385763"/>
              <a:gd name="connsiteX14" fmla="*/ 119062 w 352425"/>
              <a:gd name="connsiteY14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21102 w 352425"/>
              <a:gd name="connsiteY7" fmla="*/ 310156 h 385763"/>
              <a:gd name="connsiteX8" fmla="*/ 150018 w 352425"/>
              <a:gd name="connsiteY8" fmla="*/ 261938 h 385763"/>
              <a:gd name="connsiteX9" fmla="*/ 114313 w 352425"/>
              <a:gd name="connsiteY9" fmla="*/ 206528 h 385763"/>
              <a:gd name="connsiteX10" fmla="*/ 93369 w 352425"/>
              <a:gd name="connsiteY10" fmla="*/ 162403 h 385763"/>
              <a:gd name="connsiteX11" fmla="*/ 64293 w 352425"/>
              <a:gd name="connsiteY11" fmla="*/ 116682 h 385763"/>
              <a:gd name="connsiteX12" fmla="*/ 71437 w 352425"/>
              <a:gd name="connsiteY12" fmla="*/ 35719 h 385763"/>
              <a:gd name="connsiteX13" fmla="*/ 88106 w 352425"/>
              <a:gd name="connsiteY13" fmla="*/ 21432 h 385763"/>
              <a:gd name="connsiteX14" fmla="*/ 119062 w 352425"/>
              <a:gd name="connsiteY14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21102 w 352425"/>
              <a:gd name="connsiteY7" fmla="*/ 310156 h 385763"/>
              <a:gd name="connsiteX8" fmla="*/ 150018 w 352425"/>
              <a:gd name="connsiteY8" fmla="*/ 261938 h 385763"/>
              <a:gd name="connsiteX9" fmla="*/ 114313 w 352425"/>
              <a:gd name="connsiteY9" fmla="*/ 206528 h 385763"/>
              <a:gd name="connsiteX10" fmla="*/ 93369 w 352425"/>
              <a:gd name="connsiteY10" fmla="*/ 162403 h 385763"/>
              <a:gd name="connsiteX11" fmla="*/ 74109 w 352425"/>
              <a:gd name="connsiteY11" fmla="*/ 116430 h 385763"/>
              <a:gd name="connsiteX12" fmla="*/ 71437 w 352425"/>
              <a:gd name="connsiteY12" fmla="*/ 35719 h 385763"/>
              <a:gd name="connsiteX13" fmla="*/ 88106 w 352425"/>
              <a:gd name="connsiteY13" fmla="*/ 21432 h 385763"/>
              <a:gd name="connsiteX14" fmla="*/ 119062 w 352425"/>
              <a:gd name="connsiteY14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21102 w 352425"/>
              <a:gd name="connsiteY7" fmla="*/ 310156 h 385763"/>
              <a:gd name="connsiteX8" fmla="*/ 150018 w 352425"/>
              <a:gd name="connsiteY8" fmla="*/ 261938 h 385763"/>
              <a:gd name="connsiteX9" fmla="*/ 114313 w 352425"/>
              <a:gd name="connsiteY9" fmla="*/ 206528 h 385763"/>
              <a:gd name="connsiteX10" fmla="*/ 93369 w 352425"/>
              <a:gd name="connsiteY10" fmla="*/ 162403 h 385763"/>
              <a:gd name="connsiteX11" fmla="*/ 74109 w 352425"/>
              <a:gd name="connsiteY11" fmla="*/ 116430 h 385763"/>
              <a:gd name="connsiteX12" fmla="*/ 82142 w 352425"/>
              <a:gd name="connsiteY12" fmla="*/ 47575 h 385763"/>
              <a:gd name="connsiteX13" fmla="*/ 88106 w 352425"/>
              <a:gd name="connsiteY13" fmla="*/ 21432 h 385763"/>
              <a:gd name="connsiteX14" fmla="*/ 119062 w 352425"/>
              <a:gd name="connsiteY14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21102 w 352425"/>
              <a:gd name="connsiteY7" fmla="*/ 310156 h 385763"/>
              <a:gd name="connsiteX8" fmla="*/ 150018 w 352425"/>
              <a:gd name="connsiteY8" fmla="*/ 261938 h 385763"/>
              <a:gd name="connsiteX9" fmla="*/ 114313 w 352425"/>
              <a:gd name="connsiteY9" fmla="*/ 206528 h 385763"/>
              <a:gd name="connsiteX10" fmla="*/ 93369 w 352425"/>
              <a:gd name="connsiteY10" fmla="*/ 162403 h 385763"/>
              <a:gd name="connsiteX11" fmla="*/ 74109 w 352425"/>
              <a:gd name="connsiteY11" fmla="*/ 116430 h 385763"/>
              <a:gd name="connsiteX12" fmla="*/ 82142 w 352425"/>
              <a:gd name="connsiteY12" fmla="*/ 47575 h 385763"/>
              <a:gd name="connsiteX13" fmla="*/ 99195 w 352425"/>
              <a:gd name="connsiteY13" fmla="*/ 25767 h 385763"/>
              <a:gd name="connsiteX14" fmla="*/ 119062 w 352425"/>
              <a:gd name="connsiteY14" fmla="*/ 0 h 385763"/>
              <a:gd name="connsiteX0" fmla="*/ 124035 w 352425"/>
              <a:gd name="connsiteY0" fmla="*/ 0 h 394558"/>
              <a:gd name="connsiteX1" fmla="*/ 45243 w 352425"/>
              <a:gd name="connsiteY1" fmla="*/ 32608 h 394558"/>
              <a:gd name="connsiteX2" fmla="*/ 0 w 352425"/>
              <a:gd name="connsiteY2" fmla="*/ 108808 h 394558"/>
              <a:gd name="connsiteX3" fmla="*/ 28575 w 352425"/>
              <a:gd name="connsiteY3" fmla="*/ 192152 h 394558"/>
              <a:gd name="connsiteX4" fmla="*/ 116681 w 352425"/>
              <a:gd name="connsiteY4" fmla="*/ 292164 h 394558"/>
              <a:gd name="connsiteX5" fmla="*/ 252412 w 352425"/>
              <a:gd name="connsiteY5" fmla="*/ 363602 h 394558"/>
              <a:gd name="connsiteX6" fmla="*/ 352425 w 352425"/>
              <a:gd name="connsiteY6" fmla="*/ 394558 h 394558"/>
              <a:gd name="connsiteX7" fmla="*/ 221102 w 352425"/>
              <a:gd name="connsiteY7" fmla="*/ 318951 h 394558"/>
              <a:gd name="connsiteX8" fmla="*/ 150018 w 352425"/>
              <a:gd name="connsiteY8" fmla="*/ 270733 h 394558"/>
              <a:gd name="connsiteX9" fmla="*/ 114313 w 352425"/>
              <a:gd name="connsiteY9" fmla="*/ 215323 h 394558"/>
              <a:gd name="connsiteX10" fmla="*/ 93369 w 352425"/>
              <a:gd name="connsiteY10" fmla="*/ 171198 h 394558"/>
              <a:gd name="connsiteX11" fmla="*/ 74109 w 352425"/>
              <a:gd name="connsiteY11" fmla="*/ 125225 h 394558"/>
              <a:gd name="connsiteX12" fmla="*/ 82142 w 352425"/>
              <a:gd name="connsiteY12" fmla="*/ 56370 h 394558"/>
              <a:gd name="connsiteX13" fmla="*/ 99195 w 352425"/>
              <a:gd name="connsiteY13" fmla="*/ 34562 h 394558"/>
              <a:gd name="connsiteX14" fmla="*/ 124035 w 352425"/>
              <a:gd name="connsiteY14" fmla="*/ 0 h 394558"/>
              <a:gd name="connsiteX0" fmla="*/ 124035 w 352425"/>
              <a:gd name="connsiteY0" fmla="*/ 0 h 394558"/>
              <a:gd name="connsiteX1" fmla="*/ 56715 w 352425"/>
              <a:gd name="connsiteY1" fmla="*/ 29423 h 394558"/>
              <a:gd name="connsiteX2" fmla="*/ 0 w 352425"/>
              <a:gd name="connsiteY2" fmla="*/ 108808 h 394558"/>
              <a:gd name="connsiteX3" fmla="*/ 28575 w 352425"/>
              <a:gd name="connsiteY3" fmla="*/ 192152 h 394558"/>
              <a:gd name="connsiteX4" fmla="*/ 116681 w 352425"/>
              <a:gd name="connsiteY4" fmla="*/ 292164 h 394558"/>
              <a:gd name="connsiteX5" fmla="*/ 252412 w 352425"/>
              <a:gd name="connsiteY5" fmla="*/ 363602 h 394558"/>
              <a:gd name="connsiteX6" fmla="*/ 352425 w 352425"/>
              <a:gd name="connsiteY6" fmla="*/ 394558 h 394558"/>
              <a:gd name="connsiteX7" fmla="*/ 221102 w 352425"/>
              <a:gd name="connsiteY7" fmla="*/ 318951 h 394558"/>
              <a:gd name="connsiteX8" fmla="*/ 150018 w 352425"/>
              <a:gd name="connsiteY8" fmla="*/ 270733 h 394558"/>
              <a:gd name="connsiteX9" fmla="*/ 114313 w 352425"/>
              <a:gd name="connsiteY9" fmla="*/ 215323 h 394558"/>
              <a:gd name="connsiteX10" fmla="*/ 93369 w 352425"/>
              <a:gd name="connsiteY10" fmla="*/ 171198 h 394558"/>
              <a:gd name="connsiteX11" fmla="*/ 74109 w 352425"/>
              <a:gd name="connsiteY11" fmla="*/ 125225 h 394558"/>
              <a:gd name="connsiteX12" fmla="*/ 82142 w 352425"/>
              <a:gd name="connsiteY12" fmla="*/ 56370 h 394558"/>
              <a:gd name="connsiteX13" fmla="*/ 99195 w 352425"/>
              <a:gd name="connsiteY13" fmla="*/ 34562 h 394558"/>
              <a:gd name="connsiteX14" fmla="*/ 124035 w 352425"/>
              <a:gd name="connsiteY14" fmla="*/ 0 h 394558"/>
              <a:gd name="connsiteX0" fmla="*/ 112563 w 340953"/>
              <a:gd name="connsiteY0" fmla="*/ 0 h 394558"/>
              <a:gd name="connsiteX1" fmla="*/ 45243 w 340953"/>
              <a:gd name="connsiteY1" fmla="*/ 29423 h 394558"/>
              <a:gd name="connsiteX2" fmla="*/ 0 w 340953"/>
              <a:gd name="connsiteY2" fmla="*/ 105623 h 394558"/>
              <a:gd name="connsiteX3" fmla="*/ 17103 w 340953"/>
              <a:gd name="connsiteY3" fmla="*/ 192152 h 394558"/>
              <a:gd name="connsiteX4" fmla="*/ 105209 w 340953"/>
              <a:gd name="connsiteY4" fmla="*/ 292164 h 394558"/>
              <a:gd name="connsiteX5" fmla="*/ 240940 w 340953"/>
              <a:gd name="connsiteY5" fmla="*/ 363602 h 394558"/>
              <a:gd name="connsiteX6" fmla="*/ 340953 w 340953"/>
              <a:gd name="connsiteY6" fmla="*/ 394558 h 394558"/>
              <a:gd name="connsiteX7" fmla="*/ 209630 w 340953"/>
              <a:gd name="connsiteY7" fmla="*/ 318951 h 394558"/>
              <a:gd name="connsiteX8" fmla="*/ 138546 w 340953"/>
              <a:gd name="connsiteY8" fmla="*/ 270733 h 394558"/>
              <a:gd name="connsiteX9" fmla="*/ 102841 w 340953"/>
              <a:gd name="connsiteY9" fmla="*/ 215323 h 394558"/>
              <a:gd name="connsiteX10" fmla="*/ 81897 w 340953"/>
              <a:gd name="connsiteY10" fmla="*/ 171198 h 394558"/>
              <a:gd name="connsiteX11" fmla="*/ 62637 w 340953"/>
              <a:gd name="connsiteY11" fmla="*/ 125225 h 394558"/>
              <a:gd name="connsiteX12" fmla="*/ 70670 w 340953"/>
              <a:gd name="connsiteY12" fmla="*/ 56370 h 394558"/>
              <a:gd name="connsiteX13" fmla="*/ 87723 w 340953"/>
              <a:gd name="connsiteY13" fmla="*/ 34562 h 394558"/>
              <a:gd name="connsiteX14" fmla="*/ 112563 w 340953"/>
              <a:gd name="connsiteY14" fmla="*/ 0 h 394558"/>
              <a:gd name="connsiteX0" fmla="*/ 112563 w 340953"/>
              <a:gd name="connsiteY0" fmla="*/ 0 h 394558"/>
              <a:gd name="connsiteX1" fmla="*/ 45243 w 340953"/>
              <a:gd name="connsiteY1" fmla="*/ 29423 h 394558"/>
              <a:gd name="connsiteX2" fmla="*/ 0 w 340953"/>
              <a:gd name="connsiteY2" fmla="*/ 105623 h 394558"/>
              <a:gd name="connsiteX3" fmla="*/ 30870 w 340953"/>
              <a:gd name="connsiteY3" fmla="*/ 188331 h 394558"/>
              <a:gd name="connsiteX4" fmla="*/ 105209 w 340953"/>
              <a:gd name="connsiteY4" fmla="*/ 292164 h 394558"/>
              <a:gd name="connsiteX5" fmla="*/ 240940 w 340953"/>
              <a:gd name="connsiteY5" fmla="*/ 363602 h 394558"/>
              <a:gd name="connsiteX6" fmla="*/ 340953 w 340953"/>
              <a:gd name="connsiteY6" fmla="*/ 394558 h 394558"/>
              <a:gd name="connsiteX7" fmla="*/ 209630 w 340953"/>
              <a:gd name="connsiteY7" fmla="*/ 318951 h 394558"/>
              <a:gd name="connsiteX8" fmla="*/ 138546 w 340953"/>
              <a:gd name="connsiteY8" fmla="*/ 270733 h 394558"/>
              <a:gd name="connsiteX9" fmla="*/ 102841 w 340953"/>
              <a:gd name="connsiteY9" fmla="*/ 215323 h 394558"/>
              <a:gd name="connsiteX10" fmla="*/ 81897 w 340953"/>
              <a:gd name="connsiteY10" fmla="*/ 171198 h 394558"/>
              <a:gd name="connsiteX11" fmla="*/ 62637 w 340953"/>
              <a:gd name="connsiteY11" fmla="*/ 125225 h 394558"/>
              <a:gd name="connsiteX12" fmla="*/ 70670 w 340953"/>
              <a:gd name="connsiteY12" fmla="*/ 56370 h 394558"/>
              <a:gd name="connsiteX13" fmla="*/ 87723 w 340953"/>
              <a:gd name="connsiteY13" fmla="*/ 34562 h 394558"/>
              <a:gd name="connsiteX14" fmla="*/ 112563 w 340953"/>
              <a:gd name="connsiteY14" fmla="*/ 0 h 394558"/>
              <a:gd name="connsiteX0" fmla="*/ 112563 w 340953"/>
              <a:gd name="connsiteY0" fmla="*/ 0 h 394558"/>
              <a:gd name="connsiteX1" fmla="*/ 45243 w 340953"/>
              <a:gd name="connsiteY1" fmla="*/ 29423 h 394558"/>
              <a:gd name="connsiteX2" fmla="*/ 0 w 340953"/>
              <a:gd name="connsiteY2" fmla="*/ 105623 h 394558"/>
              <a:gd name="connsiteX3" fmla="*/ 30870 w 340953"/>
              <a:gd name="connsiteY3" fmla="*/ 188331 h 394558"/>
              <a:gd name="connsiteX4" fmla="*/ 112093 w 340953"/>
              <a:gd name="connsiteY4" fmla="*/ 290253 h 394558"/>
              <a:gd name="connsiteX5" fmla="*/ 240940 w 340953"/>
              <a:gd name="connsiteY5" fmla="*/ 363602 h 394558"/>
              <a:gd name="connsiteX6" fmla="*/ 340953 w 340953"/>
              <a:gd name="connsiteY6" fmla="*/ 394558 h 394558"/>
              <a:gd name="connsiteX7" fmla="*/ 209630 w 340953"/>
              <a:gd name="connsiteY7" fmla="*/ 318951 h 394558"/>
              <a:gd name="connsiteX8" fmla="*/ 138546 w 340953"/>
              <a:gd name="connsiteY8" fmla="*/ 270733 h 394558"/>
              <a:gd name="connsiteX9" fmla="*/ 102841 w 340953"/>
              <a:gd name="connsiteY9" fmla="*/ 215323 h 394558"/>
              <a:gd name="connsiteX10" fmla="*/ 81897 w 340953"/>
              <a:gd name="connsiteY10" fmla="*/ 171198 h 394558"/>
              <a:gd name="connsiteX11" fmla="*/ 62637 w 340953"/>
              <a:gd name="connsiteY11" fmla="*/ 125225 h 394558"/>
              <a:gd name="connsiteX12" fmla="*/ 70670 w 340953"/>
              <a:gd name="connsiteY12" fmla="*/ 56370 h 394558"/>
              <a:gd name="connsiteX13" fmla="*/ 87723 w 340953"/>
              <a:gd name="connsiteY13" fmla="*/ 34562 h 394558"/>
              <a:gd name="connsiteX14" fmla="*/ 112563 w 340953"/>
              <a:gd name="connsiteY14" fmla="*/ 0 h 394558"/>
              <a:gd name="connsiteX0" fmla="*/ 112563 w 340953"/>
              <a:gd name="connsiteY0" fmla="*/ 0 h 394558"/>
              <a:gd name="connsiteX1" fmla="*/ 45243 w 340953"/>
              <a:gd name="connsiteY1" fmla="*/ 29423 h 394558"/>
              <a:gd name="connsiteX2" fmla="*/ 0 w 340953"/>
              <a:gd name="connsiteY2" fmla="*/ 105623 h 394558"/>
              <a:gd name="connsiteX3" fmla="*/ 30870 w 340953"/>
              <a:gd name="connsiteY3" fmla="*/ 188331 h 394558"/>
              <a:gd name="connsiteX4" fmla="*/ 112093 w 340953"/>
              <a:gd name="connsiteY4" fmla="*/ 290253 h 394558"/>
              <a:gd name="connsiteX5" fmla="*/ 242598 w 340953"/>
              <a:gd name="connsiteY5" fmla="*/ 360671 h 394558"/>
              <a:gd name="connsiteX6" fmla="*/ 340953 w 340953"/>
              <a:gd name="connsiteY6" fmla="*/ 394558 h 394558"/>
              <a:gd name="connsiteX7" fmla="*/ 209630 w 340953"/>
              <a:gd name="connsiteY7" fmla="*/ 318951 h 394558"/>
              <a:gd name="connsiteX8" fmla="*/ 138546 w 340953"/>
              <a:gd name="connsiteY8" fmla="*/ 270733 h 394558"/>
              <a:gd name="connsiteX9" fmla="*/ 102841 w 340953"/>
              <a:gd name="connsiteY9" fmla="*/ 215323 h 394558"/>
              <a:gd name="connsiteX10" fmla="*/ 81897 w 340953"/>
              <a:gd name="connsiteY10" fmla="*/ 171198 h 394558"/>
              <a:gd name="connsiteX11" fmla="*/ 62637 w 340953"/>
              <a:gd name="connsiteY11" fmla="*/ 125225 h 394558"/>
              <a:gd name="connsiteX12" fmla="*/ 70670 w 340953"/>
              <a:gd name="connsiteY12" fmla="*/ 56370 h 394558"/>
              <a:gd name="connsiteX13" fmla="*/ 87723 w 340953"/>
              <a:gd name="connsiteY13" fmla="*/ 34562 h 394558"/>
              <a:gd name="connsiteX14" fmla="*/ 112563 w 340953"/>
              <a:gd name="connsiteY14" fmla="*/ 0 h 394558"/>
              <a:gd name="connsiteX0" fmla="*/ 112563 w 366192"/>
              <a:gd name="connsiteY0" fmla="*/ 0 h 387552"/>
              <a:gd name="connsiteX1" fmla="*/ 45243 w 366192"/>
              <a:gd name="connsiteY1" fmla="*/ 29423 h 387552"/>
              <a:gd name="connsiteX2" fmla="*/ 0 w 366192"/>
              <a:gd name="connsiteY2" fmla="*/ 105623 h 387552"/>
              <a:gd name="connsiteX3" fmla="*/ 30870 w 366192"/>
              <a:gd name="connsiteY3" fmla="*/ 188331 h 387552"/>
              <a:gd name="connsiteX4" fmla="*/ 112093 w 366192"/>
              <a:gd name="connsiteY4" fmla="*/ 290253 h 387552"/>
              <a:gd name="connsiteX5" fmla="*/ 242598 w 366192"/>
              <a:gd name="connsiteY5" fmla="*/ 360671 h 387552"/>
              <a:gd name="connsiteX6" fmla="*/ 366192 w 366192"/>
              <a:gd name="connsiteY6" fmla="*/ 387552 h 387552"/>
              <a:gd name="connsiteX7" fmla="*/ 209630 w 366192"/>
              <a:gd name="connsiteY7" fmla="*/ 318951 h 387552"/>
              <a:gd name="connsiteX8" fmla="*/ 138546 w 366192"/>
              <a:gd name="connsiteY8" fmla="*/ 270733 h 387552"/>
              <a:gd name="connsiteX9" fmla="*/ 102841 w 366192"/>
              <a:gd name="connsiteY9" fmla="*/ 215323 h 387552"/>
              <a:gd name="connsiteX10" fmla="*/ 81897 w 366192"/>
              <a:gd name="connsiteY10" fmla="*/ 171198 h 387552"/>
              <a:gd name="connsiteX11" fmla="*/ 62637 w 366192"/>
              <a:gd name="connsiteY11" fmla="*/ 125225 h 387552"/>
              <a:gd name="connsiteX12" fmla="*/ 70670 w 366192"/>
              <a:gd name="connsiteY12" fmla="*/ 56370 h 387552"/>
              <a:gd name="connsiteX13" fmla="*/ 87723 w 366192"/>
              <a:gd name="connsiteY13" fmla="*/ 34562 h 387552"/>
              <a:gd name="connsiteX14" fmla="*/ 112563 w 366192"/>
              <a:gd name="connsiteY14" fmla="*/ 0 h 387552"/>
              <a:gd name="connsiteX0" fmla="*/ 112563 w 366192"/>
              <a:gd name="connsiteY0" fmla="*/ 0 h 387552"/>
              <a:gd name="connsiteX1" fmla="*/ 45243 w 366192"/>
              <a:gd name="connsiteY1" fmla="*/ 29423 h 387552"/>
              <a:gd name="connsiteX2" fmla="*/ 0 w 366192"/>
              <a:gd name="connsiteY2" fmla="*/ 105623 h 387552"/>
              <a:gd name="connsiteX3" fmla="*/ 30870 w 366192"/>
              <a:gd name="connsiteY3" fmla="*/ 188331 h 387552"/>
              <a:gd name="connsiteX4" fmla="*/ 112093 w 366192"/>
              <a:gd name="connsiteY4" fmla="*/ 290253 h 387552"/>
              <a:gd name="connsiteX5" fmla="*/ 242598 w 366192"/>
              <a:gd name="connsiteY5" fmla="*/ 360671 h 387552"/>
              <a:gd name="connsiteX6" fmla="*/ 366192 w 366192"/>
              <a:gd name="connsiteY6" fmla="*/ 387552 h 387552"/>
              <a:gd name="connsiteX7" fmla="*/ 217151 w 366192"/>
              <a:gd name="connsiteY7" fmla="*/ 319335 h 387552"/>
              <a:gd name="connsiteX8" fmla="*/ 138546 w 366192"/>
              <a:gd name="connsiteY8" fmla="*/ 270733 h 387552"/>
              <a:gd name="connsiteX9" fmla="*/ 102841 w 366192"/>
              <a:gd name="connsiteY9" fmla="*/ 215323 h 387552"/>
              <a:gd name="connsiteX10" fmla="*/ 81897 w 366192"/>
              <a:gd name="connsiteY10" fmla="*/ 171198 h 387552"/>
              <a:gd name="connsiteX11" fmla="*/ 62637 w 366192"/>
              <a:gd name="connsiteY11" fmla="*/ 125225 h 387552"/>
              <a:gd name="connsiteX12" fmla="*/ 70670 w 366192"/>
              <a:gd name="connsiteY12" fmla="*/ 56370 h 387552"/>
              <a:gd name="connsiteX13" fmla="*/ 87723 w 366192"/>
              <a:gd name="connsiteY13" fmla="*/ 34562 h 387552"/>
              <a:gd name="connsiteX14" fmla="*/ 112563 w 366192"/>
              <a:gd name="connsiteY14" fmla="*/ 0 h 387552"/>
              <a:gd name="connsiteX0" fmla="*/ 112563 w 366192"/>
              <a:gd name="connsiteY0" fmla="*/ 0 h 387552"/>
              <a:gd name="connsiteX1" fmla="*/ 45243 w 366192"/>
              <a:gd name="connsiteY1" fmla="*/ 29423 h 387552"/>
              <a:gd name="connsiteX2" fmla="*/ 0 w 366192"/>
              <a:gd name="connsiteY2" fmla="*/ 105623 h 387552"/>
              <a:gd name="connsiteX3" fmla="*/ 30870 w 366192"/>
              <a:gd name="connsiteY3" fmla="*/ 188331 h 387552"/>
              <a:gd name="connsiteX4" fmla="*/ 112093 w 366192"/>
              <a:gd name="connsiteY4" fmla="*/ 290253 h 387552"/>
              <a:gd name="connsiteX5" fmla="*/ 242598 w 366192"/>
              <a:gd name="connsiteY5" fmla="*/ 360671 h 387552"/>
              <a:gd name="connsiteX6" fmla="*/ 366192 w 366192"/>
              <a:gd name="connsiteY6" fmla="*/ 387552 h 387552"/>
              <a:gd name="connsiteX7" fmla="*/ 217151 w 366192"/>
              <a:gd name="connsiteY7" fmla="*/ 319335 h 387552"/>
              <a:gd name="connsiteX8" fmla="*/ 155628 w 366192"/>
              <a:gd name="connsiteY8" fmla="*/ 261049 h 387552"/>
              <a:gd name="connsiteX9" fmla="*/ 102841 w 366192"/>
              <a:gd name="connsiteY9" fmla="*/ 215323 h 387552"/>
              <a:gd name="connsiteX10" fmla="*/ 81897 w 366192"/>
              <a:gd name="connsiteY10" fmla="*/ 171198 h 387552"/>
              <a:gd name="connsiteX11" fmla="*/ 62637 w 366192"/>
              <a:gd name="connsiteY11" fmla="*/ 125225 h 387552"/>
              <a:gd name="connsiteX12" fmla="*/ 70670 w 366192"/>
              <a:gd name="connsiteY12" fmla="*/ 56370 h 387552"/>
              <a:gd name="connsiteX13" fmla="*/ 87723 w 366192"/>
              <a:gd name="connsiteY13" fmla="*/ 34562 h 387552"/>
              <a:gd name="connsiteX14" fmla="*/ 112563 w 366192"/>
              <a:gd name="connsiteY14" fmla="*/ 0 h 387552"/>
              <a:gd name="connsiteX0" fmla="*/ 112563 w 366192"/>
              <a:gd name="connsiteY0" fmla="*/ 0 h 387552"/>
              <a:gd name="connsiteX1" fmla="*/ 45243 w 366192"/>
              <a:gd name="connsiteY1" fmla="*/ 29423 h 387552"/>
              <a:gd name="connsiteX2" fmla="*/ 0 w 366192"/>
              <a:gd name="connsiteY2" fmla="*/ 105623 h 387552"/>
              <a:gd name="connsiteX3" fmla="*/ 30870 w 366192"/>
              <a:gd name="connsiteY3" fmla="*/ 188331 h 387552"/>
              <a:gd name="connsiteX4" fmla="*/ 112093 w 366192"/>
              <a:gd name="connsiteY4" fmla="*/ 290253 h 387552"/>
              <a:gd name="connsiteX5" fmla="*/ 242598 w 366192"/>
              <a:gd name="connsiteY5" fmla="*/ 360671 h 387552"/>
              <a:gd name="connsiteX6" fmla="*/ 366192 w 366192"/>
              <a:gd name="connsiteY6" fmla="*/ 387552 h 387552"/>
              <a:gd name="connsiteX7" fmla="*/ 217151 w 366192"/>
              <a:gd name="connsiteY7" fmla="*/ 319335 h 387552"/>
              <a:gd name="connsiteX8" fmla="*/ 155628 w 366192"/>
              <a:gd name="connsiteY8" fmla="*/ 261049 h 387552"/>
              <a:gd name="connsiteX9" fmla="*/ 102841 w 366192"/>
              <a:gd name="connsiteY9" fmla="*/ 215323 h 387552"/>
              <a:gd name="connsiteX10" fmla="*/ 89418 w 366192"/>
              <a:gd name="connsiteY10" fmla="*/ 171582 h 387552"/>
              <a:gd name="connsiteX11" fmla="*/ 62637 w 366192"/>
              <a:gd name="connsiteY11" fmla="*/ 125225 h 387552"/>
              <a:gd name="connsiteX12" fmla="*/ 70670 w 366192"/>
              <a:gd name="connsiteY12" fmla="*/ 56370 h 387552"/>
              <a:gd name="connsiteX13" fmla="*/ 87723 w 366192"/>
              <a:gd name="connsiteY13" fmla="*/ 34562 h 387552"/>
              <a:gd name="connsiteX14" fmla="*/ 112563 w 366192"/>
              <a:gd name="connsiteY14" fmla="*/ 0 h 387552"/>
              <a:gd name="connsiteX0" fmla="*/ 112563 w 366192"/>
              <a:gd name="connsiteY0" fmla="*/ 0 h 387552"/>
              <a:gd name="connsiteX1" fmla="*/ 45243 w 366192"/>
              <a:gd name="connsiteY1" fmla="*/ 29423 h 387552"/>
              <a:gd name="connsiteX2" fmla="*/ 0 w 366192"/>
              <a:gd name="connsiteY2" fmla="*/ 105623 h 387552"/>
              <a:gd name="connsiteX3" fmla="*/ 30870 w 366192"/>
              <a:gd name="connsiteY3" fmla="*/ 188331 h 387552"/>
              <a:gd name="connsiteX4" fmla="*/ 112093 w 366192"/>
              <a:gd name="connsiteY4" fmla="*/ 290253 h 387552"/>
              <a:gd name="connsiteX5" fmla="*/ 242598 w 366192"/>
              <a:gd name="connsiteY5" fmla="*/ 360671 h 387552"/>
              <a:gd name="connsiteX6" fmla="*/ 366192 w 366192"/>
              <a:gd name="connsiteY6" fmla="*/ 387552 h 387552"/>
              <a:gd name="connsiteX7" fmla="*/ 217151 w 366192"/>
              <a:gd name="connsiteY7" fmla="*/ 319335 h 387552"/>
              <a:gd name="connsiteX8" fmla="*/ 155628 w 366192"/>
              <a:gd name="connsiteY8" fmla="*/ 261049 h 387552"/>
              <a:gd name="connsiteX9" fmla="*/ 102841 w 366192"/>
              <a:gd name="connsiteY9" fmla="*/ 215323 h 387552"/>
              <a:gd name="connsiteX10" fmla="*/ 89418 w 366192"/>
              <a:gd name="connsiteY10" fmla="*/ 171582 h 387552"/>
              <a:gd name="connsiteX11" fmla="*/ 71815 w 366192"/>
              <a:gd name="connsiteY11" fmla="*/ 122677 h 387552"/>
              <a:gd name="connsiteX12" fmla="*/ 70670 w 366192"/>
              <a:gd name="connsiteY12" fmla="*/ 56370 h 387552"/>
              <a:gd name="connsiteX13" fmla="*/ 87723 w 366192"/>
              <a:gd name="connsiteY13" fmla="*/ 34562 h 387552"/>
              <a:gd name="connsiteX14" fmla="*/ 112563 w 366192"/>
              <a:gd name="connsiteY14" fmla="*/ 0 h 387552"/>
              <a:gd name="connsiteX0" fmla="*/ 135499 w 366192"/>
              <a:gd name="connsiteY0" fmla="*/ 8694 h 358129"/>
              <a:gd name="connsiteX1" fmla="*/ 45243 w 366192"/>
              <a:gd name="connsiteY1" fmla="*/ 0 h 358129"/>
              <a:gd name="connsiteX2" fmla="*/ 0 w 366192"/>
              <a:gd name="connsiteY2" fmla="*/ 76200 h 358129"/>
              <a:gd name="connsiteX3" fmla="*/ 30870 w 366192"/>
              <a:gd name="connsiteY3" fmla="*/ 158908 h 358129"/>
              <a:gd name="connsiteX4" fmla="*/ 112093 w 366192"/>
              <a:gd name="connsiteY4" fmla="*/ 260830 h 358129"/>
              <a:gd name="connsiteX5" fmla="*/ 242598 w 366192"/>
              <a:gd name="connsiteY5" fmla="*/ 331248 h 358129"/>
              <a:gd name="connsiteX6" fmla="*/ 366192 w 366192"/>
              <a:gd name="connsiteY6" fmla="*/ 358129 h 358129"/>
              <a:gd name="connsiteX7" fmla="*/ 217151 w 366192"/>
              <a:gd name="connsiteY7" fmla="*/ 289912 h 358129"/>
              <a:gd name="connsiteX8" fmla="*/ 155628 w 366192"/>
              <a:gd name="connsiteY8" fmla="*/ 231626 h 358129"/>
              <a:gd name="connsiteX9" fmla="*/ 102841 w 366192"/>
              <a:gd name="connsiteY9" fmla="*/ 185900 h 358129"/>
              <a:gd name="connsiteX10" fmla="*/ 89418 w 366192"/>
              <a:gd name="connsiteY10" fmla="*/ 142159 h 358129"/>
              <a:gd name="connsiteX11" fmla="*/ 71815 w 366192"/>
              <a:gd name="connsiteY11" fmla="*/ 93254 h 358129"/>
              <a:gd name="connsiteX12" fmla="*/ 70670 w 366192"/>
              <a:gd name="connsiteY12" fmla="*/ 26947 h 358129"/>
              <a:gd name="connsiteX13" fmla="*/ 87723 w 366192"/>
              <a:gd name="connsiteY13" fmla="*/ 5139 h 358129"/>
              <a:gd name="connsiteX14" fmla="*/ 135499 w 366192"/>
              <a:gd name="connsiteY14" fmla="*/ 8694 h 358129"/>
              <a:gd name="connsiteX0" fmla="*/ 135499 w 366192"/>
              <a:gd name="connsiteY0" fmla="*/ 8694 h 358129"/>
              <a:gd name="connsiteX1" fmla="*/ 45243 w 366192"/>
              <a:gd name="connsiteY1" fmla="*/ 0 h 358129"/>
              <a:gd name="connsiteX2" fmla="*/ 0 w 366192"/>
              <a:gd name="connsiteY2" fmla="*/ 76200 h 358129"/>
              <a:gd name="connsiteX3" fmla="*/ 30870 w 366192"/>
              <a:gd name="connsiteY3" fmla="*/ 158908 h 358129"/>
              <a:gd name="connsiteX4" fmla="*/ 112093 w 366192"/>
              <a:gd name="connsiteY4" fmla="*/ 260830 h 358129"/>
              <a:gd name="connsiteX5" fmla="*/ 242598 w 366192"/>
              <a:gd name="connsiteY5" fmla="*/ 331248 h 358129"/>
              <a:gd name="connsiteX6" fmla="*/ 366192 w 366192"/>
              <a:gd name="connsiteY6" fmla="*/ 358129 h 358129"/>
              <a:gd name="connsiteX7" fmla="*/ 217151 w 366192"/>
              <a:gd name="connsiteY7" fmla="*/ 289912 h 358129"/>
              <a:gd name="connsiteX8" fmla="*/ 155628 w 366192"/>
              <a:gd name="connsiteY8" fmla="*/ 231626 h 358129"/>
              <a:gd name="connsiteX9" fmla="*/ 102841 w 366192"/>
              <a:gd name="connsiteY9" fmla="*/ 185900 h 358129"/>
              <a:gd name="connsiteX10" fmla="*/ 89418 w 366192"/>
              <a:gd name="connsiteY10" fmla="*/ 142159 h 358129"/>
              <a:gd name="connsiteX11" fmla="*/ 71815 w 366192"/>
              <a:gd name="connsiteY11" fmla="*/ 93254 h 358129"/>
              <a:gd name="connsiteX12" fmla="*/ 82396 w 366192"/>
              <a:gd name="connsiteY12" fmla="*/ 33577 h 358129"/>
              <a:gd name="connsiteX13" fmla="*/ 87723 w 366192"/>
              <a:gd name="connsiteY13" fmla="*/ 5139 h 358129"/>
              <a:gd name="connsiteX14" fmla="*/ 135499 w 366192"/>
              <a:gd name="connsiteY14" fmla="*/ 8694 h 358129"/>
              <a:gd name="connsiteX0" fmla="*/ 135499 w 366192"/>
              <a:gd name="connsiteY0" fmla="*/ 14071 h 363506"/>
              <a:gd name="connsiteX1" fmla="*/ 45243 w 366192"/>
              <a:gd name="connsiteY1" fmla="*/ 5377 h 363506"/>
              <a:gd name="connsiteX2" fmla="*/ 0 w 366192"/>
              <a:gd name="connsiteY2" fmla="*/ 81577 h 363506"/>
              <a:gd name="connsiteX3" fmla="*/ 30870 w 366192"/>
              <a:gd name="connsiteY3" fmla="*/ 164285 h 363506"/>
              <a:gd name="connsiteX4" fmla="*/ 112093 w 366192"/>
              <a:gd name="connsiteY4" fmla="*/ 266207 h 363506"/>
              <a:gd name="connsiteX5" fmla="*/ 242598 w 366192"/>
              <a:gd name="connsiteY5" fmla="*/ 336625 h 363506"/>
              <a:gd name="connsiteX6" fmla="*/ 366192 w 366192"/>
              <a:gd name="connsiteY6" fmla="*/ 363506 h 363506"/>
              <a:gd name="connsiteX7" fmla="*/ 217151 w 366192"/>
              <a:gd name="connsiteY7" fmla="*/ 295289 h 363506"/>
              <a:gd name="connsiteX8" fmla="*/ 155628 w 366192"/>
              <a:gd name="connsiteY8" fmla="*/ 237003 h 363506"/>
              <a:gd name="connsiteX9" fmla="*/ 102841 w 366192"/>
              <a:gd name="connsiteY9" fmla="*/ 191277 h 363506"/>
              <a:gd name="connsiteX10" fmla="*/ 89418 w 366192"/>
              <a:gd name="connsiteY10" fmla="*/ 147536 h 363506"/>
              <a:gd name="connsiteX11" fmla="*/ 71815 w 366192"/>
              <a:gd name="connsiteY11" fmla="*/ 98631 h 363506"/>
              <a:gd name="connsiteX12" fmla="*/ 82396 w 366192"/>
              <a:gd name="connsiteY12" fmla="*/ 38954 h 363506"/>
              <a:gd name="connsiteX13" fmla="*/ 89765 w 366192"/>
              <a:gd name="connsiteY13" fmla="*/ 64 h 363506"/>
              <a:gd name="connsiteX14" fmla="*/ 135499 w 366192"/>
              <a:gd name="connsiteY14" fmla="*/ 14071 h 363506"/>
              <a:gd name="connsiteX0" fmla="*/ 135499 w 366192"/>
              <a:gd name="connsiteY0" fmla="*/ 8694 h 358129"/>
              <a:gd name="connsiteX1" fmla="*/ 45243 w 366192"/>
              <a:gd name="connsiteY1" fmla="*/ 0 h 358129"/>
              <a:gd name="connsiteX2" fmla="*/ 0 w 366192"/>
              <a:gd name="connsiteY2" fmla="*/ 76200 h 358129"/>
              <a:gd name="connsiteX3" fmla="*/ 30870 w 366192"/>
              <a:gd name="connsiteY3" fmla="*/ 158908 h 358129"/>
              <a:gd name="connsiteX4" fmla="*/ 112093 w 366192"/>
              <a:gd name="connsiteY4" fmla="*/ 260830 h 358129"/>
              <a:gd name="connsiteX5" fmla="*/ 242598 w 366192"/>
              <a:gd name="connsiteY5" fmla="*/ 331248 h 358129"/>
              <a:gd name="connsiteX6" fmla="*/ 366192 w 366192"/>
              <a:gd name="connsiteY6" fmla="*/ 358129 h 358129"/>
              <a:gd name="connsiteX7" fmla="*/ 217151 w 366192"/>
              <a:gd name="connsiteY7" fmla="*/ 289912 h 358129"/>
              <a:gd name="connsiteX8" fmla="*/ 155628 w 366192"/>
              <a:gd name="connsiteY8" fmla="*/ 231626 h 358129"/>
              <a:gd name="connsiteX9" fmla="*/ 102841 w 366192"/>
              <a:gd name="connsiteY9" fmla="*/ 185900 h 358129"/>
              <a:gd name="connsiteX10" fmla="*/ 89418 w 366192"/>
              <a:gd name="connsiteY10" fmla="*/ 142159 h 358129"/>
              <a:gd name="connsiteX11" fmla="*/ 71815 w 366192"/>
              <a:gd name="connsiteY11" fmla="*/ 93254 h 358129"/>
              <a:gd name="connsiteX12" fmla="*/ 82396 w 366192"/>
              <a:gd name="connsiteY12" fmla="*/ 33577 h 358129"/>
              <a:gd name="connsiteX13" fmla="*/ 101744 w 366192"/>
              <a:gd name="connsiteY13" fmla="*/ 11132 h 358129"/>
              <a:gd name="connsiteX14" fmla="*/ 135499 w 366192"/>
              <a:gd name="connsiteY14" fmla="*/ 8694 h 358129"/>
              <a:gd name="connsiteX0" fmla="*/ 135499 w 366192"/>
              <a:gd name="connsiteY0" fmla="*/ 8694 h 358129"/>
              <a:gd name="connsiteX1" fmla="*/ 45243 w 366192"/>
              <a:gd name="connsiteY1" fmla="*/ 0 h 358129"/>
              <a:gd name="connsiteX2" fmla="*/ 0 w 366192"/>
              <a:gd name="connsiteY2" fmla="*/ 76200 h 358129"/>
              <a:gd name="connsiteX3" fmla="*/ 30870 w 366192"/>
              <a:gd name="connsiteY3" fmla="*/ 158908 h 358129"/>
              <a:gd name="connsiteX4" fmla="*/ 112093 w 366192"/>
              <a:gd name="connsiteY4" fmla="*/ 260830 h 358129"/>
              <a:gd name="connsiteX5" fmla="*/ 242598 w 366192"/>
              <a:gd name="connsiteY5" fmla="*/ 331248 h 358129"/>
              <a:gd name="connsiteX6" fmla="*/ 366192 w 366192"/>
              <a:gd name="connsiteY6" fmla="*/ 358129 h 358129"/>
              <a:gd name="connsiteX7" fmla="*/ 217151 w 366192"/>
              <a:gd name="connsiteY7" fmla="*/ 289912 h 358129"/>
              <a:gd name="connsiteX8" fmla="*/ 155628 w 366192"/>
              <a:gd name="connsiteY8" fmla="*/ 231626 h 358129"/>
              <a:gd name="connsiteX9" fmla="*/ 102841 w 366192"/>
              <a:gd name="connsiteY9" fmla="*/ 185900 h 358129"/>
              <a:gd name="connsiteX10" fmla="*/ 89418 w 366192"/>
              <a:gd name="connsiteY10" fmla="*/ 142159 h 358129"/>
              <a:gd name="connsiteX11" fmla="*/ 71815 w 366192"/>
              <a:gd name="connsiteY11" fmla="*/ 93254 h 358129"/>
              <a:gd name="connsiteX12" fmla="*/ 82396 w 366192"/>
              <a:gd name="connsiteY12" fmla="*/ 33577 h 358129"/>
              <a:gd name="connsiteX13" fmla="*/ 101744 w 366192"/>
              <a:gd name="connsiteY13" fmla="*/ 11132 h 358129"/>
              <a:gd name="connsiteX14" fmla="*/ 135499 w 366192"/>
              <a:gd name="connsiteY14" fmla="*/ 8694 h 358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6192" h="358129">
                <a:moveTo>
                  <a:pt x="135499" y="8694"/>
                </a:moveTo>
                <a:lnTo>
                  <a:pt x="45243" y="0"/>
                </a:lnTo>
                <a:lnTo>
                  <a:pt x="0" y="76200"/>
                </a:lnTo>
                <a:lnTo>
                  <a:pt x="30870" y="158908"/>
                </a:lnTo>
                <a:lnTo>
                  <a:pt x="112093" y="260830"/>
                </a:lnTo>
                <a:lnTo>
                  <a:pt x="242598" y="331248"/>
                </a:lnTo>
                <a:lnTo>
                  <a:pt x="366192" y="358129"/>
                </a:lnTo>
                <a:lnTo>
                  <a:pt x="217151" y="289912"/>
                </a:lnTo>
                <a:lnTo>
                  <a:pt x="155628" y="231626"/>
                </a:lnTo>
                <a:lnTo>
                  <a:pt x="102841" y="185900"/>
                </a:lnTo>
                <a:cubicBezTo>
                  <a:pt x="90930" y="174207"/>
                  <a:pt x="94589" y="157600"/>
                  <a:pt x="89418" y="142159"/>
                </a:cubicBezTo>
                <a:cubicBezTo>
                  <a:pt x="84247" y="126718"/>
                  <a:pt x="76578" y="111510"/>
                  <a:pt x="71815" y="93254"/>
                </a:cubicBezTo>
                <a:cubicBezTo>
                  <a:pt x="70924" y="66350"/>
                  <a:pt x="83287" y="60481"/>
                  <a:pt x="82396" y="33577"/>
                </a:cubicBezTo>
                <a:cubicBezTo>
                  <a:pt x="87952" y="28815"/>
                  <a:pt x="96711" y="36985"/>
                  <a:pt x="101744" y="11132"/>
                </a:cubicBezTo>
                <a:cubicBezTo>
                  <a:pt x="104505" y="9375"/>
                  <a:pt x="114068" y="27744"/>
                  <a:pt x="135499" y="8694"/>
                </a:cubicBezTo>
                <a:close/>
              </a:path>
            </a:pathLst>
          </a:custGeom>
          <a:solidFill>
            <a:srgbClr val="E7C082">
              <a:alpha val="55000"/>
            </a:srgb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4B6F078-2BB2-4895-A3E9-A1C75695FF41}"/>
              </a:ext>
            </a:extLst>
          </p:cNvPr>
          <p:cNvSpPr/>
          <p:nvPr/>
        </p:nvSpPr>
        <p:spPr bwMode="auto">
          <a:xfrm rot="19819946" flipH="1">
            <a:off x="5300326" y="5285629"/>
            <a:ext cx="276213" cy="226783"/>
          </a:xfrm>
          <a:custGeom>
            <a:avLst/>
            <a:gdLst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04787 w 352425"/>
              <a:gd name="connsiteY7" fmla="*/ 304800 h 385763"/>
              <a:gd name="connsiteX8" fmla="*/ 150018 w 352425"/>
              <a:gd name="connsiteY8" fmla="*/ 261938 h 385763"/>
              <a:gd name="connsiteX9" fmla="*/ 83343 w 352425"/>
              <a:gd name="connsiteY9" fmla="*/ 192882 h 385763"/>
              <a:gd name="connsiteX10" fmla="*/ 78581 w 352425"/>
              <a:gd name="connsiteY10" fmla="*/ 171450 h 385763"/>
              <a:gd name="connsiteX11" fmla="*/ 64293 w 352425"/>
              <a:gd name="connsiteY11" fmla="*/ 116682 h 385763"/>
              <a:gd name="connsiteX12" fmla="*/ 71437 w 352425"/>
              <a:gd name="connsiteY12" fmla="*/ 35719 h 385763"/>
              <a:gd name="connsiteX13" fmla="*/ 88106 w 352425"/>
              <a:gd name="connsiteY13" fmla="*/ 21432 h 385763"/>
              <a:gd name="connsiteX14" fmla="*/ 119062 w 352425"/>
              <a:gd name="connsiteY14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04787 w 352425"/>
              <a:gd name="connsiteY7" fmla="*/ 304800 h 385763"/>
              <a:gd name="connsiteX8" fmla="*/ 150018 w 352425"/>
              <a:gd name="connsiteY8" fmla="*/ 261938 h 385763"/>
              <a:gd name="connsiteX9" fmla="*/ 83343 w 352425"/>
              <a:gd name="connsiteY9" fmla="*/ 192882 h 385763"/>
              <a:gd name="connsiteX10" fmla="*/ 78581 w 352425"/>
              <a:gd name="connsiteY10" fmla="*/ 171450 h 385763"/>
              <a:gd name="connsiteX11" fmla="*/ 64293 w 352425"/>
              <a:gd name="connsiteY11" fmla="*/ 116682 h 385763"/>
              <a:gd name="connsiteX12" fmla="*/ 71437 w 352425"/>
              <a:gd name="connsiteY12" fmla="*/ 35719 h 385763"/>
              <a:gd name="connsiteX13" fmla="*/ 119062 w 352425"/>
              <a:gd name="connsiteY13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04787 w 352425"/>
              <a:gd name="connsiteY7" fmla="*/ 304800 h 385763"/>
              <a:gd name="connsiteX8" fmla="*/ 150018 w 352425"/>
              <a:gd name="connsiteY8" fmla="*/ 261938 h 385763"/>
              <a:gd name="connsiteX9" fmla="*/ 83343 w 352425"/>
              <a:gd name="connsiteY9" fmla="*/ 192882 h 385763"/>
              <a:gd name="connsiteX10" fmla="*/ 78581 w 352425"/>
              <a:gd name="connsiteY10" fmla="*/ 171450 h 385763"/>
              <a:gd name="connsiteX11" fmla="*/ 64293 w 352425"/>
              <a:gd name="connsiteY11" fmla="*/ 116682 h 385763"/>
              <a:gd name="connsiteX12" fmla="*/ 73290 w 352425"/>
              <a:gd name="connsiteY12" fmla="*/ 50482 h 385763"/>
              <a:gd name="connsiteX13" fmla="*/ 119062 w 352425"/>
              <a:gd name="connsiteY13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04787 w 352425"/>
              <a:gd name="connsiteY7" fmla="*/ 304800 h 385763"/>
              <a:gd name="connsiteX8" fmla="*/ 150018 w 352425"/>
              <a:gd name="connsiteY8" fmla="*/ 261938 h 385763"/>
              <a:gd name="connsiteX9" fmla="*/ 99552 w 352425"/>
              <a:gd name="connsiteY9" fmla="*/ 201831 h 385763"/>
              <a:gd name="connsiteX10" fmla="*/ 78581 w 352425"/>
              <a:gd name="connsiteY10" fmla="*/ 171450 h 385763"/>
              <a:gd name="connsiteX11" fmla="*/ 64293 w 352425"/>
              <a:gd name="connsiteY11" fmla="*/ 116682 h 385763"/>
              <a:gd name="connsiteX12" fmla="*/ 73290 w 352425"/>
              <a:gd name="connsiteY12" fmla="*/ 50482 h 385763"/>
              <a:gd name="connsiteX13" fmla="*/ 119062 w 352425"/>
              <a:gd name="connsiteY13" fmla="*/ 0 h 385763"/>
              <a:gd name="connsiteX0" fmla="*/ 119062 w 352425"/>
              <a:gd name="connsiteY0" fmla="*/ 0 h 385763"/>
              <a:gd name="connsiteX1" fmla="*/ 45243 w 352425"/>
              <a:gd name="connsiteY1" fmla="*/ 23813 h 385763"/>
              <a:gd name="connsiteX2" fmla="*/ 0 w 352425"/>
              <a:gd name="connsiteY2" fmla="*/ 100013 h 385763"/>
              <a:gd name="connsiteX3" fmla="*/ 28575 w 352425"/>
              <a:gd name="connsiteY3" fmla="*/ 183357 h 385763"/>
              <a:gd name="connsiteX4" fmla="*/ 116681 w 352425"/>
              <a:gd name="connsiteY4" fmla="*/ 283369 h 385763"/>
              <a:gd name="connsiteX5" fmla="*/ 252412 w 352425"/>
              <a:gd name="connsiteY5" fmla="*/ 354807 h 385763"/>
              <a:gd name="connsiteX6" fmla="*/ 352425 w 352425"/>
              <a:gd name="connsiteY6" fmla="*/ 385763 h 385763"/>
              <a:gd name="connsiteX7" fmla="*/ 227246 w 352425"/>
              <a:gd name="connsiteY7" fmla="*/ 303462 h 385763"/>
              <a:gd name="connsiteX8" fmla="*/ 150018 w 352425"/>
              <a:gd name="connsiteY8" fmla="*/ 261938 h 385763"/>
              <a:gd name="connsiteX9" fmla="*/ 99552 w 352425"/>
              <a:gd name="connsiteY9" fmla="*/ 201831 h 385763"/>
              <a:gd name="connsiteX10" fmla="*/ 78581 w 352425"/>
              <a:gd name="connsiteY10" fmla="*/ 171450 h 385763"/>
              <a:gd name="connsiteX11" fmla="*/ 64293 w 352425"/>
              <a:gd name="connsiteY11" fmla="*/ 116682 h 385763"/>
              <a:gd name="connsiteX12" fmla="*/ 73290 w 352425"/>
              <a:gd name="connsiteY12" fmla="*/ 50482 h 385763"/>
              <a:gd name="connsiteX13" fmla="*/ 119062 w 352425"/>
              <a:gd name="connsiteY13" fmla="*/ 0 h 385763"/>
              <a:gd name="connsiteX0" fmla="*/ 119062 w 432916"/>
              <a:gd name="connsiteY0" fmla="*/ 0 h 373524"/>
              <a:gd name="connsiteX1" fmla="*/ 45243 w 432916"/>
              <a:gd name="connsiteY1" fmla="*/ 23813 h 373524"/>
              <a:gd name="connsiteX2" fmla="*/ 0 w 432916"/>
              <a:gd name="connsiteY2" fmla="*/ 100013 h 373524"/>
              <a:gd name="connsiteX3" fmla="*/ 28575 w 432916"/>
              <a:gd name="connsiteY3" fmla="*/ 183357 h 373524"/>
              <a:gd name="connsiteX4" fmla="*/ 116681 w 432916"/>
              <a:gd name="connsiteY4" fmla="*/ 283369 h 373524"/>
              <a:gd name="connsiteX5" fmla="*/ 252412 w 432916"/>
              <a:gd name="connsiteY5" fmla="*/ 354807 h 373524"/>
              <a:gd name="connsiteX6" fmla="*/ 432916 w 432916"/>
              <a:gd name="connsiteY6" fmla="*/ 373524 h 373524"/>
              <a:gd name="connsiteX7" fmla="*/ 227246 w 432916"/>
              <a:gd name="connsiteY7" fmla="*/ 303462 h 373524"/>
              <a:gd name="connsiteX8" fmla="*/ 150018 w 432916"/>
              <a:gd name="connsiteY8" fmla="*/ 261938 h 373524"/>
              <a:gd name="connsiteX9" fmla="*/ 99552 w 432916"/>
              <a:gd name="connsiteY9" fmla="*/ 201831 h 373524"/>
              <a:gd name="connsiteX10" fmla="*/ 78581 w 432916"/>
              <a:gd name="connsiteY10" fmla="*/ 171450 h 373524"/>
              <a:gd name="connsiteX11" fmla="*/ 64293 w 432916"/>
              <a:gd name="connsiteY11" fmla="*/ 116682 h 373524"/>
              <a:gd name="connsiteX12" fmla="*/ 73290 w 432916"/>
              <a:gd name="connsiteY12" fmla="*/ 50482 h 373524"/>
              <a:gd name="connsiteX13" fmla="*/ 119062 w 432916"/>
              <a:gd name="connsiteY13" fmla="*/ 0 h 373524"/>
              <a:gd name="connsiteX0" fmla="*/ 119062 w 432916"/>
              <a:gd name="connsiteY0" fmla="*/ 0 h 373524"/>
              <a:gd name="connsiteX1" fmla="*/ 45243 w 432916"/>
              <a:gd name="connsiteY1" fmla="*/ 23813 h 373524"/>
              <a:gd name="connsiteX2" fmla="*/ 0 w 432916"/>
              <a:gd name="connsiteY2" fmla="*/ 100013 h 373524"/>
              <a:gd name="connsiteX3" fmla="*/ 28575 w 432916"/>
              <a:gd name="connsiteY3" fmla="*/ 183357 h 373524"/>
              <a:gd name="connsiteX4" fmla="*/ 116681 w 432916"/>
              <a:gd name="connsiteY4" fmla="*/ 283369 h 373524"/>
              <a:gd name="connsiteX5" fmla="*/ 271773 w 432916"/>
              <a:gd name="connsiteY5" fmla="*/ 336303 h 373524"/>
              <a:gd name="connsiteX6" fmla="*/ 432916 w 432916"/>
              <a:gd name="connsiteY6" fmla="*/ 373524 h 373524"/>
              <a:gd name="connsiteX7" fmla="*/ 227246 w 432916"/>
              <a:gd name="connsiteY7" fmla="*/ 303462 h 373524"/>
              <a:gd name="connsiteX8" fmla="*/ 150018 w 432916"/>
              <a:gd name="connsiteY8" fmla="*/ 261938 h 373524"/>
              <a:gd name="connsiteX9" fmla="*/ 99552 w 432916"/>
              <a:gd name="connsiteY9" fmla="*/ 201831 h 373524"/>
              <a:gd name="connsiteX10" fmla="*/ 78581 w 432916"/>
              <a:gd name="connsiteY10" fmla="*/ 171450 h 373524"/>
              <a:gd name="connsiteX11" fmla="*/ 64293 w 432916"/>
              <a:gd name="connsiteY11" fmla="*/ 116682 h 373524"/>
              <a:gd name="connsiteX12" fmla="*/ 73290 w 432916"/>
              <a:gd name="connsiteY12" fmla="*/ 50482 h 373524"/>
              <a:gd name="connsiteX13" fmla="*/ 119062 w 432916"/>
              <a:gd name="connsiteY13" fmla="*/ 0 h 373524"/>
              <a:gd name="connsiteX0" fmla="*/ 119062 w 432916"/>
              <a:gd name="connsiteY0" fmla="*/ 0 h 373524"/>
              <a:gd name="connsiteX1" fmla="*/ 45243 w 432916"/>
              <a:gd name="connsiteY1" fmla="*/ 23813 h 373524"/>
              <a:gd name="connsiteX2" fmla="*/ 0 w 432916"/>
              <a:gd name="connsiteY2" fmla="*/ 100013 h 373524"/>
              <a:gd name="connsiteX3" fmla="*/ 28575 w 432916"/>
              <a:gd name="connsiteY3" fmla="*/ 183357 h 373524"/>
              <a:gd name="connsiteX4" fmla="*/ 113584 w 432916"/>
              <a:gd name="connsiteY4" fmla="*/ 266202 h 373524"/>
              <a:gd name="connsiteX5" fmla="*/ 271773 w 432916"/>
              <a:gd name="connsiteY5" fmla="*/ 336303 h 373524"/>
              <a:gd name="connsiteX6" fmla="*/ 432916 w 432916"/>
              <a:gd name="connsiteY6" fmla="*/ 373524 h 373524"/>
              <a:gd name="connsiteX7" fmla="*/ 227246 w 432916"/>
              <a:gd name="connsiteY7" fmla="*/ 303462 h 373524"/>
              <a:gd name="connsiteX8" fmla="*/ 150018 w 432916"/>
              <a:gd name="connsiteY8" fmla="*/ 261938 h 373524"/>
              <a:gd name="connsiteX9" fmla="*/ 99552 w 432916"/>
              <a:gd name="connsiteY9" fmla="*/ 201831 h 373524"/>
              <a:gd name="connsiteX10" fmla="*/ 78581 w 432916"/>
              <a:gd name="connsiteY10" fmla="*/ 171450 h 373524"/>
              <a:gd name="connsiteX11" fmla="*/ 64293 w 432916"/>
              <a:gd name="connsiteY11" fmla="*/ 116682 h 373524"/>
              <a:gd name="connsiteX12" fmla="*/ 73290 w 432916"/>
              <a:gd name="connsiteY12" fmla="*/ 50482 h 373524"/>
              <a:gd name="connsiteX13" fmla="*/ 119062 w 432916"/>
              <a:gd name="connsiteY13" fmla="*/ 0 h 373524"/>
              <a:gd name="connsiteX0" fmla="*/ 119062 w 432916"/>
              <a:gd name="connsiteY0" fmla="*/ 0 h 373524"/>
              <a:gd name="connsiteX1" fmla="*/ 45243 w 432916"/>
              <a:gd name="connsiteY1" fmla="*/ 23813 h 373524"/>
              <a:gd name="connsiteX2" fmla="*/ 0 w 432916"/>
              <a:gd name="connsiteY2" fmla="*/ 100013 h 373524"/>
              <a:gd name="connsiteX3" fmla="*/ 36071 w 432916"/>
              <a:gd name="connsiteY3" fmla="*/ 175473 h 373524"/>
              <a:gd name="connsiteX4" fmla="*/ 113584 w 432916"/>
              <a:gd name="connsiteY4" fmla="*/ 266202 h 373524"/>
              <a:gd name="connsiteX5" fmla="*/ 271773 w 432916"/>
              <a:gd name="connsiteY5" fmla="*/ 336303 h 373524"/>
              <a:gd name="connsiteX6" fmla="*/ 432916 w 432916"/>
              <a:gd name="connsiteY6" fmla="*/ 373524 h 373524"/>
              <a:gd name="connsiteX7" fmla="*/ 227246 w 432916"/>
              <a:gd name="connsiteY7" fmla="*/ 303462 h 373524"/>
              <a:gd name="connsiteX8" fmla="*/ 150018 w 432916"/>
              <a:gd name="connsiteY8" fmla="*/ 261938 h 373524"/>
              <a:gd name="connsiteX9" fmla="*/ 99552 w 432916"/>
              <a:gd name="connsiteY9" fmla="*/ 201831 h 373524"/>
              <a:gd name="connsiteX10" fmla="*/ 78581 w 432916"/>
              <a:gd name="connsiteY10" fmla="*/ 171450 h 373524"/>
              <a:gd name="connsiteX11" fmla="*/ 64293 w 432916"/>
              <a:gd name="connsiteY11" fmla="*/ 116682 h 373524"/>
              <a:gd name="connsiteX12" fmla="*/ 73290 w 432916"/>
              <a:gd name="connsiteY12" fmla="*/ 50482 h 373524"/>
              <a:gd name="connsiteX13" fmla="*/ 119062 w 432916"/>
              <a:gd name="connsiteY13" fmla="*/ 0 h 373524"/>
              <a:gd name="connsiteX0" fmla="*/ 119062 w 432916"/>
              <a:gd name="connsiteY0" fmla="*/ 0 h 373524"/>
              <a:gd name="connsiteX1" fmla="*/ 45243 w 432916"/>
              <a:gd name="connsiteY1" fmla="*/ 23813 h 373524"/>
              <a:gd name="connsiteX2" fmla="*/ 0 w 432916"/>
              <a:gd name="connsiteY2" fmla="*/ 100013 h 373524"/>
              <a:gd name="connsiteX3" fmla="*/ 36071 w 432916"/>
              <a:gd name="connsiteY3" fmla="*/ 175473 h 373524"/>
              <a:gd name="connsiteX4" fmla="*/ 113584 w 432916"/>
              <a:gd name="connsiteY4" fmla="*/ 266202 h 373524"/>
              <a:gd name="connsiteX5" fmla="*/ 271773 w 432916"/>
              <a:gd name="connsiteY5" fmla="*/ 336303 h 373524"/>
              <a:gd name="connsiteX6" fmla="*/ 432916 w 432916"/>
              <a:gd name="connsiteY6" fmla="*/ 373524 h 373524"/>
              <a:gd name="connsiteX7" fmla="*/ 227246 w 432916"/>
              <a:gd name="connsiteY7" fmla="*/ 303462 h 373524"/>
              <a:gd name="connsiteX8" fmla="*/ 150018 w 432916"/>
              <a:gd name="connsiteY8" fmla="*/ 261938 h 373524"/>
              <a:gd name="connsiteX9" fmla="*/ 107656 w 432916"/>
              <a:gd name="connsiteY9" fmla="*/ 206306 h 373524"/>
              <a:gd name="connsiteX10" fmla="*/ 78581 w 432916"/>
              <a:gd name="connsiteY10" fmla="*/ 171450 h 373524"/>
              <a:gd name="connsiteX11" fmla="*/ 64293 w 432916"/>
              <a:gd name="connsiteY11" fmla="*/ 116682 h 373524"/>
              <a:gd name="connsiteX12" fmla="*/ 73290 w 432916"/>
              <a:gd name="connsiteY12" fmla="*/ 50482 h 373524"/>
              <a:gd name="connsiteX13" fmla="*/ 119062 w 432916"/>
              <a:gd name="connsiteY13" fmla="*/ 0 h 373524"/>
              <a:gd name="connsiteX0" fmla="*/ 99119 w 412973"/>
              <a:gd name="connsiteY0" fmla="*/ 0 h 373524"/>
              <a:gd name="connsiteX1" fmla="*/ 25300 w 412973"/>
              <a:gd name="connsiteY1" fmla="*/ 23813 h 373524"/>
              <a:gd name="connsiteX2" fmla="*/ 0 w 412973"/>
              <a:gd name="connsiteY2" fmla="*/ 116175 h 373524"/>
              <a:gd name="connsiteX3" fmla="*/ 16128 w 412973"/>
              <a:gd name="connsiteY3" fmla="*/ 175473 h 373524"/>
              <a:gd name="connsiteX4" fmla="*/ 93641 w 412973"/>
              <a:gd name="connsiteY4" fmla="*/ 266202 h 373524"/>
              <a:gd name="connsiteX5" fmla="*/ 251830 w 412973"/>
              <a:gd name="connsiteY5" fmla="*/ 336303 h 373524"/>
              <a:gd name="connsiteX6" fmla="*/ 412973 w 412973"/>
              <a:gd name="connsiteY6" fmla="*/ 373524 h 373524"/>
              <a:gd name="connsiteX7" fmla="*/ 207303 w 412973"/>
              <a:gd name="connsiteY7" fmla="*/ 303462 h 373524"/>
              <a:gd name="connsiteX8" fmla="*/ 130075 w 412973"/>
              <a:gd name="connsiteY8" fmla="*/ 261938 h 373524"/>
              <a:gd name="connsiteX9" fmla="*/ 87713 w 412973"/>
              <a:gd name="connsiteY9" fmla="*/ 206306 h 373524"/>
              <a:gd name="connsiteX10" fmla="*/ 58638 w 412973"/>
              <a:gd name="connsiteY10" fmla="*/ 171450 h 373524"/>
              <a:gd name="connsiteX11" fmla="*/ 44350 w 412973"/>
              <a:gd name="connsiteY11" fmla="*/ 116682 h 373524"/>
              <a:gd name="connsiteX12" fmla="*/ 53347 w 412973"/>
              <a:gd name="connsiteY12" fmla="*/ 50482 h 373524"/>
              <a:gd name="connsiteX13" fmla="*/ 99119 w 412973"/>
              <a:gd name="connsiteY13" fmla="*/ 0 h 373524"/>
              <a:gd name="connsiteX0" fmla="*/ 99539 w 413393"/>
              <a:gd name="connsiteY0" fmla="*/ 0 h 373524"/>
              <a:gd name="connsiteX1" fmla="*/ 25720 w 413393"/>
              <a:gd name="connsiteY1" fmla="*/ 23813 h 373524"/>
              <a:gd name="connsiteX2" fmla="*/ 420 w 413393"/>
              <a:gd name="connsiteY2" fmla="*/ 116175 h 373524"/>
              <a:gd name="connsiteX3" fmla="*/ 16548 w 413393"/>
              <a:gd name="connsiteY3" fmla="*/ 175473 h 373524"/>
              <a:gd name="connsiteX4" fmla="*/ 94061 w 413393"/>
              <a:gd name="connsiteY4" fmla="*/ 266202 h 373524"/>
              <a:gd name="connsiteX5" fmla="*/ 252250 w 413393"/>
              <a:gd name="connsiteY5" fmla="*/ 336303 h 373524"/>
              <a:gd name="connsiteX6" fmla="*/ 413393 w 413393"/>
              <a:gd name="connsiteY6" fmla="*/ 373524 h 373524"/>
              <a:gd name="connsiteX7" fmla="*/ 207723 w 413393"/>
              <a:gd name="connsiteY7" fmla="*/ 303462 h 373524"/>
              <a:gd name="connsiteX8" fmla="*/ 130495 w 413393"/>
              <a:gd name="connsiteY8" fmla="*/ 261938 h 373524"/>
              <a:gd name="connsiteX9" fmla="*/ 88133 w 413393"/>
              <a:gd name="connsiteY9" fmla="*/ 206306 h 373524"/>
              <a:gd name="connsiteX10" fmla="*/ 59058 w 413393"/>
              <a:gd name="connsiteY10" fmla="*/ 171450 h 373524"/>
              <a:gd name="connsiteX11" fmla="*/ 44770 w 413393"/>
              <a:gd name="connsiteY11" fmla="*/ 116682 h 373524"/>
              <a:gd name="connsiteX12" fmla="*/ 53767 w 413393"/>
              <a:gd name="connsiteY12" fmla="*/ 50482 h 373524"/>
              <a:gd name="connsiteX13" fmla="*/ 99539 w 413393"/>
              <a:gd name="connsiteY13" fmla="*/ 0 h 373524"/>
              <a:gd name="connsiteX0" fmla="*/ 99539 w 413393"/>
              <a:gd name="connsiteY0" fmla="*/ 0 h 373524"/>
              <a:gd name="connsiteX1" fmla="*/ 25720 w 413393"/>
              <a:gd name="connsiteY1" fmla="*/ 23813 h 373524"/>
              <a:gd name="connsiteX2" fmla="*/ 420 w 413393"/>
              <a:gd name="connsiteY2" fmla="*/ 116175 h 373524"/>
              <a:gd name="connsiteX3" fmla="*/ 16548 w 413393"/>
              <a:gd name="connsiteY3" fmla="*/ 175473 h 373524"/>
              <a:gd name="connsiteX4" fmla="*/ 94061 w 413393"/>
              <a:gd name="connsiteY4" fmla="*/ 266202 h 373524"/>
              <a:gd name="connsiteX5" fmla="*/ 252250 w 413393"/>
              <a:gd name="connsiteY5" fmla="*/ 336303 h 373524"/>
              <a:gd name="connsiteX6" fmla="*/ 413393 w 413393"/>
              <a:gd name="connsiteY6" fmla="*/ 373524 h 373524"/>
              <a:gd name="connsiteX7" fmla="*/ 207723 w 413393"/>
              <a:gd name="connsiteY7" fmla="*/ 303462 h 373524"/>
              <a:gd name="connsiteX8" fmla="*/ 130495 w 413393"/>
              <a:gd name="connsiteY8" fmla="*/ 261938 h 373524"/>
              <a:gd name="connsiteX9" fmla="*/ 88133 w 413393"/>
              <a:gd name="connsiteY9" fmla="*/ 206306 h 373524"/>
              <a:gd name="connsiteX10" fmla="*/ 59058 w 413393"/>
              <a:gd name="connsiteY10" fmla="*/ 171450 h 373524"/>
              <a:gd name="connsiteX11" fmla="*/ 44770 w 413393"/>
              <a:gd name="connsiteY11" fmla="*/ 116682 h 373524"/>
              <a:gd name="connsiteX12" fmla="*/ 53767 w 413393"/>
              <a:gd name="connsiteY12" fmla="*/ 50482 h 373524"/>
              <a:gd name="connsiteX13" fmla="*/ 99539 w 413393"/>
              <a:gd name="connsiteY13" fmla="*/ 0 h 373524"/>
              <a:gd name="connsiteX0" fmla="*/ 99539 w 413393"/>
              <a:gd name="connsiteY0" fmla="*/ 0 h 373524"/>
              <a:gd name="connsiteX1" fmla="*/ 25720 w 413393"/>
              <a:gd name="connsiteY1" fmla="*/ 23813 h 373524"/>
              <a:gd name="connsiteX2" fmla="*/ 420 w 413393"/>
              <a:gd name="connsiteY2" fmla="*/ 116175 h 373524"/>
              <a:gd name="connsiteX3" fmla="*/ 16548 w 413393"/>
              <a:gd name="connsiteY3" fmla="*/ 175473 h 373524"/>
              <a:gd name="connsiteX4" fmla="*/ 94061 w 413393"/>
              <a:gd name="connsiteY4" fmla="*/ 266202 h 373524"/>
              <a:gd name="connsiteX5" fmla="*/ 252250 w 413393"/>
              <a:gd name="connsiteY5" fmla="*/ 336303 h 373524"/>
              <a:gd name="connsiteX6" fmla="*/ 413393 w 413393"/>
              <a:gd name="connsiteY6" fmla="*/ 373524 h 373524"/>
              <a:gd name="connsiteX7" fmla="*/ 207723 w 413393"/>
              <a:gd name="connsiteY7" fmla="*/ 303462 h 373524"/>
              <a:gd name="connsiteX8" fmla="*/ 130495 w 413393"/>
              <a:gd name="connsiteY8" fmla="*/ 261938 h 373524"/>
              <a:gd name="connsiteX9" fmla="*/ 88133 w 413393"/>
              <a:gd name="connsiteY9" fmla="*/ 206306 h 373524"/>
              <a:gd name="connsiteX10" fmla="*/ 59058 w 413393"/>
              <a:gd name="connsiteY10" fmla="*/ 171450 h 373524"/>
              <a:gd name="connsiteX11" fmla="*/ 44770 w 413393"/>
              <a:gd name="connsiteY11" fmla="*/ 116682 h 373524"/>
              <a:gd name="connsiteX12" fmla="*/ 53767 w 413393"/>
              <a:gd name="connsiteY12" fmla="*/ 50482 h 373524"/>
              <a:gd name="connsiteX13" fmla="*/ 99539 w 413393"/>
              <a:gd name="connsiteY13" fmla="*/ 0 h 373524"/>
              <a:gd name="connsiteX0" fmla="*/ 99539 w 413393"/>
              <a:gd name="connsiteY0" fmla="*/ 0 h 373524"/>
              <a:gd name="connsiteX1" fmla="*/ 25720 w 413393"/>
              <a:gd name="connsiteY1" fmla="*/ 23813 h 373524"/>
              <a:gd name="connsiteX2" fmla="*/ 420 w 413393"/>
              <a:gd name="connsiteY2" fmla="*/ 116175 h 373524"/>
              <a:gd name="connsiteX3" fmla="*/ 16548 w 413393"/>
              <a:gd name="connsiteY3" fmla="*/ 175473 h 373524"/>
              <a:gd name="connsiteX4" fmla="*/ 94061 w 413393"/>
              <a:gd name="connsiteY4" fmla="*/ 266202 h 373524"/>
              <a:gd name="connsiteX5" fmla="*/ 252250 w 413393"/>
              <a:gd name="connsiteY5" fmla="*/ 336303 h 373524"/>
              <a:gd name="connsiteX6" fmla="*/ 413393 w 413393"/>
              <a:gd name="connsiteY6" fmla="*/ 373524 h 373524"/>
              <a:gd name="connsiteX7" fmla="*/ 207723 w 413393"/>
              <a:gd name="connsiteY7" fmla="*/ 303462 h 373524"/>
              <a:gd name="connsiteX8" fmla="*/ 130495 w 413393"/>
              <a:gd name="connsiteY8" fmla="*/ 261938 h 373524"/>
              <a:gd name="connsiteX9" fmla="*/ 88133 w 413393"/>
              <a:gd name="connsiteY9" fmla="*/ 206306 h 373524"/>
              <a:gd name="connsiteX10" fmla="*/ 59058 w 413393"/>
              <a:gd name="connsiteY10" fmla="*/ 171450 h 373524"/>
              <a:gd name="connsiteX11" fmla="*/ 44770 w 413393"/>
              <a:gd name="connsiteY11" fmla="*/ 116682 h 373524"/>
              <a:gd name="connsiteX12" fmla="*/ 53767 w 413393"/>
              <a:gd name="connsiteY12" fmla="*/ 50482 h 373524"/>
              <a:gd name="connsiteX13" fmla="*/ 99539 w 413393"/>
              <a:gd name="connsiteY13" fmla="*/ 0 h 373524"/>
              <a:gd name="connsiteX0" fmla="*/ 99539 w 413393"/>
              <a:gd name="connsiteY0" fmla="*/ 0 h 373524"/>
              <a:gd name="connsiteX1" fmla="*/ 25720 w 413393"/>
              <a:gd name="connsiteY1" fmla="*/ 23813 h 373524"/>
              <a:gd name="connsiteX2" fmla="*/ 420 w 413393"/>
              <a:gd name="connsiteY2" fmla="*/ 116175 h 373524"/>
              <a:gd name="connsiteX3" fmla="*/ 16548 w 413393"/>
              <a:gd name="connsiteY3" fmla="*/ 175473 h 373524"/>
              <a:gd name="connsiteX4" fmla="*/ 94061 w 413393"/>
              <a:gd name="connsiteY4" fmla="*/ 266202 h 373524"/>
              <a:gd name="connsiteX5" fmla="*/ 252250 w 413393"/>
              <a:gd name="connsiteY5" fmla="*/ 336303 h 373524"/>
              <a:gd name="connsiteX6" fmla="*/ 413393 w 413393"/>
              <a:gd name="connsiteY6" fmla="*/ 373524 h 373524"/>
              <a:gd name="connsiteX7" fmla="*/ 207723 w 413393"/>
              <a:gd name="connsiteY7" fmla="*/ 303462 h 373524"/>
              <a:gd name="connsiteX8" fmla="*/ 130495 w 413393"/>
              <a:gd name="connsiteY8" fmla="*/ 261938 h 373524"/>
              <a:gd name="connsiteX9" fmla="*/ 81577 w 413393"/>
              <a:gd name="connsiteY9" fmla="*/ 210415 h 373524"/>
              <a:gd name="connsiteX10" fmla="*/ 59058 w 413393"/>
              <a:gd name="connsiteY10" fmla="*/ 171450 h 373524"/>
              <a:gd name="connsiteX11" fmla="*/ 44770 w 413393"/>
              <a:gd name="connsiteY11" fmla="*/ 116682 h 373524"/>
              <a:gd name="connsiteX12" fmla="*/ 53767 w 413393"/>
              <a:gd name="connsiteY12" fmla="*/ 50482 h 373524"/>
              <a:gd name="connsiteX13" fmla="*/ 99539 w 413393"/>
              <a:gd name="connsiteY13" fmla="*/ 0 h 373524"/>
              <a:gd name="connsiteX0" fmla="*/ 99539 w 413393"/>
              <a:gd name="connsiteY0" fmla="*/ 0 h 373524"/>
              <a:gd name="connsiteX1" fmla="*/ 25720 w 413393"/>
              <a:gd name="connsiteY1" fmla="*/ 23813 h 373524"/>
              <a:gd name="connsiteX2" fmla="*/ 420 w 413393"/>
              <a:gd name="connsiteY2" fmla="*/ 116175 h 373524"/>
              <a:gd name="connsiteX3" fmla="*/ 16548 w 413393"/>
              <a:gd name="connsiteY3" fmla="*/ 175473 h 373524"/>
              <a:gd name="connsiteX4" fmla="*/ 94061 w 413393"/>
              <a:gd name="connsiteY4" fmla="*/ 266201 h 373524"/>
              <a:gd name="connsiteX5" fmla="*/ 252250 w 413393"/>
              <a:gd name="connsiteY5" fmla="*/ 336303 h 373524"/>
              <a:gd name="connsiteX6" fmla="*/ 413393 w 413393"/>
              <a:gd name="connsiteY6" fmla="*/ 373524 h 373524"/>
              <a:gd name="connsiteX7" fmla="*/ 207723 w 413393"/>
              <a:gd name="connsiteY7" fmla="*/ 303462 h 373524"/>
              <a:gd name="connsiteX8" fmla="*/ 130495 w 413393"/>
              <a:gd name="connsiteY8" fmla="*/ 261938 h 373524"/>
              <a:gd name="connsiteX9" fmla="*/ 81577 w 413393"/>
              <a:gd name="connsiteY9" fmla="*/ 210415 h 373524"/>
              <a:gd name="connsiteX10" fmla="*/ 59058 w 413393"/>
              <a:gd name="connsiteY10" fmla="*/ 171450 h 373524"/>
              <a:gd name="connsiteX11" fmla="*/ 44770 w 413393"/>
              <a:gd name="connsiteY11" fmla="*/ 116682 h 373524"/>
              <a:gd name="connsiteX12" fmla="*/ 53767 w 413393"/>
              <a:gd name="connsiteY12" fmla="*/ 50482 h 373524"/>
              <a:gd name="connsiteX13" fmla="*/ 99539 w 413393"/>
              <a:gd name="connsiteY13" fmla="*/ 0 h 373524"/>
              <a:gd name="connsiteX0" fmla="*/ 99539 w 413393"/>
              <a:gd name="connsiteY0" fmla="*/ 0 h 373524"/>
              <a:gd name="connsiteX1" fmla="*/ 25720 w 413393"/>
              <a:gd name="connsiteY1" fmla="*/ 23813 h 373524"/>
              <a:gd name="connsiteX2" fmla="*/ 420 w 413393"/>
              <a:gd name="connsiteY2" fmla="*/ 116175 h 373524"/>
              <a:gd name="connsiteX3" fmla="*/ 16548 w 413393"/>
              <a:gd name="connsiteY3" fmla="*/ 175473 h 373524"/>
              <a:gd name="connsiteX4" fmla="*/ 94061 w 413393"/>
              <a:gd name="connsiteY4" fmla="*/ 266201 h 373524"/>
              <a:gd name="connsiteX5" fmla="*/ 252250 w 413393"/>
              <a:gd name="connsiteY5" fmla="*/ 336303 h 373524"/>
              <a:gd name="connsiteX6" fmla="*/ 413393 w 413393"/>
              <a:gd name="connsiteY6" fmla="*/ 373524 h 373524"/>
              <a:gd name="connsiteX7" fmla="*/ 207723 w 413393"/>
              <a:gd name="connsiteY7" fmla="*/ 303462 h 373524"/>
              <a:gd name="connsiteX8" fmla="*/ 131435 w 413393"/>
              <a:gd name="connsiteY8" fmla="*/ 258164 h 373524"/>
              <a:gd name="connsiteX9" fmla="*/ 81577 w 413393"/>
              <a:gd name="connsiteY9" fmla="*/ 210415 h 373524"/>
              <a:gd name="connsiteX10" fmla="*/ 59058 w 413393"/>
              <a:gd name="connsiteY10" fmla="*/ 171450 h 373524"/>
              <a:gd name="connsiteX11" fmla="*/ 44770 w 413393"/>
              <a:gd name="connsiteY11" fmla="*/ 116682 h 373524"/>
              <a:gd name="connsiteX12" fmla="*/ 53767 w 413393"/>
              <a:gd name="connsiteY12" fmla="*/ 50482 h 373524"/>
              <a:gd name="connsiteX13" fmla="*/ 99539 w 413393"/>
              <a:gd name="connsiteY13" fmla="*/ 0 h 373524"/>
              <a:gd name="connsiteX0" fmla="*/ 99575 w 413429"/>
              <a:gd name="connsiteY0" fmla="*/ 0 h 373524"/>
              <a:gd name="connsiteX1" fmla="*/ 26364 w 413429"/>
              <a:gd name="connsiteY1" fmla="*/ 36169 h 373524"/>
              <a:gd name="connsiteX2" fmla="*/ 456 w 413429"/>
              <a:gd name="connsiteY2" fmla="*/ 116175 h 373524"/>
              <a:gd name="connsiteX3" fmla="*/ 16584 w 413429"/>
              <a:gd name="connsiteY3" fmla="*/ 175473 h 373524"/>
              <a:gd name="connsiteX4" fmla="*/ 94097 w 413429"/>
              <a:gd name="connsiteY4" fmla="*/ 266201 h 373524"/>
              <a:gd name="connsiteX5" fmla="*/ 252286 w 413429"/>
              <a:gd name="connsiteY5" fmla="*/ 336303 h 373524"/>
              <a:gd name="connsiteX6" fmla="*/ 413429 w 413429"/>
              <a:gd name="connsiteY6" fmla="*/ 373524 h 373524"/>
              <a:gd name="connsiteX7" fmla="*/ 207759 w 413429"/>
              <a:gd name="connsiteY7" fmla="*/ 303462 h 373524"/>
              <a:gd name="connsiteX8" fmla="*/ 131471 w 413429"/>
              <a:gd name="connsiteY8" fmla="*/ 258164 h 373524"/>
              <a:gd name="connsiteX9" fmla="*/ 81613 w 413429"/>
              <a:gd name="connsiteY9" fmla="*/ 210415 h 373524"/>
              <a:gd name="connsiteX10" fmla="*/ 59094 w 413429"/>
              <a:gd name="connsiteY10" fmla="*/ 171450 h 373524"/>
              <a:gd name="connsiteX11" fmla="*/ 44806 w 413429"/>
              <a:gd name="connsiteY11" fmla="*/ 116682 h 373524"/>
              <a:gd name="connsiteX12" fmla="*/ 53803 w 413429"/>
              <a:gd name="connsiteY12" fmla="*/ 50482 h 373524"/>
              <a:gd name="connsiteX13" fmla="*/ 99575 w 413429"/>
              <a:gd name="connsiteY13" fmla="*/ 0 h 373524"/>
              <a:gd name="connsiteX0" fmla="*/ 99575 w 413429"/>
              <a:gd name="connsiteY0" fmla="*/ 0 h 373524"/>
              <a:gd name="connsiteX1" fmla="*/ 26364 w 413429"/>
              <a:gd name="connsiteY1" fmla="*/ 36169 h 373524"/>
              <a:gd name="connsiteX2" fmla="*/ 456 w 413429"/>
              <a:gd name="connsiteY2" fmla="*/ 116175 h 373524"/>
              <a:gd name="connsiteX3" fmla="*/ 16584 w 413429"/>
              <a:gd name="connsiteY3" fmla="*/ 175473 h 373524"/>
              <a:gd name="connsiteX4" fmla="*/ 94097 w 413429"/>
              <a:gd name="connsiteY4" fmla="*/ 266201 h 373524"/>
              <a:gd name="connsiteX5" fmla="*/ 252286 w 413429"/>
              <a:gd name="connsiteY5" fmla="*/ 336303 h 373524"/>
              <a:gd name="connsiteX6" fmla="*/ 413429 w 413429"/>
              <a:gd name="connsiteY6" fmla="*/ 373524 h 373524"/>
              <a:gd name="connsiteX7" fmla="*/ 207759 w 413429"/>
              <a:gd name="connsiteY7" fmla="*/ 303462 h 373524"/>
              <a:gd name="connsiteX8" fmla="*/ 131471 w 413429"/>
              <a:gd name="connsiteY8" fmla="*/ 258164 h 373524"/>
              <a:gd name="connsiteX9" fmla="*/ 81613 w 413429"/>
              <a:gd name="connsiteY9" fmla="*/ 210415 h 373524"/>
              <a:gd name="connsiteX10" fmla="*/ 59094 w 413429"/>
              <a:gd name="connsiteY10" fmla="*/ 171450 h 373524"/>
              <a:gd name="connsiteX11" fmla="*/ 44806 w 413429"/>
              <a:gd name="connsiteY11" fmla="*/ 116682 h 373524"/>
              <a:gd name="connsiteX12" fmla="*/ 53803 w 413429"/>
              <a:gd name="connsiteY12" fmla="*/ 50482 h 373524"/>
              <a:gd name="connsiteX13" fmla="*/ 99575 w 413429"/>
              <a:gd name="connsiteY13" fmla="*/ 0 h 373524"/>
              <a:gd name="connsiteX0" fmla="*/ 99575 w 413429"/>
              <a:gd name="connsiteY0" fmla="*/ 0 h 373524"/>
              <a:gd name="connsiteX1" fmla="*/ 26364 w 413429"/>
              <a:gd name="connsiteY1" fmla="*/ 36169 h 373524"/>
              <a:gd name="connsiteX2" fmla="*/ 456 w 413429"/>
              <a:gd name="connsiteY2" fmla="*/ 116175 h 373524"/>
              <a:gd name="connsiteX3" fmla="*/ 16584 w 413429"/>
              <a:gd name="connsiteY3" fmla="*/ 175473 h 373524"/>
              <a:gd name="connsiteX4" fmla="*/ 94097 w 413429"/>
              <a:gd name="connsiteY4" fmla="*/ 266201 h 373524"/>
              <a:gd name="connsiteX5" fmla="*/ 252286 w 413429"/>
              <a:gd name="connsiteY5" fmla="*/ 336303 h 373524"/>
              <a:gd name="connsiteX6" fmla="*/ 413429 w 413429"/>
              <a:gd name="connsiteY6" fmla="*/ 373524 h 373524"/>
              <a:gd name="connsiteX7" fmla="*/ 207759 w 413429"/>
              <a:gd name="connsiteY7" fmla="*/ 303462 h 373524"/>
              <a:gd name="connsiteX8" fmla="*/ 131471 w 413429"/>
              <a:gd name="connsiteY8" fmla="*/ 258164 h 373524"/>
              <a:gd name="connsiteX9" fmla="*/ 81613 w 413429"/>
              <a:gd name="connsiteY9" fmla="*/ 210415 h 373524"/>
              <a:gd name="connsiteX10" fmla="*/ 59094 w 413429"/>
              <a:gd name="connsiteY10" fmla="*/ 171450 h 373524"/>
              <a:gd name="connsiteX11" fmla="*/ 44806 w 413429"/>
              <a:gd name="connsiteY11" fmla="*/ 116682 h 373524"/>
              <a:gd name="connsiteX12" fmla="*/ 53803 w 413429"/>
              <a:gd name="connsiteY12" fmla="*/ 50482 h 373524"/>
              <a:gd name="connsiteX13" fmla="*/ 99575 w 413429"/>
              <a:gd name="connsiteY13" fmla="*/ 0 h 373524"/>
              <a:gd name="connsiteX0" fmla="*/ 99575 w 413429"/>
              <a:gd name="connsiteY0" fmla="*/ 0 h 373524"/>
              <a:gd name="connsiteX1" fmla="*/ 26364 w 413429"/>
              <a:gd name="connsiteY1" fmla="*/ 36169 h 373524"/>
              <a:gd name="connsiteX2" fmla="*/ 456 w 413429"/>
              <a:gd name="connsiteY2" fmla="*/ 116175 h 373524"/>
              <a:gd name="connsiteX3" fmla="*/ 16584 w 413429"/>
              <a:gd name="connsiteY3" fmla="*/ 175473 h 373524"/>
              <a:gd name="connsiteX4" fmla="*/ 76643 w 413429"/>
              <a:gd name="connsiteY4" fmla="*/ 254848 h 373524"/>
              <a:gd name="connsiteX5" fmla="*/ 252286 w 413429"/>
              <a:gd name="connsiteY5" fmla="*/ 336303 h 373524"/>
              <a:gd name="connsiteX6" fmla="*/ 413429 w 413429"/>
              <a:gd name="connsiteY6" fmla="*/ 373524 h 373524"/>
              <a:gd name="connsiteX7" fmla="*/ 207759 w 413429"/>
              <a:gd name="connsiteY7" fmla="*/ 303462 h 373524"/>
              <a:gd name="connsiteX8" fmla="*/ 131471 w 413429"/>
              <a:gd name="connsiteY8" fmla="*/ 258164 h 373524"/>
              <a:gd name="connsiteX9" fmla="*/ 81613 w 413429"/>
              <a:gd name="connsiteY9" fmla="*/ 210415 h 373524"/>
              <a:gd name="connsiteX10" fmla="*/ 59094 w 413429"/>
              <a:gd name="connsiteY10" fmla="*/ 171450 h 373524"/>
              <a:gd name="connsiteX11" fmla="*/ 44806 w 413429"/>
              <a:gd name="connsiteY11" fmla="*/ 116682 h 373524"/>
              <a:gd name="connsiteX12" fmla="*/ 53803 w 413429"/>
              <a:gd name="connsiteY12" fmla="*/ 50482 h 373524"/>
              <a:gd name="connsiteX13" fmla="*/ 99575 w 413429"/>
              <a:gd name="connsiteY13" fmla="*/ 0 h 373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3429" h="373524">
                <a:moveTo>
                  <a:pt x="99575" y="0"/>
                </a:moveTo>
                <a:cubicBezTo>
                  <a:pt x="75171" y="12056"/>
                  <a:pt x="42884" y="16807"/>
                  <a:pt x="26364" y="36169"/>
                </a:cubicBezTo>
                <a:cubicBezTo>
                  <a:pt x="9844" y="55531"/>
                  <a:pt x="2086" y="92958"/>
                  <a:pt x="456" y="116175"/>
                </a:cubicBezTo>
                <a:cubicBezTo>
                  <a:pt x="-1174" y="139392"/>
                  <a:pt x="977" y="150469"/>
                  <a:pt x="16584" y="175473"/>
                </a:cubicBezTo>
                <a:lnTo>
                  <a:pt x="76643" y="254848"/>
                </a:lnTo>
                <a:lnTo>
                  <a:pt x="252286" y="336303"/>
                </a:lnTo>
                <a:lnTo>
                  <a:pt x="413429" y="373524"/>
                </a:lnTo>
                <a:lnTo>
                  <a:pt x="207759" y="303462"/>
                </a:lnTo>
                <a:lnTo>
                  <a:pt x="131471" y="258164"/>
                </a:lnTo>
                <a:cubicBezTo>
                  <a:pt x="111539" y="241971"/>
                  <a:pt x="93676" y="224867"/>
                  <a:pt x="81613" y="210415"/>
                </a:cubicBezTo>
                <a:cubicBezTo>
                  <a:pt x="69550" y="195963"/>
                  <a:pt x="65228" y="187072"/>
                  <a:pt x="59094" y="171450"/>
                </a:cubicBezTo>
                <a:cubicBezTo>
                  <a:pt x="52960" y="155828"/>
                  <a:pt x="49569" y="134938"/>
                  <a:pt x="44806" y="116682"/>
                </a:cubicBezTo>
                <a:lnTo>
                  <a:pt x="53803" y="50482"/>
                </a:lnTo>
                <a:cubicBezTo>
                  <a:pt x="62931" y="31035"/>
                  <a:pt x="103941" y="1984"/>
                  <a:pt x="99575" y="0"/>
                </a:cubicBezTo>
                <a:close/>
              </a:path>
            </a:pathLst>
          </a:custGeom>
          <a:solidFill>
            <a:srgbClr val="E7C082">
              <a:alpha val="55000"/>
            </a:srgb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DDF63A23-7BC5-434F-AE04-7E177CD8828E}"/>
              </a:ext>
            </a:extLst>
          </p:cNvPr>
          <p:cNvSpPr/>
          <p:nvPr/>
        </p:nvSpPr>
        <p:spPr bwMode="auto">
          <a:xfrm>
            <a:off x="4927918" y="5565276"/>
            <a:ext cx="417396" cy="80646"/>
          </a:xfrm>
          <a:custGeom>
            <a:avLst/>
            <a:gdLst>
              <a:gd name="connsiteX0" fmla="*/ 0 w 278607"/>
              <a:gd name="connsiteY0" fmla="*/ 38100 h 114300"/>
              <a:gd name="connsiteX1" fmla="*/ 61913 w 278607"/>
              <a:gd name="connsiteY1" fmla="*/ 85725 h 114300"/>
              <a:gd name="connsiteX2" fmla="*/ 97632 w 278607"/>
              <a:gd name="connsiteY2" fmla="*/ 114300 h 114300"/>
              <a:gd name="connsiteX3" fmla="*/ 130969 w 278607"/>
              <a:gd name="connsiteY3" fmla="*/ 111919 h 114300"/>
              <a:gd name="connsiteX4" fmla="*/ 150019 w 278607"/>
              <a:gd name="connsiteY4" fmla="*/ 83344 h 114300"/>
              <a:gd name="connsiteX5" fmla="*/ 216694 w 278607"/>
              <a:gd name="connsiteY5" fmla="*/ 26194 h 114300"/>
              <a:gd name="connsiteX6" fmla="*/ 278607 w 278607"/>
              <a:gd name="connsiteY6" fmla="*/ 2381 h 114300"/>
              <a:gd name="connsiteX7" fmla="*/ 216694 w 278607"/>
              <a:gd name="connsiteY7" fmla="*/ 0 h 114300"/>
              <a:gd name="connsiteX8" fmla="*/ 195263 w 278607"/>
              <a:gd name="connsiteY8" fmla="*/ 26194 h 114300"/>
              <a:gd name="connsiteX9" fmla="*/ 157163 w 278607"/>
              <a:gd name="connsiteY9" fmla="*/ 61913 h 114300"/>
              <a:gd name="connsiteX10" fmla="*/ 114300 w 278607"/>
              <a:gd name="connsiteY10" fmla="*/ 78581 h 114300"/>
              <a:gd name="connsiteX11" fmla="*/ 54769 w 278607"/>
              <a:gd name="connsiteY11" fmla="*/ 52388 h 114300"/>
              <a:gd name="connsiteX12" fmla="*/ 0 w 278607"/>
              <a:gd name="connsiteY12" fmla="*/ 3810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8607" h="114300">
                <a:moveTo>
                  <a:pt x="0" y="38100"/>
                </a:moveTo>
                <a:lnTo>
                  <a:pt x="61913" y="85725"/>
                </a:lnTo>
                <a:lnTo>
                  <a:pt x="97632" y="114300"/>
                </a:lnTo>
                <a:lnTo>
                  <a:pt x="130969" y="111919"/>
                </a:lnTo>
                <a:lnTo>
                  <a:pt x="150019" y="83344"/>
                </a:lnTo>
                <a:lnTo>
                  <a:pt x="216694" y="26194"/>
                </a:lnTo>
                <a:lnTo>
                  <a:pt x="278607" y="2381"/>
                </a:lnTo>
                <a:lnTo>
                  <a:pt x="216694" y="0"/>
                </a:lnTo>
                <a:lnTo>
                  <a:pt x="195263" y="26194"/>
                </a:lnTo>
                <a:lnTo>
                  <a:pt x="157163" y="61913"/>
                </a:lnTo>
                <a:lnTo>
                  <a:pt x="114300" y="78581"/>
                </a:lnTo>
                <a:lnTo>
                  <a:pt x="54769" y="52388"/>
                </a:lnTo>
                <a:lnTo>
                  <a:pt x="0" y="38100"/>
                </a:lnTo>
                <a:close/>
              </a:path>
            </a:pathLst>
          </a:custGeom>
          <a:solidFill>
            <a:srgbClr val="E9C180">
              <a:alpha val="55000"/>
            </a:srgb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D09A309-E214-418F-892F-C7283829BB6D}"/>
              </a:ext>
            </a:extLst>
          </p:cNvPr>
          <p:cNvSpPr/>
          <p:nvPr/>
        </p:nvSpPr>
        <p:spPr bwMode="auto">
          <a:xfrm rot="786081">
            <a:off x="4648362" y="5195526"/>
            <a:ext cx="763896" cy="159052"/>
          </a:xfrm>
          <a:custGeom>
            <a:avLst/>
            <a:gdLst>
              <a:gd name="connsiteX0" fmla="*/ 0 w 1082675"/>
              <a:gd name="connsiteY0" fmla="*/ 152400 h 231775"/>
              <a:gd name="connsiteX1" fmla="*/ 155575 w 1082675"/>
              <a:gd name="connsiteY1" fmla="*/ 187325 h 231775"/>
              <a:gd name="connsiteX2" fmla="*/ 263525 w 1082675"/>
              <a:gd name="connsiteY2" fmla="*/ 225425 h 231775"/>
              <a:gd name="connsiteX3" fmla="*/ 517525 w 1082675"/>
              <a:gd name="connsiteY3" fmla="*/ 231775 h 231775"/>
              <a:gd name="connsiteX4" fmla="*/ 714375 w 1082675"/>
              <a:gd name="connsiteY4" fmla="*/ 168275 h 231775"/>
              <a:gd name="connsiteX5" fmla="*/ 917575 w 1082675"/>
              <a:gd name="connsiteY5" fmla="*/ 104775 h 231775"/>
              <a:gd name="connsiteX6" fmla="*/ 1035050 w 1082675"/>
              <a:gd name="connsiteY6" fmla="*/ 41275 h 231775"/>
              <a:gd name="connsiteX7" fmla="*/ 1082675 w 1082675"/>
              <a:gd name="connsiteY7" fmla="*/ 0 h 231775"/>
              <a:gd name="connsiteX8" fmla="*/ 977900 w 1082675"/>
              <a:gd name="connsiteY8" fmla="*/ 31750 h 231775"/>
              <a:gd name="connsiteX9" fmla="*/ 847725 w 1082675"/>
              <a:gd name="connsiteY9" fmla="*/ 104775 h 231775"/>
              <a:gd name="connsiteX10" fmla="*/ 717550 w 1082675"/>
              <a:gd name="connsiteY10" fmla="*/ 139700 h 231775"/>
              <a:gd name="connsiteX11" fmla="*/ 552450 w 1082675"/>
              <a:gd name="connsiteY11" fmla="*/ 168275 h 231775"/>
              <a:gd name="connsiteX12" fmla="*/ 527050 w 1082675"/>
              <a:gd name="connsiteY12" fmla="*/ 184150 h 231775"/>
              <a:gd name="connsiteX13" fmla="*/ 434975 w 1082675"/>
              <a:gd name="connsiteY13" fmla="*/ 209550 h 231775"/>
              <a:gd name="connsiteX14" fmla="*/ 307975 w 1082675"/>
              <a:gd name="connsiteY14" fmla="*/ 180975 h 231775"/>
              <a:gd name="connsiteX15" fmla="*/ 276225 w 1082675"/>
              <a:gd name="connsiteY15" fmla="*/ 174625 h 231775"/>
              <a:gd name="connsiteX16" fmla="*/ 250825 w 1082675"/>
              <a:gd name="connsiteY16" fmla="*/ 171450 h 231775"/>
              <a:gd name="connsiteX17" fmla="*/ 92075 w 1082675"/>
              <a:gd name="connsiteY17" fmla="*/ 152400 h 231775"/>
              <a:gd name="connsiteX18" fmla="*/ 0 w 1082675"/>
              <a:gd name="connsiteY18" fmla="*/ 152400 h 231775"/>
              <a:gd name="connsiteX0" fmla="*/ 0 w 1082675"/>
              <a:gd name="connsiteY0" fmla="*/ 152400 h 231775"/>
              <a:gd name="connsiteX1" fmla="*/ 155575 w 1082675"/>
              <a:gd name="connsiteY1" fmla="*/ 187325 h 231775"/>
              <a:gd name="connsiteX2" fmla="*/ 263525 w 1082675"/>
              <a:gd name="connsiteY2" fmla="*/ 225425 h 231775"/>
              <a:gd name="connsiteX3" fmla="*/ 517525 w 1082675"/>
              <a:gd name="connsiteY3" fmla="*/ 231775 h 231775"/>
              <a:gd name="connsiteX4" fmla="*/ 714375 w 1082675"/>
              <a:gd name="connsiteY4" fmla="*/ 168275 h 231775"/>
              <a:gd name="connsiteX5" fmla="*/ 917575 w 1082675"/>
              <a:gd name="connsiteY5" fmla="*/ 104775 h 231775"/>
              <a:gd name="connsiteX6" fmla="*/ 1035050 w 1082675"/>
              <a:gd name="connsiteY6" fmla="*/ 41275 h 231775"/>
              <a:gd name="connsiteX7" fmla="*/ 1082675 w 1082675"/>
              <a:gd name="connsiteY7" fmla="*/ 0 h 231775"/>
              <a:gd name="connsiteX8" fmla="*/ 977900 w 1082675"/>
              <a:gd name="connsiteY8" fmla="*/ 31750 h 231775"/>
              <a:gd name="connsiteX9" fmla="*/ 847725 w 1082675"/>
              <a:gd name="connsiteY9" fmla="*/ 104775 h 231775"/>
              <a:gd name="connsiteX10" fmla="*/ 717550 w 1082675"/>
              <a:gd name="connsiteY10" fmla="*/ 139700 h 231775"/>
              <a:gd name="connsiteX11" fmla="*/ 552450 w 1082675"/>
              <a:gd name="connsiteY11" fmla="*/ 168275 h 231775"/>
              <a:gd name="connsiteX12" fmla="*/ 501650 w 1082675"/>
              <a:gd name="connsiteY12" fmla="*/ 184150 h 231775"/>
              <a:gd name="connsiteX13" fmla="*/ 434975 w 1082675"/>
              <a:gd name="connsiteY13" fmla="*/ 209550 h 231775"/>
              <a:gd name="connsiteX14" fmla="*/ 307975 w 1082675"/>
              <a:gd name="connsiteY14" fmla="*/ 180975 h 231775"/>
              <a:gd name="connsiteX15" fmla="*/ 276225 w 1082675"/>
              <a:gd name="connsiteY15" fmla="*/ 174625 h 231775"/>
              <a:gd name="connsiteX16" fmla="*/ 250825 w 1082675"/>
              <a:gd name="connsiteY16" fmla="*/ 171450 h 231775"/>
              <a:gd name="connsiteX17" fmla="*/ 92075 w 1082675"/>
              <a:gd name="connsiteY17" fmla="*/ 152400 h 231775"/>
              <a:gd name="connsiteX18" fmla="*/ 0 w 1082675"/>
              <a:gd name="connsiteY18" fmla="*/ 152400 h 231775"/>
              <a:gd name="connsiteX0" fmla="*/ 0 w 1082675"/>
              <a:gd name="connsiteY0" fmla="*/ 152400 h 231775"/>
              <a:gd name="connsiteX1" fmla="*/ 155575 w 1082675"/>
              <a:gd name="connsiteY1" fmla="*/ 187325 h 231775"/>
              <a:gd name="connsiteX2" fmla="*/ 263525 w 1082675"/>
              <a:gd name="connsiteY2" fmla="*/ 225425 h 231775"/>
              <a:gd name="connsiteX3" fmla="*/ 517525 w 1082675"/>
              <a:gd name="connsiteY3" fmla="*/ 231775 h 231775"/>
              <a:gd name="connsiteX4" fmla="*/ 714375 w 1082675"/>
              <a:gd name="connsiteY4" fmla="*/ 168275 h 231775"/>
              <a:gd name="connsiteX5" fmla="*/ 917575 w 1082675"/>
              <a:gd name="connsiteY5" fmla="*/ 104775 h 231775"/>
              <a:gd name="connsiteX6" fmla="*/ 1035050 w 1082675"/>
              <a:gd name="connsiteY6" fmla="*/ 41275 h 231775"/>
              <a:gd name="connsiteX7" fmla="*/ 1082675 w 1082675"/>
              <a:gd name="connsiteY7" fmla="*/ 0 h 231775"/>
              <a:gd name="connsiteX8" fmla="*/ 977900 w 1082675"/>
              <a:gd name="connsiteY8" fmla="*/ 31750 h 231775"/>
              <a:gd name="connsiteX9" fmla="*/ 847725 w 1082675"/>
              <a:gd name="connsiteY9" fmla="*/ 104775 h 231775"/>
              <a:gd name="connsiteX10" fmla="*/ 717550 w 1082675"/>
              <a:gd name="connsiteY10" fmla="*/ 139700 h 231775"/>
              <a:gd name="connsiteX11" fmla="*/ 552450 w 1082675"/>
              <a:gd name="connsiteY11" fmla="*/ 168275 h 231775"/>
              <a:gd name="connsiteX12" fmla="*/ 501650 w 1082675"/>
              <a:gd name="connsiteY12" fmla="*/ 184150 h 231775"/>
              <a:gd name="connsiteX13" fmla="*/ 431800 w 1082675"/>
              <a:gd name="connsiteY13" fmla="*/ 206375 h 231775"/>
              <a:gd name="connsiteX14" fmla="*/ 307975 w 1082675"/>
              <a:gd name="connsiteY14" fmla="*/ 180975 h 231775"/>
              <a:gd name="connsiteX15" fmla="*/ 276225 w 1082675"/>
              <a:gd name="connsiteY15" fmla="*/ 174625 h 231775"/>
              <a:gd name="connsiteX16" fmla="*/ 250825 w 1082675"/>
              <a:gd name="connsiteY16" fmla="*/ 171450 h 231775"/>
              <a:gd name="connsiteX17" fmla="*/ 92075 w 1082675"/>
              <a:gd name="connsiteY17" fmla="*/ 152400 h 231775"/>
              <a:gd name="connsiteX18" fmla="*/ 0 w 1082675"/>
              <a:gd name="connsiteY18" fmla="*/ 152400 h 231775"/>
              <a:gd name="connsiteX0" fmla="*/ 0 w 1082675"/>
              <a:gd name="connsiteY0" fmla="*/ 152400 h 231775"/>
              <a:gd name="connsiteX1" fmla="*/ 155575 w 1082675"/>
              <a:gd name="connsiteY1" fmla="*/ 187325 h 231775"/>
              <a:gd name="connsiteX2" fmla="*/ 263525 w 1082675"/>
              <a:gd name="connsiteY2" fmla="*/ 225425 h 231775"/>
              <a:gd name="connsiteX3" fmla="*/ 517525 w 1082675"/>
              <a:gd name="connsiteY3" fmla="*/ 231775 h 231775"/>
              <a:gd name="connsiteX4" fmla="*/ 714375 w 1082675"/>
              <a:gd name="connsiteY4" fmla="*/ 168275 h 231775"/>
              <a:gd name="connsiteX5" fmla="*/ 917575 w 1082675"/>
              <a:gd name="connsiteY5" fmla="*/ 104775 h 231775"/>
              <a:gd name="connsiteX6" fmla="*/ 1035050 w 1082675"/>
              <a:gd name="connsiteY6" fmla="*/ 41275 h 231775"/>
              <a:gd name="connsiteX7" fmla="*/ 1082675 w 1082675"/>
              <a:gd name="connsiteY7" fmla="*/ 0 h 231775"/>
              <a:gd name="connsiteX8" fmla="*/ 977900 w 1082675"/>
              <a:gd name="connsiteY8" fmla="*/ 31750 h 231775"/>
              <a:gd name="connsiteX9" fmla="*/ 847725 w 1082675"/>
              <a:gd name="connsiteY9" fmla="*/ 104775 h 231775"/>
              <a:gd name="connsiteX10" fmla="*/ 717550 w 1082675"/>
              <a:gd name="connsiteY10" fmla="*/ 139700 h 231775"/>
              <a:gd name="connsiteX11" fmla="*/ 552450 w 1082675"/>
              <a:gd name="connsiteY11" fmla="*/ 168275 h 231775"/>
              <a:gd name="connsiteX12" fmla="*/ 501650 w 1082675"/>
              <a:gd name="connsiteY12" fmla="*/ 184150 h 231775"/>
              <a:gd name="connsiteX13" fmla="*/ 431800 w 1082675"/>
              <a:gd name="connsiteY13" fmla="*/ 206375 h 231775"/>
              <a:gd name="connsiteX14" fmla="*/ 317500 w 1082675"/>
              <a:gd name="connsiteY14" fmla="*/ 180975 h 231775"/>
              <a:gd name="connsiteX15" fmla="*/ 276225 w 1082675"/>
              <a:gd name="connsiteY15" fmla="*/ 174625 h 231775"/>
              <a:gd name="connsiteX16" fmla="*/ 250825 w 1082675"/>
              <a:gd name="connsiteY16" fmla="*/ 171450 h 231775"/>
              <a:gd name="connsiteX17" fmla="*/ 92075 w 1082675"/>
              <a:gd name="connsiteY17" fmla="*/ 152400 h 231775"/>
              <a:gd name="connsiteX18" fmla="*/ 0 w 1082675"/>
              <a:gd name="connsiteY18" fmla="*/ 152400 h 231775"/>
              <a:gd name="connsiteX0" fmla="*/ 0 w 1082675"/>
              <a:gd name="connsiteY0" fmla="*/ 152400 h 238125"/>
              <a:gd name="connsiteX1" fmla="*/ 155575 w 1082675"/>
              <a:gd name="connsiteY1" fmla="*/ 187325 h 238125"/>
              <a:gd name="connsiteX2" fmla="*/ 307975 w 1082675"/>
              <a:gd name="connsiteY2" fmla="*/ 238125 h 238125"/>
              <a:gd name="connsiteX3" fmla="*/ 517525 w 1082675"/>
              <a:gd name="connsiteY3" fmla="*/ 231775 h 238125"/>
              <a:gd name="connsiteX4" fmla="*/ 714375 w 1082675"/>
              <a:gd name="connsiteY4" fmla="*/ 168275 h 238125"/>
              <a:gd name="connsiteX5" fmla="*/ 917575 w 1082675"/>
              <a:gd name="connsiteY5" fmla="*/ 104775 h 238125"/>
              <a:gd name="connsiteX6" fmla="*/ 1035050 w 1082675"/>
              <a:gd name="connsiteY6" fmla="*/ 41275 h 238125"/>
              <a:gd name="connsiteX7" fmla="*/ 1082675 w 1082675"/>
              <a:gd name="connsiteY7" fmla="*/ 0 h 238125"/>
              <a:gd name="connsiteX8" fmla="*/ 977900 w 1082675"/>
              <a:gd name="connsiteY8" fmla="*/ 31750 h 238125"/>
              <a:gd name="connsiteX9" fmla="*/ 847725 w 1082675"/>
              <a:gd name="connsiteY9" fmla="*/ 104775 h 238125"/>
              <a:gd name="connsiteX10" fmla="*/ 717550 w 1082675"/>
              <a:gd name="connsiteY10" fmla="*/ 139700 h 238125"/>
              <a:gd name="connsiteX11" fmla="*/ 552450 w 1082675"/>
              <a:gd name="connsiteY11" fmla="*/ 168275 h 238125"/>
              <a:gd name="connsiteX12" fmla="*/ 501650 w 1082675"/>
              <a:gd name="connsiteY12" fmla="*/ 184150 h 238125"/>
              <a:gd name="connsiteX13" fmla="*/ 431800 w 1082675"/>
              <a:gd name="connsiteY13" fmla="*/ 206375 h 238125"/>
              <a:gd name="connsiteX14" fmla="*/ 317500 w 1082675"/>
              <a:gd name="connsiteY14" fmla="*/ 180975 h 238125"/>
              <a:gd name="connsiteX15" fmla="*/ 276225 w 1082675"/>
              <a:gd name="connsiteY15" fmla="*/ 174625 h 238125"/>
              <a:gd name="connsiteX16" fmla="*/ 250825 w 1082675"/>
              <a:gd name="connsiteY16" fmla="*/ 171450 h 238125"/>
              <a:gd name="connsiteX17" fmla="*/ 92075 w 1082675"/>
              <a:gd name="connsiteY17" fmla="*/ 152400 h 238125"/>
              <a:gd name="connsiteX18" fmla="*/ 0 w 1082675"/>
              <a:gd name="connsiteY18" fmla="*/ 152400 h 238125"/>
              <a:gd name="connsiteX0" fmla="*/ 0 w 1082675"/>
              <a:gd name="connsiteY0" fmla="*/ 152400 h 238125"/>
              <a:gd name="connsiteX1" fmla="*/ 155575 w 1082675"/>
              <a:gd name="connsiteY1" fmla="*/ 187325 h 238125"/>
              <a:gd name="connsiteX2" fmla="*/ 307975 w 1082675"/>
              <a:gd name="connsiteY2" fmla="*/ 238125 h 238125"/>
              <a:gd name="connsiteX3" fmla="*/ 517525 w 1082675"/>
              <a:gd name="connsiteY3" fmla="*/ 231775 h 238125"/>
              <a:gd name="connsiteX4" fmla="*/ 714375 w 1082675"/>
              <a:gd name="connsiteY4" fmla="*/ 168275 h 238125"/>
              <a:gd name="connsiteX5" fmla="*/ 917575 w 1082675"/>
              <a:gd name="connsiteY5" fmla="*/ 104775 h 238125"/>
              <a:gd name="connsiteX6" fmla="*/ 1035050 w 1082675"/>
              <a:gd name="connsiteY6" fmla="*/ 41275 h 238125"/>
              <a:gd name="connsiteX7" fmla="*/ 1082675 w 1082675"/>
              <a:gd name="connsiteY7" fmla="*/ 0 h 238125"/>
              <a:gd name="connsiteX8" fmla="*/ 977900 w 1082675"/>
              <a:gd name="connsiteY8" fmla="*/ 31750 h 238125"/>
              <a:gd name="connsiteX9" fmla="*/ 847725 w 1082675"/>
              <a:gd name="connsiteY9" fmla="*/ 104775 h 238125"/>
              <a:gd name="connsiteX10" fmla="*/ 717550 w 1082675"/>
              <a:gd name="connsiteY10" fmla="*/ 139700 h 238125"/>
              <a:gd name="connsiteX11" fmla="*/ 552450 w 1082675"/>
              <a:gd name="connsiteY11" fmla="*/ 168275 h 238125"/>
              <a:gd name="connsiteX12" fmla="*/ 501650 w 1082675"/>
              <a:gd name="connsiteY12" fmla="*/ 184150 h 238125"/>
              <a:gd name="connsiteX13" fmla="*/ 431800 w 1082675"/>
              <a:gd name="connsiteY13" fmla="*/ 206375 h 238125"/>
              <a:gd name="connsiteX14" fmla="*/ 349250 w 1082675"/>
              <a:gd name="connsiteY14" fmla="*/ 171450 h 238125"/>
              <a:gd name="connsiteX15" fmla="*/ 276225 w 1082675"/>
              <a:gd name="connsiteY15" fmla="*/ 174625 h 238125"/>
              <a:gd name="connsiteX16" fmla="*/ 250825 w 1082675"/>
              <a:gd name="connsiteY16" fmla="*/ 171450 h 238125"/>
              <a:gd name="connsiteX17" fmla="*/ 92075 w 1082675"/>
              <a:gd name="connsiteY17" fmla="*/ 152400 h 238125"/>
              <a:gd name="connsiteX18" fmla="*/ 0 w 1082675"/>
              <a:gd name="connsiteY18" fmla="*/ 152400 h 238125"/>
              <a:gd name="connsiteX0" fmla="*/ 0 w 1082675"/>
              <a:gd name="connsiteY0" fmla="*/ 152400 h 238125"/>
              <a:gd name="connsiteX1" fmla="*/ 155575 w 1082675"/>
              <a:gd name="connsiteY1" fmla="*/ 187325 h 238125"/>
              <a:gd name="connsiteX2" fmla="*/ 307975 w 1082675"/>
              <a:gd name="connsiteY2" fmla="*/ 238125 h 238125"/>
              <a:gd name="connsiteX3" fmla="*/ 517525 w 1082675"/>
              <a:gd name="connsiteY3" fmla="*/ 231775 h 238125"/>
              <a:gd name="connsiteX4" fmla="*/ 714375 w 1082675"/>
              <a:gd name="connsiteY4" fmla="*/ 168275 h 238125"/>
              <a:gd name="connsiteX5" fmla="*/ 917575 w 1082675"/>
              <a:gd name="connsiteY5" fmla="*/ 104775 h 238125"/>
              <a:gd name="connsiteX6" fmla="*/ 1035050 w 1082675"/>
              <a:gd name="connsiteY6" fmla="*/ 41275 h 238125"/>
              <a:gd name="connsiteX7" fmla="*/ 1082675 w 1082675"/>
              <a:gd name="connsiteY7" fmla="*/ 0 h 238125"/>
              <a:gd name="connsiteX8" fmla="*/ 977900 w 1082675"/>
              <a:gd name="connsiteY8" fmla="*/ 31750 h 238125"/>
              <a:gd name="connsiteX9" fmla="*/ 847725 w 1082675"/>
              <a:gd name="connsiteY9" fmla="*/ 104775 h 238125"/>
              <a:gd name="connsiteX10" fmla="*/ 717550 w 1082675"/>
              <a:gd name="connsiteY10" fmla="*/ 139700 h 238125"/>
              <a:gd name="connsiteX11" fmla="*/ 552450 w 1082675"/>
              <a:gd name="connsiteY11" fmla="*/ 168275 h 238125"/>
              <a:gd name="connsiteX12" fmla="*/ 501650 w 1082675"/>
              <a:gd name="connsiteY12" fmla="*/ 184150 h 238125"/>
              <a:gd name="connsiteX13" fmla="*/ 428625 w 1082675"/>
              <a:gd name="connsiteY13" fmla="*/ 190500 h 238125"/>
              <a:gd name="connsiteX14" fmla="*/ 349250 w 1082675"/>
              <a:gd name="connsiteY14" fmla="*/ 171450 h 238125"/>
              <a:gd name="connsiteX15" fmla="*/ 276225 w 1082675"/>
              <a:gd name="connsiteY15" fmla="*/ 174625 h 238125"/>
              <a:gd name="connsiteX16" fmla="*/ 250825 w 1082675"/>
              <a:gd name="connsiteY16" fmla="*/ 171450 h 238125"/>
              <a:gd name="connsiteX17" fmla="*/ 92075 w 1082675"/>
              <a:gd name="connsiteY17" fmla="*/ 152400 h 238125"/>
              <a:gd name="connsiteX18" fmla="*/ 0 w 1082675"/>
              <a:gd name="connsiteY18" fmla="*/ 152400 h 238125"/>
              <a:gd name="connsiteX0" fmla="*/ 0 w 1082675"/>
              <a:gd name="connsiteY0" fmla="*/ 152400 h 238125"/>
              <a:gd name="connsiteX1" fmla="*/ 155575 w 1082675"/>
              <a:gd name="connsiteY1" fmla="*/ 187325 h 238125"/>
              <a:gd name="connsiteX2" fmla="*/ 307975 w 1082675"/>
              <a:gd name="connsiteY2" fmla="*/ 238125 h 238125"/>
              <a:gd name="connsiteX3" fmla="*/ 517525 w 1082675"/>
              <a:gd name="connsiteY3" fmla="*/ 231775 h 238125"/>
              <a:gd name="connsiteX4" fmla="*/ 714375 w 1082675"/>
              <a:gd name="connsiteY4" fmla="*/ 168275 h 238125"/>
              <a:gd name="connsiteX5" fmla="*/ 917575 w 1082675"/>
              <a:gd name="connsiteY5" fmla="*/ 104775 h 238125"/>
              <a:gd name="connsiteX6" fmla="*/ 1035050 w 1082675"/>
              <a:gd name="connsiteY6" fmla="*/ 41275 h 238125"/>
              <a:gd name="connsiteX7" fmla="*/ 1082675 w 1082675"/>
              <a:gd name="connsiteY7" fmla="*/ 0 h 238125"/>
              <a:gd name="connsiteX8" fmla="*/ 977900 w 1082675"/>
              <a:gd name="connsiteY8" fmla="*/ 31750 h 238125"/>
              <a:gd name="connsiteX9" fmla="*/ 847725 w 1082675"/>
              <a:gd name="connsiteY9" fmla="*/ 104775 h 238125"/>
              <a:gd name="connsiteX10" fmla="*/ 717550 w 1082675"/>
              <a:gd name="connsiteY10" fmla="*/ 139700 h 238125"/>
              <a:gd name="connsiteX11" fmla="*/ 552450 w 1082675"/>
              <a:gd name="connsiteY11" fmla="*/ 168275 h 238125"/>
              <a:gd name="connsiteX12" fmla="*/ 501650 w 1082675"/>
              <a:gd name="connsiteY12" fmla="*/ 171450 h 238125"/>
              <a:gd name="connsiteX13" fmla="*/ 428625 w 1082675"/>
              <a:gd name="connsiteY13" fmla="*/ 190500 h 238125"/>
              <a:gd name="connsiteX14" fmla="*/ 349250 w 1082675"/>
              <a:gd name="connsiteY14" fmla="*/ 171450 h 238125"/>
              <a:gd name="connsiteX15" fmla="*/ 276225 w 1082675"/>
              <a:gd name="connsiteY15" fmla="*/ 174625 h 238125"/>
              <a:gd name="connsiteX16" fmla="*/ 250825 w 1082675"/>
              <a:gd name="connsiteY16" fmla="*/ 171450 h 238125"/>
              <a:gd name="connsiteX17" fmla="*/ 92075 w 1082675"/>
              <a:gd name="connsiteY17" fmla="*/ 152400 h 238125"/>
              <a:gd name="connsiteX18" fmla="*/ 0 w 1082675"/>
              <a:gd name="connsiteY18" fmla="*/ 152400 h 238125"/>
              <a:gd name="connsiteX0" fmla="*/ 0 w 1082675"/>
              <a:gd name="connsiteY0" fmla="*/ 152400 h 238125"/>
              <a:gd name="connsiteX1" fmla="*/ 155575 w 1082675"/>
              <a:gd name="connsiteY1" fmla="*/ 187325 h 238125"/>
              <a:gd name="connsiteX2" fmla="*/ 307975 w 1082675"/>
              <a:gd name="connsiteY2" fmla="*/ 238125 h 238125"/>
              <a:gd name="connsiteX3" fmla="*/ 517525 w 1082675"/>
              <a:gd name="connsiteY3" fmla="*/ 231775 h 238125"/>
              <a:gd name="connsiteX4" fmla="*/ 714375 w 1082675"/>
              <a:gd name="connsiteY4" fmla="*/ 168275 h 238125"/>
              <a:gd name="connsiteX5" fmla="*/ 917575 w 1082675"/>
              <a:gd name="connsiteY5" fmla="*/ 104775 h 238125"/>
              <a:gd name="connsiteX6" fmla="*/ 1035050 w 1082675"/>
              <a:gd name="connsiteY6" fmla="*/ 41275 h 238125"/>
              <a:gd name="connsiteX7" fmla="*/ 1082675 w 1082675"/>
              <a:gd name="connsiteY7" fmla="*/ 0 h 238125"/>
              <a:gd name="connsiteX8" fmla="*/ 977900 w 1082675"/>
              <a:gd name="connsiteY8" fmla="*/ 31750 h 238125"/>
              <a:gd name="connsiteX9" fmla="*/ 847725 w 1082675"/>
              <a:gd name="connsiteY9" fmla="*/ 104775 h 238125"/>
              <a:gd name="connsiteX10" fmla="*/ 717550 w 1082675"/>
              <a:gd name="connsiteY10" fmla="*/ 139700 h 238125"/>
              <a:gd name="connsiteX11" fmla="*/ 577850 w 1082675"/>
              <a:gd name="connsiteY11" fmla="*/ 155575 h 238125"/>
              <a:gd name="connsiteX12" fmla="*/ 501650 w 1082675"/>
              <a:gd name="connsiteY12" fmla="*/ 171450 h 238125"/>
              <a:gd name="connsiteX13" fmla="*/ 428625 w 1082675"/>
              <a:gd name="connsiteY13" fmla="*/ 190500 h 238125"/>
              <a:gd name="connsiteX14" fmla="*/ 349250 w 1082675"/>
              <a:gd name="connsiteY14" fmla="*/ 171450 h 238125"/>
              <a:gd name="connsiteX15" fmla="*/ 276225 w 1082675"/>
              <a:gd name="connsiteY15" fmla="*/ 174625 h 238125"/>
              <a:gd name="connsiteX16" fmla="*/ 250825 w 1082675"/>
              <a:gd name="connsiteY16" fmla="*/ 171450 h 238125"/>
              <a:gd name="connsiteX17" fmla="*/ 92075 w 1082675"/>
              <a:gd name="connsiteY17" fmla="*/ 152400 h 238125"/>
              <a:gd name="connsiteX18" fmla="*/ 0 w 1082675"/>
              <a:gd name="connsiteY18" fmla="*/ 152400 h 238125"/>
              <a:gd name="connsiteX0" fmla="*/ 0 w 1082675"/>
              <a:gd name="connsiteY0" fmla="*/ 152400 h 238125"/>
              <a:gd name="connsiteX1" fmla="*/ 155575 w 1082675"/>
              <a:gd name="connsiteY1" fmla="*/ 187325 h 238125"/>
              <a:gd name="connsiteX2" fmla="*/ 307975 w 1082675"/>
              <a:gd name="connsiteY2" fmla="*/ 238125 h 238125"/>
              <a:gd name="connsiteX3" fmla="*/ 517525 w 1082675"/>
              <a:gd name="connsiteY3" fmla="*/ 231775 h 238125"/>
              <a:gd name="connsiteX4" fmla="*/ 714375 w 1082675"/>
              <a:gd name="connsiteY4" fmla="*/ 168275 h 238125"/>
              <a:gd name="connsiteX5" fmla="*/ 917575 w 1082675"/>
              <a:gd name="connsiteY5" fmla="*/ 104775 h 238125"/>
              <a:gd name="connsiteX6" fmla="*/ 1035050 w 1082675"/>
              <a:gd name="connsiteY6" fmla="*/ 41275 h 238125"/>
              <a:gd name="connsiteX7" fmla="*/ 1082675 w 1082675"/>
              <a:gd name="connsiteY7" fmla="*/ 0 h 238125"/>
              <a:gd name="connsiteX8" fmla="*/ 977900 w 1082675"/>
              <a:gd name="connsiteY8" fmla="*/ 31750 h 238125"/>
              <a:gd name="connsiteX9" fmla="*/ 847725 w 1082675"/>
              <a:gd name="connsiteY9" fmla="*/ 104775 h 238125"/>
              <a:gd name="connsiteX10" fmla="*/ 723900 w 1082675"/>
              <a:gd name="connsiteY10" fmla="*/ 127000 h 238125"/>
              <a:gd name="connsiteX11" fmla="*/ 577850 w 1082675"/>
              <a:gd name="connsiteY11" fmla="*/ 155575 h 238125"/>
              <a:gd name="connsiteX12" fmla="*/ 501650 w 1082675"/>
              <a:gd name="connsiteY12" fmla="*/ 171450 h 238125"/>
              <a:gd name="connsiteX13" fmla="*/ 428625 w 1082675"/>
              <a:gd name="connsiteY13" fmla="*/ 190500 h 238125"/>
              <a:gd name="connsiteX14" fmla="*/ 349250 w 1082675"/>
              <a:gd name="connsiteY14" fmla="*/ 171450 h 238125"/>
              <a:gd name="connsiteX15" fmla="*/ 276225 w 1082675"/>
              <a:gd name="connsiteY15" fmla="*/ 174625 h 238125"/>
              <a:gd name="connsiteX16" fmla="*/ 250825 w 1082675"/>
              <a:gd name="connsiteY16" fmla="*/ 171450 h 238125"/>
              <a:gd name="connsiteX17" fmla="*/ 92075 w 1082675"/>
              <a:gd name="connsiteY17" fmla="*/ 152400 h 238125"/>
              <a:gd name="connsiteX18" fmla="*/ 0 w 1082675"/>
              <a:gd name="connsiteY18" fmla="*/ 152400 h 238125"/>
              <a:gd name="connsiteX0" fmla="*/ 0 w 1082675"/>
              <a:gd name="connsiteY0" fmla="*/ 152400 h 238125"/>
              <a:gd name="connsiteX1" fmla="*/ 155575 w 1082675"/>
              <a:gd name="connsiteY1" fmla="*/ 187325 h 238125"/>
              <a:gd name="connsiteX2" fmla="*/ 307975 w 1082675"/>
              <a:gd name="connsiteY2" fmla="*/ 238125 h 238125"/>
              <a:gd name="connsiteX3" fmla="*/ 517525 w 1082675"/>
              <a:gd name="connsiteY3" fmla="*/ 231775 h 238125"/>
              <a:gd name="connsiteX4" fmla="*/ 714375 w 1082675"/>
              <a:gd name="connsiteY4" fmla="*/ 168275 h 238125"/>
              <a:gd name="connsiteX5" fmla="*/ 917575 w 1082675"/>
              <a:gd name="connsiteY5" fmla="*/ 104775 h 238125"/>
              <a:gd name="connsiteX6" fmla="*/ 1035050 w 1082675"/>
              <a:gd name="connsiteY6" fmla="*/ 41275 h 238125"/>
              <a:gd name="connsiteX7" fmla="*/ 1082675 w 1082675"/>
              <a:gd name="connsiteY7" fmla="*/ 0 h 238125"/>
              <a:gd name="connsiteX8" fmla="*/ 977900 w 1082675"/>
              <a:gd name="connsiteY8" fmla="*/ 31750 h 238125"/>
              <a:gd name="connsiteX9" fmla="*/ 844550 w 1082675"/>
              <a:gd name="connsiteY9" fmla="*/ 92075 h 238125"/>
              <a:gd name="connsiteX10" fmla="*/ 723900 w 1082675"/>
              <a:gd name="connsiteY10" fmla="*/ 127000 h 238125"/>
              <a:gd name="connsiteX11" fmla="*/ 577850 w 1082675"/>
              <a:gd name="connsiteY11" fmla="*/ 155575 h 238125"/>
              <a:gd name="connsiteX12" fmla="*/ 501650 w 1082675"/>
              <a:gd name="connsiteY12" fmla="*/ 171450 h 238125"/>
              <a:gd name="connsiteX13" fmla="*/ 428625 w 1082675"/>
              <a:gd name="connsiteY13" fmla="*/ 190500 h 238125"/>
              <a:gd name="connsiteX14" fmla="*/ 349250 w 1082675"/>
              <a:gd name="connsiteY14" fmla="*/ 171450 h 238125"/>
              <a:gd name="connsiteX15" fmla="*/ 276225 w 1082675"/>
              <a:gd name="connsiteY15" fmla="*/ 174625 h 238125"/>
              <a:gd name="connsiteX16" fmla="*/ 250825 w 1082675"/>
              <a:gd name="connsiteY16" fmla="*/ 171450 h 238125"/>
              <a:gd name="connsiteX17" fmla="*/ 92075 w 1082675"/>
              <a:gd name="connsiteY17" fmla="*/ 152400 h 238125"/>
              <a:gd name="connsiteX18" fmla="*/ 0 w 1082675"/>
              <a:gd name="connsiteY18" fmla="*/ 152400 h 238125"/>
              <a:gd name="connsiteX0" fmla="*/ 0 w 1082675"/>
              <a:gd name="connsiteY0" fmla="*/ 152400 h 238125"/>
              <a:gd name="connsiteX1" fmla="*/ 155575 w 1082675"/>
              <a:gd name="connsiteY1" fmla="*/ 187325 h 238125"/>
              <a:gd name="connsiteX2" fmla="*/ 307975 w 1082675"/>
              <a:gd name="connsiteY2" fmla="*/ 238125 h 238125"/>
              <a:gd name="connsiteX3" fmla="*/ 517525 w 1082675"/>
              <a:gd name="connsiteY3" fmla="*/ 231775 h 238125"/>
              <a:gd name="connsiteX4" fmla="*/ 714375 w 1082675"/>
              <a:gd name="connsiteY4" fmla="*/ 168275 h 238125"/>
              <a:gd name="connsiteX5" fmla="*/ 917575 w 1082675"/>
              <a:gd name="connsiteY5" fmla="*/ 104775 h 238125"/>
              <a:gd name="connsiteX6" fmla="*/ 1035050 w 1082675"/>
              <a:gd name="connsiteY6" fmla="*/ 41275 h 238125"/>
              <a:gd name="connsiteX7" fmla="*/ 1082675 w 1082675"/>
              <a:gd name="connsiteY7" fmla="*/ 0 h 238125"/>
              <a:gd name="connsiteX8" fmla="*/ 968375 w 1082675"/>
              <a:gd name="connsiteY8" fmla="*/ 44450 h 238125"/>
              <a:gd name="connsiteX9" fmla="*/ 844550 w 1082675"/>
              <a:gd name="connsiteY9" fmla="*/ 92075 h 238125"/>
              <a:gd name="connsiteX10" fmla="*/ 723900 w 1082675"/>
              <a:gd name="connsiteY10" fmla="*/ 127000 h 238125"/>
              <a:gd name="connsiteX11" fmla="*/ 577850 w 1082675"/>
              <a:gd name="connsiteY11" fmla="*/ 155575 h 238125"/>
              <a:gd name="connsiteX12" fmla="*/ 501650 w 1082675"/>
              <a:gd name="connsiteY12" fmla="*/ 171450 h 238125"/>
              <a:gd name="connsiteX13" fmla="*/ 428625 w 1082675"/>
              <a:gd name="connsiteY13" fmla="*/ 190500 h 238125"/>
              <a:gd name="connsiteX14" fmla="*/ 349250 w 1082675"/>
              <a:gd name="connsiteY14" fmla="*/ 171450 h 238125"/>
              <a:gd name="connsiteX15" fmla="*/ 276225 w 1082675"/>
              <a:gd name="connsiteY15" fmla="*/ 174625 h 238125"/>
              <a:gd name="connsiteX16" fmla="*/ 250825 w 1082675"/>
              <a:gd name="connsiteY16" fmla="*/ 171450 h 238125"/>
              <a:gd name="connsiteX17" fmla="*/ 92075 w 1082675"/>
              <a:gd name="connsiteY17" fmla="*/ 152400 h 238125"/>
              <a:gd name="connsiteX18" fmla="*/ 0 w 1082675"/>
              <a:gd name="connsiteY18" fmla="*/ 152400 h 238125"/>
              <a:gd name="connsiteX0" fmla="*/ 0 w 1082675"/>
              <a:gd name="connsiteY0" fmla="*/ 152400 h 231775"/>
              <a:gd name="connsiteX1" fmla="*/ 155575 w 1082675"/>
              <a:gd name="connsiteY1" fmla="*/ 187325 h 231775"/>
              <a:gd name="connsiteX2" fmla="*/ 311150 w 1082675"/>
              <a:gd name="connsiteY2" fmla="*/ 225425 h 231775"/>
              <a:gd name="connsiteX3" fmla="*/ 517525 w 1082675"/>
              <a:gd name="connsiteY3" fmla="*/ 231775 h 231775"/>
              <a:gd name="connsiteX4" fmla="*/ 714375 w 1082675"/>
              <a:gd name="connsiteY4" fmla="*/ 168275 h 231775"/>
              <a:gd name="connsiteX5" fmla="*/ 917575 w 1082675"/>
              <a:gd name="connsiteY5" fmla="*/ 104775 h 231775"/>
              <a:gd name="connsiteX6" fmla="*/ 1035050 w 1082675"/>
              <a:gd name="connsiteY6" fmla="*/ 41275 h 231775"/>
              <a:gd name="connsiteX7" fmla="*/ 1082675 w 1082675"/>
              <a:gd name="connsiteY7" fmla="*/ 0 h 231775"/>
              <a:gd name="connsiteX8" fmla="*/ 968375 w 1082675"/>
              <a:gd name="connsiteY8" fmla="*/ 44450 h 231775"/>
              <a:gd name="connsiteX9" fmla="*/ 844550 w 1082675"/>
              <a:gd name="connsiteY9" fmla="*/ 92075 h 231775"/>
              <a:gd name="connsiteX10" fmla="*/ 723900 w 1082675"/>
              <a:gd name="connsiteY10" fmla="*/ 127000 h 231775"/>
              <a:gd name="connsiteX11" fmla="*/ 577850 w 1082675"/>
              <a:gd name="connsiteY11" fmla="*/ 155575 h 231775"/>
              <a:gd name="connsiteX12" fmla="*/ 501650 w 1082675"/>
              <a:gd name="connsiteY12" fmla="*/ 171450 h 231775"/>
              <a:gd name="connsiteX13" fmla="*/ 428625 w 1082675"/>
              <a:gd name="connsiteY13" fmla="*/ 190500 h 231775"/>
              <a:gd name="connsiteX14" fmla="*/ 349250 w 1082675"/>
              <a:gd name="connsiteY14" fmla="*/ 171450 h 231775"/>
              <a:gd name="connsiteX15" fmla="*/ 276225 w 1082675"/>
              <a:gd name="connsiteY15" fmla="*/ 174625 h 231775"/>
              <a:gd name="connsiteX16" fmla="*/ 250825 w 1082675"/>
              <a:gd name="connsiteY16" fmla="*/ 171450 h 231775"/>
              <a:gd name="connsiteX17" fmla="*/ 92075 w 1082675"/>
              <a:gd name="connsiteY17" fmla="*/ 152400 h 231775"/>
              <a:gd name="connsiteX18" fmla="*/ 0 w 1082675"/>
              <a:gd name="connsiteY18" fmla="*/ 152400 h 231775"/>
              <a:gd name="connsiteX0" fmla="*/ 0 w 1082675"/>
              <a:gd name="connsiteY0" fmla="*/ 152400 h 225425"/>
              <a:gd name="connsiteX1" fmla="*/ 155575 w 1082675"/>
              <a:gd name="connsiteY1" fmla="*/ 187325 h 225425"/>
              <a:gd name="connsiteX2" fmla="*/ 311150 w 1082675"/>
              <a:gd name="connsiteY2" fmla="*/ 225425 h 225425"/>
              <a:gd name="connsiteX3" fmla="*/ 517525 w 1082675"/>
              <a:gd name="connsiteY3" fmla="*/ 219075 h 225425"/>
              <a:gd name="connsiteX4" fmla="*/ 714375 w 1082675"/>
              <a:gd name="connsiteY4" fmla="*/ 168275 h 225425"/>
              <a:gd name="connsiteX5" fmla="*/ 917575 w 1082675"/>
              <a:gd name="connsiteY5" fmla="*/ 104775 h 225425"/>
              <a:gd name="connsiteX6" fmla="*/ 1035050 w 1082675"/>
              <a:gd name="connsiteY6" fmla="*/ 4127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28625 w 1082675"/>
              <a:gd name="connsiteY13" fmla="*/ 190500 h 225425"/>
              <a:gd name="connsiteX14" fmla="*/ 349250 w 1082675"/>
              <a:gd name="connsiteY14" fmla="*/ 171450 h 225425"/>
              <a:gd name="connsiteX15" fmla="*/ 276225 w 1082675"/>
              <a:gd name="connsiteY15" fmla="*/ 174625 h 225425"/>
              <a:gd name="connsiteX16" fmla="*/ 250825 w 1082675"/>
              <a:gd name="connsiteY16" fmla="*/ 171450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55575 w 1082675"/>
              <a:gd name="connsiteY1" fmla="*/ 187325 h 225425"/>
              <a:gd name="connsiteX2" fmla="*/ 311150 w 1082675"/>
              <a:gd name="connsiteY2" fmla="*/ 225425 h 225425"/>
              <a:gd name="connsiteX3" fmla="*/ 549275 w 1082675"/>
              <a:gd name="connsiteY3" fmla="*/ 206375 h 225425"/>
              <a:gd name="connsiteX4" fmla="*/ 714375 w 1082675"/>
              <a:gd name="connsiteY4" fmla="*/ 168275 h 225425"/>
              <a:gd name="connsiteX5" fmla="*/ 917575 w 1082675"/>
              <a:gd name="connsiteY5" fmla="*/ 104775 h 225425"/>
              <a:gd name="connsiteX6" fmla="*/ 1035050 w 1082675"/>
              <a:gd name="connsiteY6" fmla="*/ 4127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28625 w 1082675"/>
              <a:gd name="connsiteY13" fmla="*/ 190500 h 225425"/>
              <a:gd name="connsiteX14" fmla="*/ 349250 w 1082675"/>
              <a:gd name="connsiteY14" fmla="*/ 171450 h 225425"/>
              <a:gd name="connsiteX15" fmla="*/ 276225 w 1082675"/>
              <a:gd name="connsiteY15" fmla="*/ 174625 h 225425"/>
              <a:gd name="connsiteX16" fmla="*/ 250825 w 1082675"/>
              <a:gd name="connsiteY16" fmla="*/ 171450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55575 w 1082675"/>
              <a:gd name="connsiteY1" fmla="*/ 187325 h 225425"/>
              <a:gd name="connsiteX2" fmla="*/ 311150 w 1082675"/>
              <a:gd name="connsiteY2" fmla="*/ 225425 h 225425"/>
              <a:gd name="connsiteX3" fmla="*/ 549275 w 1082675"/>
              <a:gd name="connsiteY3" fmla="*/ 206375 h 225425"/>
              <a:gd name="connsiteX4" fmla="*/ 733425 w 1082675"/>
              <a:gd name="connsiteY4" fmla="*/ 158750 h 225425"/>
              <a:gd name="connsiteX5" fmla="*/ 917575 w 1082675"/>
              <a:gd name="connsiteY5" fmla="*/ 104775 h 225425"/>
              <a:gd name="connsiteX6" fmla="*/ 1035050 w 1082675"/>
              <a:gd name="connsiteY6" fmla="*/ 4127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28625 w 1082675"/>
              <a:gd name="connsiteY13" fmla="*/ 190500 h 225425"/>
              <a:gd name="connsiteX14" fmla="*/ 349250 w 1082675"/>
              <a:gd name="connsiteY14" fmla="*/ 171450 h 225425"/>
              <a:gd name="connsiteX15" fmla="*/ 276225 w 1082675"/>
              <a:gd name="connsiteY15" fmla="*/ 174625 h 225425"/>
              <a:gd name="connsiteX16" fmla="*/ 250825 w 1082675"/>
              <a:gd name="connsiteY16" fmla="*/ 171450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55575 w 1082675"/>
              <a:gd name="connsiteY1" fmla="*/ 187325 h 225425"/>
              <a:gd name="connsiteX2" fmla="*/ 311150 w 1082675"/>
              <a:gd name="connsiteY2" fmla="*/ 225425 h 225425"/>
              <a:gd name="connsiteX3" fmla="*/ 549275 w 1082675"/>
              <a:gd name="connsiteY3" fmla="*/ 206375 h 225425"/>
              <a:gd name="connsiteX4" fmla="*/ 733425 w 1082675"/>
              <a:gd name="connsiteY4" fmla="*/ 158750 h 225425"/>
              <a:gd name="connsiteX5" fmla="*/ 908050 w 1082675"/>
              <a:gd name="connsiteY5" fmla="*/ 85725 h 225425"/>
              <a:gd name="connsiteX6" fmla="*/ 1035050 w 1082675"/>
              <a:gd name="connsiteY6" fmla="*/ 4127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28625 w 1082675"/>
              <a:gd name="connsiteY13" fmla="*/ 190500 h 225425"/>
              <a:gd name="connsiteX14" fmla="*/ 349250 w 1082675"/>
              <a:gd name="connsiteY14" fmla="*/ 171450 h 225425"/>
              <a:gd name="connsiteX15" fmla="*/ 276225 w 1082675"/>
              <a:gd name="connsiteY15" fmla="*/ 174625 h 225425"/>
              <a:gd name="connsiteX16" fmla="*/ 250825 w 1082675"/>
              <a:gd name="connsiteY16" fmla="*/ 171450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55575 w 1082675"/>
              <a:gd name="connsiteY1" fmla="*/ 187325 h 225425"/>
              <a:gd name="connsiteX2" fmla="*/ 311150 w 1082675"/>
              <a:gd name="connsiteY2" fmla="*/ 225425 h 225425"/>
              <a:gd name="connsiteX3" fmla="*/ 549275 w 1082675"/>
              <a:gd name="connsiteY3" fmla="*/ 206375 h 225425"/>
              <a:gd name="connsiteX4" fmla="*/ 733425 w 1082675"/>
              <a:gd name="connsiteY4" fmla="*/ 158750 h 225425"/>
              <a:gd name="connsiteX5" fmla="*/ 908050 w 1082675"/>
              <a:gd name="connsiteY5" fmla="*/ 85725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28625 w 1082675"/>
              <a:gd name="connsiteY13" fmla="*/ 190500 h 225425"/>
              <a:gd name="connsiteX14" fmla="*/ 349250 w 1082675"/>
              <a:gd name="connsiteY14" fmla="*/ 171450 h 225425"/>
              <a:gd name="connsiteX15" fmla="*/ 276225 w 1082675"/>
              <a:gd name="connsiteY15" fmla="*/ 174625 h 225425"/>
              <a:gd name="connsiteX16" fmla="*/ 250825 w 1082675"/>
              <a:gd name="connsiteY16" fmla="*/ 171450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55575 w 1082675"/>
              <a:gd name="connsiteY1" fmla="*/ 187325 h 225425"/>
              <a:gd name="connsiteX2" fmla="*/ 311150 w 1082675"/>
              <a:gd name="connsiteY2" fmla="*/ 225425 h 225425"/>
              <a:gd name="connsiteX3" fmla="*/ 549275 w 1082675"/>
              <a:gd name="connsiteY3" fmla="*/ 206375 h 225425"/>
              <a:gd name="connsiteX4" fmla="*/ 733425 w 1082675"/>
              <a:gd name="connsiteY4" fmla="*/ 158750 h 225425"/>
              <a:gd name="connsiteX5" fmla="*/ 908050 w 1082675"/>
              <a:gd name="connsiteY5" fmla="*/ 85725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33387 w 1082675"/>
              <a:gd name="connsiteY13" fmla="*/ 178594 h 225425"/>
              <a:gd name="connsiteX14" fmla="*/ 349250 w 1082675"/>
              <a:gd name="connsiteY14" fmla="*/ 171450 h 225425"/>
              <a:gd name="connsiteX15" fmla="*/ 276225 w 1082675"/>
              <a:gd name="connsiteY15" fmla="*/ 174625 h 225425"/>
              <a:gd name="connsiteX16" fmla="*/ 250825 w 1082675"/>
              <a:gd name="connsiteY16" fmla="*/ 171450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55575 w 1082675"/>
              <a:gd name="connsiteY1" fmla="*/ 187325 h 225425"/>
              <a:gd name="connsiteX2" fmla="*/ 311150 w 1082675"/>
              <a:gd name="connsiteY2" fmla="*/ 225425 h 225425"/>
              <a:gd name="connsiteX3" fmla="*/ 549275 w 1082675"/>
              <a:gd name="connsiteY3" fmla="*/ 206375 h 225425"/>
              <a:gd name="connsiteX4" fmla="*/ 733425 w 1082675"/>
              <a:gd name="connsiteY4" fmla="*/ 158750 h 225425"/>
              <a:gd name="connsiteX5" fmla="*/ 908050 w 1082675"/>
              <a:gd name="connsiteY5" fmla="*/ 85725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33387 w 1082675"/>
              <a:gd name="connsiteY13" fmla="*/ 178594 h 225425"/>
              <a:gd name="connsiteX14" fmla="*/ 349250 w 1082675"/>
              <a:gd name="connsiteY14" fmla="*/ 171450 h 225425"/>
              <a:gd name="connsiteX15" fmla="*/ 276225 w 1082675"/>
              <a:gd name="connsiteY15" fmla="*/ 174625 h 225425"/>
              <a:gd name="connsiteX16" fmla="*/ 219869 w 1082675"/>
              <a:gd name="connsiteY16" fmla="*/ 159544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55575 w 1082675"/>
              <a:gd name="connsiteY1" fmla="*/ 187325 h 225425"/>
              <a:gd name="connsiteX2" fmla="*/ 311150 w 1082675"/>
              <a:gd name="connsiteY2" fmla="*/ 225425 h 225425"/>
              <a:gd name="connsiteX3" fmla="*/ 549275 w 1082675"/>
              <a:gd name="connsiteY3" fmla="*/ 206375 h 225425"/>
              <a:gd name="connsiteX4" fmla="*/ 733425 w 1082675"/>
              <a:gd name="connsiteY4" fmla="*/ 158750 h 225425"/>
              <a:gd name="connsiteX5" fmla="*/ 908050 w 1082675"/>
              <a:gd name="connsiteY5" fmla="*/ 85725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33387 w 1082675"/>
              <a:gd name="connsiteY13" fmla="*/ 178594 h 225425"/>
              <a:gd name="connsiteX14" fmla="*/ 349250 w 1082675"/>
              <a:gd name="connsiteY14" fmla="*/ 171450 h 225425"/>
              <a:gd name="connsiteX15" fmla="*/ 292893 w 1082675"/>
              <a:gd name="connsiteY15" fmla="*/ 169863 h 225425"/>
              <a:gd name="connsiteX16" fmla="*/ 219869 w 1082675"/>
              <a:gd name="connsiteY16" fmla="*/ 159544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84150 w 1082675"/>
              <a:gd name="connsiteY1" fmla="*/ 196850 h 225425"/>
              <a:gd name="connsiteX2" fmla="*/ 311150 w 1082675"/>
              <a:gd name="connsiteY2" fmla="*/ 225425 h 225425"/>
              <a:gd name="connsiteX3" fmla="*/ 549275 w 1082675"/>
              <a:gd name="connsiteY3" fmla="*/ 206375 h 225425"/>
              <a:gd name="connsiteX4" fmla="*/ 733425 w 1082675"/>
              <a:gd name="connsiteY4" fmla="*/ 158750 h 225425"/>
              <a:gd name="connsiteX5" fmla="*/ 908050 w 1082675"/>
              <a:gd name="connsiteY5" fmla="*/ 85725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33387 w 1082675"/>
              <a:gd name="connsiteY13" fmla="*/ 178594 h 225425"/>
              <a:gd name="connsiteX14" fmla="*/ 349250 w 1082675"/>
              <a:gd name="connsiteY14" fmla="*/ 171450 h 225425"/>
              <a:gd name="connsiteX15" fmla="*/ 292893 w 1082675"/>
              <a:gd name="connsiteY15" fmla="*/ 169863 h 225425"/>
              <a:gd name="connsiteX16" fmla="*/ 219869 w 1082675"/>
              <a:gd name="connsiteY16" fmla="*/ 159544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84150 w 1082675"/>
              <a:gd name="connsiteY1" fmla="*/ 196850 h 225425"/>
              <a:gd name="connsiteX2" fmla="*/ 311150 w 1082675"/>
              <a:gd name="connsiteY2" fmla="*/ 225425 h 225425"/>
              <a:gd name="connsiteX3" fmla="*/ 518319 w 1082675"/>
              <a:gd name="connsiteY3" fmla="*/ 215900 h 225425"/>
              <a:gd name="connsiteX4" fmla="*/ 733425 w 1082675"/>
              <a:gd name="connsiteY4" fmla="*/ 158750 h 225425"/>
              <a:gd name="connsiteX5" fmla="*/ 908050 w 1082675"/>
              <a:gd name="connsiteY5" fmla="*/ 85725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33387 w 1082675"/>
              <a:gd name="connsiteY13" fmla="*/ 178594 h 225425"/>
              <a:gd name="connsiteX14" fmla="*/ 349250 w 1082675"/>
              <a:gd name="connsiteY14" fmla="*/ 171450 h 225425"/>
              <a:gd name="connsiteX15" fmla="*/ 292893 w 1082675"/>
              <a:gd name="connsiteY15" fmla="*/ 169863 h 225425"/>
              <a:gd name="connsiteX16" fmla="*/ 219869 w 1082675"/>
              <a:gd name="connsiteY16" fmla="*/ 159544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84150 w 1082675"/>
              <a:gd name="connsiteY1" fmla="*/ 196850 h 225425"/>
              <a:gd name="connsiteX2" fmla="*/ 311150 w 1082675"/>
              <a:gd name="connsiteY2" fmla="*/ 225425 h 225425"/>
              <a:gd name="connsiteX3" fmla="*/ 518319 w 1082675"/>
              <a:gd name="connsiteY3" fmla="*/ 215900 h 225425"/>
              <a:gd name="connsiteX4" fmla="*/ 733425 w 1082675"/>
              <a:gd name="connsiteY4" fmla="*/ 158750 h 225425"/>
              <a:gd name="connsiteX5" fmla="*/ 908050 w 1082675"/>
              <a:gd name="connsiteY5" fmla="*/ 85725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33387 w 1082675"/>
              <a:gd name="connsiteY13" fmla="*/ 178594 h 225425"/>
              <a:gd name="connsiteX14" fmla="*/ 349250 w 1082675"/>
              <a:gd name="connsiteY14" fmla="*/ 171450 h 225425"/>
              <a:gd name="connsiteX15" fmla="*/ 292893 w 1082675"/>
              <a:gd name="connsiteY15" fmla="*/ 169863 h 225425"/>
              <a:gd name="connsiteX16" fmla="*/ 219869 w 1082675"/>
              <a:gd name="connsiteY16" fmla="*/ 159544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84150 w 1082675"/>
              <a:gd name="connsiteY1" fmla="*/ 196850 h 225425"/>
              <a:gd name="connsiteX2" fmla="*/ 311150 w 1082675"/>
              <a:gd name="connsiteY2" fmla="*/ 225425 h 225425"/>
              <a:gd name="connsiteX3" fmla="*/ 518319 w 1082675"/>
              <a:gd name="connsiteY3" fmla="*/ 215900 h 225425"/>
              <a:gd name="connsiteX4" fmla="*/ 733425 w 1082675"/>
              <a:gd name="connsiteY4" fmla="*/ 158750 h 225425"/>
              <a:gd name="connsiteX5" fmla="*/ 912813 w 1082675"/>
              <a:gd name="connsiteY5" fmla="*/ 95250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44550 w 1082675"/>
              <a:gd name="connsiteY9" fmla="*/ 92075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33387 w 1082675"/>
              <a:gd name="connsiteY13" fmla="*/ 178594 h 225425"/>
              <a:gd name="connsiteX14" fmla="*/ 349250 w 1082675"/>
              <a:gd name="connsiteY14" fmla="*/ 171450 h 225425"/>
              <a:gd name="connsiteX15" fmla="*/ 292893 w 1082675"/>
              <a:gd name="connsiteY15" fmla="*/ 169863 h 225425"/>
              <a:gd name="connsiteX16" fmla="*/ 219869 w 1082675"/>
              <a:gd name="connsiteY16" fmla="*/ 159544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  <a:gd name="connsiteX0" fmla="*/ 0 w 1082675"/>
              <a:gd name="connsiteY0" fmla="*/ 152400 h 225425"/>
              <a:gd name="connsiteX1" fmla="*/ 184150 w 1082675"/>
              <a:gd name="connsiteY1" fmla="*/ 196850 h 225425"/>
              <a:gd name="connsiteX2" fmla="*/ 311150 w 1082675"/>
              <a:gd name="connsiteY2" fmla="*/ 225425 h 225425"/>
              <a:gd name="connsiteX3" fmla="*/ 518319 w 1082675"/>
              <a:gd name="connsiteY3" fmla="*/ 215900 h 225425"/>
              <a:gd name="connsiteX4" fmla="*/ 733425 w 1082675"/>
              <a:gd name="connsiteY4" fmla="*/ 158750 h 225425"/>
              <a:gd name="connsiteX5" fmla="*/ 912813 w 1082675"/>
              <a:gd name="connsiteY5" fmla="*/ 95250 h 225425"/>
              <a:gd name="connsiteX6" fmla="*/ 1016000 w 1082675"/>
              <a:gd name="connsiteY6" fmla="*/ 34925 h 225425"/>
              <a:gd name="connsiteX7" fmla="*/ 1082675 w 1082675"/>
              <a:gd name="connsiteY7" fmla="*/ 0 h 225425"/>
              <a:gd name="connsiteX8" fmla="*/ 968375 w 1082675"/>
              <a:gd name="connsiteY8" fmla="*/ 44450 h 225425"/>
              <a:gd name="connsiteX9" fmla="*/ 839787 w 1082675"/>
              <a:gd name="connsiteY9" fmla="*/ 89694 h 225425"/>
              <a:gd name="connsiteX10" fmla="*/ 723900 w 1082675"/>
              <a:gd name="connsiteY10" fmla="*/ 127000 h 225425"/>
              <a:gd name="connsiteX11" fmla="*/ 577850 w 1082675"/>
              <a:gd name="connsiteY11" fmla="*/ 155575 h 225425"/>
              <a:gd name="connsiteX12" fmla="*/ 501650 w 1082675"/>
              <a:gd name="connsiteY12" fmla="*/ 171450 h 225425"/>
              <a:gd name="connsiteX13" fmla="*/ 433387 w 1082675"/>
              <a:gd name="connsiteY13" fmla="*/ 178594 h 225425"/>
              <a:gd name="connsiteX14" fmla="*/ 349250 w 1082675"/>
              <a:gd name="connsiteY14" fmla="*/ 171450 h 225425"/>
              <a:gd name="connsiteX15" fmla="*/ 292893 w 1082675"/>
              <a:gd name="connsiteY15" fmla="*/ 169863 h 225425"/>
              <a:gd name="connsiteX16" fmla="*/ 219869 w 1082675"/>
              <a:gd name="connsiteY16" fmla="*/ 159544 h 225425"/>
              <a:gd name="connsiteX17" fmla="*/ 92075 w 1082675"/>
              <a:gd name="connsiteY17" fmla="*/ 152400 h 225425"/>
              <a:gd name="connsiteX18" fmla="*/ 0 w 1082675"/>
              <a:gd name="connsiteY18" fmla="*/ 152400 h 225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82675" h="225425">
                <a:moveTo>
                  <a:pt x="0" y="152400"/>
                </a:moveTo>
                <a:lnTo>
                  <a:pt x="184150" y="196850"/>
                </a:lnTo>
                <a:lnTo>
                  <a:pt x="311150" y="225425"/>
                </a:lnTo>
                <a:lnTo>
                  <a:pt x="518319" y="215900"/>
                </a:lnTo>
                <a:cubicBezTo>
                  <a:pt x="579702" y="200025"/>
                  <a:pt x="667676" y="178858"/>
                  <a:pt x="733425" y="158750"/>
                </a:cubicBezTo>
                <a:cubicBezTo>
                  <a:pt x="799174" y="138642"/>
                  <a:pt x="845080" y="116417"/>
                  <a:pt x="912813" y="95250"/>
                </a:cubicBezTo>
                <a:lnTo>
                  <a:pt x="1016000" y="34925"/>
                </a:lnTo>
                <a:lnTo>
                  <a:pt x="1082675" y="0"/>
                </a:lnTo>
                <a:lnTo>
                  <a:pt x="968375" y="44450"/>
                </a:lnTo>
                <a:lnTo>
                  <a:pt x="839787" y="89694"/>
                </a:lnTo>
                <a:lnTo>
                  <a:pt x="723900" y="127000"/>
                </a:lnTo>
                <a:lnTo>
                  <a:pt x="577850" y="155575"/>
                </a:lnTo>
                <a:cubicBezTo>
                  <a:pt x="560917" y="160867"/>
                  <a:pt x="525727" y="167614"/>
                  <a:pt x="501650" y="171450"/>
                </a:cubicBezTo>
                <a:cubicBezTo>
                  <a:pt x="477573" y="175286"/>
                  <a:pt x="457729" y="176477"/>
                  <a:pt x="433387" y="178594"/>
                </a:cubicBezTo>
                <a:lnTo>
                  <a:pt x="349250" y="171450"/>
                </a:lnTo>
                <a:cubicBezTo>
                  <a:pt x="324908" y="172508"/>
                  <a:pt x="314456" y="171847"/>
                  <a:pt x="292893" y="169863"/>
                </a:cubicBezTo>
                <a:cubicBezTo>
                  <a:pt x="271330" y="167879"/>
                  <a:pt x="231884" y="159544"/>
                  <a:pt x="219869" y="159544"/>
                </a:cubicBezTo>
                <a:lnTo>
                  <a:pt x="92075" y="152400"/>
                </a:lnTo>
                <a:lnTo>
                  <a:pt x="0" y="152400"/>
                </a:lnTo>
                <a:close/>
              </a:path>
            </a:pathLst>
          </a:custGeom>
          <a:solidFill>
            <a:srgbClr val="E9C180">
              <a:alpha val="55000"/>
            </a:srgb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A01C5FD-CFBA-484F-A9EA-B05D548435E3}"/>
              </a:ext>
            </a:extLst>
          </p:cNvPr>
          <p:cNvSpPr/>
          <p:nvPr/>
        </p:nvSpPr>
        <p:spPr bwMode="auto">
          <a:xfrm>
            <a:off x="4124229" y="4155360"/>
            <a:ext cx="1845896" cy="927429"/>
          </a:xfrm>
          <a:prstGeom prst="roundRect">
            <a:avLst>
              <a:gd name="adj" fmla="val 27295"/>
            </a:avLst>
          </a:prstGeom>
          <a:gradFill flip="none" rotWithShape="1">
            <a:gsLst>
              <a:gs pos="0">
                <a:schemeClr val="bg1"/>
              </a:gs>
              <a:gs pos="50000">
                <a:schemeClr val="tx1"/>
              </a:gs>
            </a:gsLst>
            <a:path path="circle">
              <a:fillToRect l="100000" t="100000"/>
            </a:path>
            <a:tileRect r="-100000" b="-100000"/>
          </a:gradFill>
          <a:ln w="254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F984097-513C-4B3B-B876-D346631C468C}"/>
              </a:ext>
            </a:extLst>
          </p:cNvPr>
          <p:cNvSpPr/>
          <p:nvPr/>
        </p:nvSpPr>
        <p:spPr bwMode="auto">
          <a:xfrm>
            <a:off x="0" y="6515100"/>
            <a:ext cx="9906000" cy="3429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  <a:effectLst>
            <a:outerShdw blurRad="1270000" dist="279400" dir="16200000" rotWithShape="0">
              <a:prstClr val="black">
                <a:alpha val="76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2D10A8C-CB74-4658-BA35-792D8A8F0A73}"/>
              </a:ext>
            </a:extLst>
          </p:cNvPr>
          <p:cNvSpPr/>
          <p:nvPr/>
        </p:nvSpPr>
        <p:spPr bwMode="auto">
          <a:xfrm>
            <a:off x="918895" y="2278209"/>
            <a:ext cx="2408866" cy="905961"/>
          </a:xfrm>
          <a:prstGeom prst="roundRect">
            <a:avLst>
              <a:gd name="adj" fmla="val 7806"/>
            </a:avLst>
          </a:prstGeom>
          <a:solidFill>
            <a:schemeClr val="bg2"/>
          </a:solidFill>
          <a:ln w="12700">
            <a:noFill/>
            <a:round/>
            <a:headEnd/>
            <a:tailEnd/>
          </a:ln>
          <a:effectLst/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117AACD6-6048-4C70-AC0B-7173EF1D148F}"/>
              </a:ext>
            </a:extLst>
          </p:cNvPr>
          <p:cNvSpPr/>
          <p:nvPr/>
        </p:nvSpPr>
        <p:spPr bwMode="auto">
          <a:xfrm>
            <a:off x="890642" y="2239984"/>
            <a:ext cx="133469" cy="13670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5ACA11BB-F8A6-454D-8033-0183FBE59E7A}"/>
              </a:ext>
            </a:extLst>
          </p:cNvPr>
          <p:cNvSpPr/>
          <p:nvPr/>
        </p:nvSpPr>
        <p:spPr bwMode="auto">
          <a:xfrm>
            <a:off x="1022647" y="2239984"/>
            <a:ext cx="133469" cy="136709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0D8B5D75-1F0C-4899-9FD0-F60E51151588}"/>
              </a:ext>
            </a:extLst>
          </p:cNvPr>
          <p:cNvSpPr/>
          <p:nvPr/>
        </p:nvSpPr>
        <p:spPr bwMode="auto">
          <a:xfrm>
            <a:off x="1152898" y="2185562"/>
            <a:ext cx="133469" cy="19113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39EAF60A-02B7-46DC-9DDD-05C725F070E0}"/>
              </a:ext>
            </a:extLst>
          </p:cNvPr>
          <p:cNvSpPr/>
          <p:nvPr/>
        </p:nvSpPr>
        <p:spPr bwMode="auto">
          <a:xfrm>
            <a:off x="1285094" y="2185562"/>
            <a:ext cx="133469" cy="191131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B259038E-4841-4D12-A5BD-C3BAA96BB548}"/>
              </a:ext>
            </a:extLst>
          </p:cNvPr>
          <p:cNvSpPr/>
          <p:nvPr/>
        </p:nvSpPr>
        <p:spPr bwMode="auto">
          <a:xfrm>
            <a:off x="1415188" y="2185562"/>
            <a:ext cx="133469" cy="19113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D4D819DB-5621-4F4B-A70A-80D1CAE96013}"/>
              </a:ext>
            </a:extLst>
          </p:cNvPr>
          <p:cNvSpPr/>
          <p:nvPr/>
        </p:nvSpPr>
        <p:spPr bwMode="auto">
          <a:xfrm>
            <a:off x="1543527" y="2185562"/>
            <a:ext cx="133469" cy="191131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C3E6105C-AD08-4B6B-B221-C8C504D176F5}"/>
              </a:ext>
            </a:extLst>
          </p:cNvPr>
          <p:cNvSpPr/>
          <p:nvPr/>
        </p:nvSpPr>
        <p:spPr bwMode="auto">
          <a:xfrm>
            <a:off x="1670940" y="2185562"/>
            <a:ext cx="133469" cy="19113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30A77810-2474-45D1-AC6E-4447E5337BAE}"/>
              </a:ext>
            </a:extLst>
          </p:cNvPr>
          <p:cNvSpPr/>
          <p:nvPr/>
        </p:nvSpPr>
        <p:spPr bwMode="auto">
          <a:xfrm>
            <a:off x="1797212" y="2185562"/>
            <a:ext cx="133469" cy="191131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A2CC5D64-4152-4ADD-927A-A5016D6A5C6C}"/>
              </a:ext>
            </a:extLst>
          </p:cNvPr>
          <p:cNvSpPr/>
          <p:nvPr/>
        </p:nvSpPr>
        <p:spPr bwMode="auto">
          <a:xfrm>
            <a:off x="1927462" y="2185562"/>
            <a:ext cx="133469" cy="19113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B5959059-3E4C-4191-91A9-AA3720F264B2}"/>
              </a:ext>
            </a:extLst>
          </p:cNvPr>
          <p:cNvSpPr/>
          <p:nvPr/>
        </p:nvSpPr>
        <p:spPr bwMode="auto">
          <a:xfrm>
            <a:off x="2058413" y="2185562"/>
            <a:ext cx="133469" cy="191131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1B2212ED-3FDB-42F7-BF90-6596465B69F4}"/>
              </a:ext>
            </a:extLst>
          </p:cNvPr>
          <p:cNvSpPr/>
          <p:nvPr/>
        </p:nvSpPr>
        <p:spPr bwMode="auto">
          <a:xfrm>
            <a:off x="2182774" y="2185562"/>
            <a:ext cx="133469" cy="19113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E900DA56-FFE8-4874-AB98-457AD1D495FA}"/>
              </a:ext>
            </a:extLst>
          </p:cNvPr>
          <p:cNvSpPr/>
          <p:nvPr/>
        </p:nvSpPr>
        <p:spPr bwMode="auto">
          <a:xfrm>
            <a:off x="2314935" y="2185562"/>
            <a:ext cx="133469" cy="191131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F3974B65-3898-41BB-9FEC-943688EBC237}"/>
              </a:ext>
            </a:extLst>
          </p:cNvPr>
          <p:cNvSpPr/>
          <p:nvPr/>
        </p:nvSpPr>
        <p:spPr bwMode="auto">
          <a:xfrm>
            <a:off x="2444997" y="2185562"/>
            <a:ext cx="133469" cy="19113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F5E64892-5756-4E10-8C4C-32C290BE5471}"/>
              </a:ext>
            </a:extLst>
          </p:cNvPr>
          <p:cNvSpPr/>
          <p:nvPr/>
        </p:nvSpPr>
        <p:spPr bwMode="auto">
          <a:xfrm>
            <a:off x="2573180" y="2185562"/>
            <a:ext cx="133469" cy="191131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3BC64D42-B568-469F-8B11-46A81BF7144A}"/>
              </a:ext>
            </a:extLst>
          </p:cNvPr>
          <p:cNvSpPr/>
          <p:nvPr/>
        </p:nvSpPr>
        <p:spPr bwMode="auto">
          <a:xfrm>
            <a:off x="2703430" y="2185562"/>
            <a:ext cx="133469" cy="19113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1331AA56-5200-432B-9BD2-75DEDB339D83}"/>
              </a:ext>
            </a:extLst>
          </p:cNvPr>
          <p:cNvSpPr/>
          <p:nvPr/>
        </p:nvSpPr>
        <p:spPr bwMode="auto">
          <a:xfrm>
            <a:off x="2834987" y="2185562"/>
            <a:ext cx="133469" cy="191131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9A51734A-4264-4695-ABD7-47D2C31EB44B}"/>
              </a:ext>
            </a:extLst>
          </p:cNvPr>
          <p:cNvSpPr/>
          <p:nvPr/>
        </p:nvSpPr>
        <p:spPr bwMode="auto">
          <a:xfrm>
            <a:off x="2963171" y="2185562"/>
            <a:ext cx="133469" cy="19113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D25D7B52-2594-4A8C-AEB7-E9752BB3BEFE}"/>
              </a:ext>
            </a:extLst>
          </p:cNvPr>
          <p:cNvSpPr/>
          <p:nvPr/>
        </p:nvSpPr>
        <p:spPr bwMode="auto">
          <a:xfrm>
            <a:off x="3093421" y="2185562"/>
            <a:ext cx="133469" cy="191131"/>
          </a:xfrm>
          <a:prstGeom prst="roundRect">
            <a:avLst/>
          </a:prstGeom>
          <a:solidFill>
            <a:srgbClr val="383558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5B3B1DEF-FA21-469A-BB6A-7E6257D7090D}"/>
              </a:ext>
            </a:extLst>
          </p:cNvPr>
          <p:cNvSpPr/>
          <p:nvPr/>
        </p:nvSpPr>
        <p:spPr bwMode="auto">
          <a:xfrm>
            <a:off x="3220955" y="2239984"/>
            <a:ext cx="134722" cy="13670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628F1E0-6D9A-4298-AE65-EC4089FB0953}"/>
              </a:ext>
            </a:extLst>
          </p:cNvPr>
          <p:cNvSpPr/>
          <p:nvPr/>
        </p:nvSpPr>
        <p:spPr bwMode="auto">
          <a:xfrm>
            <a:off x="944174" y="1815673"/>
            <a:ext cx="2359354" cy="64984"/>
          </a:xfrm>
          <a:prstGeom prst="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699C847-50E8-4FA3-B887-CBBC66E26073}"/>
              </a:ext>
            </a:extLst>
          </p:cNvPr>
          <p:cNvGrpSpPr/>
          <p:nvPr/>
        </p:nvGrpSpPr>
        <p:grpSpPr>
          <a:xfrm>
            <a:off x="918895" y="1771473"/>
            <a:ext cx="2408861" cy="583858"/>
            <a:chOff x="719993" y="1535608"/>
            <a:chExt cx="3001136" cy="727413"/>
          </a:xfrm>
          <a:scene3d>
            <a:camera prst="perspectiveRelaxed"/>
            <a:lightRig rig="threePt" dir="t"/>
          </a:scene3d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BE6CF2A-9DA2-43C8-9A84-1D8FC6E200D6}"/>
                </a:ext>
              </a:extLst>
            </p:cNvPr>
            <p:cNvSpPr/>
            <p:nvPr/>
          </p:nvSpPr>
          <p:spPr bwMode="auto">
            <a:xfrm>
              <a:off x="719993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366B13B-2F83-4D57-A77C-9E245397B3E2}"/>
                </a:ext>
              </a:extLst>
            </p:cNvPr>
            <p:cNvSpPr/>
            <p:nvPr/>
          </p:nvSpPr>
          <p:spPr bwMode="auto">
            <a:xfrm>
              <a:off x="878792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9EB9A7A-8D80-4D2F-9CD0-036EAA0F9300}"/>
                </a:ext>
              </a:extLst>
            </p:cNvPr>
            <p:cNvSpPr/>
            <p:nvPr/>
          </p:nvSpPr>
          <p:spPr bwMode="auto">
            <a:xfrm>
              <a:off x="1037590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093DD8A-71AC-48CE-A69C-03C2E1A011FC}"/>
                </a:ext>
              </a:extLst>
            </p:cNvPr>
            <p:cNvSpPr/>
            <p:nvPr/>
          </p:nvSpPr>
          <p:spPr bwMode="auto">
            <a:xfrm>
              <a:off x="1197382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84EE9B5-5F64-4704-BB28-C95B2FB80FAA}"/>
                </a:ext>
              </a:extLst>
            </p:cNvPr>
            <p:cNvSpPr/>
            <p:nvPr/>
          </p:nvSpPr>
          <p:spPr bwMode="auto">
            <a:xfrm>
              <a:off x="1356180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9EE8606-4E50-466A-B262-D0761EA8C072}"/>
                </a:ext>
              </a:extLst>
            </p:cNvPr>
            <p:cNvSpPr/>
            <p:nvPr/>
          </p:nvSpPr>
          <p:spPr bwMode="auto">
            <a:xfrm>
              <a:off x="1512598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766501D3-5A76-41EB-BF46-DE1C117E2323}"/>
                </a:ext>
              </a:extLst>
            </p:cNvPr>
            <p:cNvSpPr/>
            <p:nvPr/>
          </p:nvSpPr>
          <p:spPr bwMode="auto">
            <a:xfrm>
              <a:off x="1669015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4BAA530-E19C-4EF7-A854-75271D5FEFB3}"/>
                </a:ext>
              </a:extLst>
            </p:cNvPr>
            <p:cNvSpPr/>
            <p:nvPr/>
          </p:nvSpPr>
          <p:spPr bwMode="auto">
            <a:xfrm>
              <a:off x="1822812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B0D609A3-4A3A-440D-8D46-392B0BADFB09}"/>
                </a:ext>
              </a:extLst>
            </p:cNvPr>
            <p:cNvSpPr/>
            <p:nvPr/>
          </p:nvSpPr>
          <p:spPr bwMode="auto">
            <a:xfrm>
              <a:off x="1981721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68221DB-721F-4063-84E1-99F4039DF340}"/>
                </a:ext>
              </a:extLst>
            </p:cNvPr>
            <p:cNvSpPr/>
            <p:nvPr/>
          </p:nvSpPr>
          <p:spPr bwMode="auto">
            <a:xfrm>
              <a:off x="2141712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EBCF9D1-72E8-42CE-A015-9A3D1D18A1B7}"/>
                </a:ext>
              </a:extLst>
            </p:cNvPr>
            <p:cNvSpPr/>
            <p:nvPr/>
          </p:nvSpPr>
          <p:spPr bwMode="auto">
            <a:xfrm>
              <a:off x="2294964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6DFA01B-097F-47A1-B497-88DF7B19B6C1}"/>
                </a:ext>
              </a:extLst>
            </p:cNvPr>
            <p:cNvSpPr/>
            <p:nvPr/>
          </p:nvSpPr>
          <p:spPr bwMode="auto">
            <a:xfrm>
              <a:off x="2454000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AA50C26-5E5D-48EB-B5CF-C2E068993042}"/>
                </a:ext>
              </a:extLst>
            </p:cNvPr>
            <p:cNvSpPr/>
            <p:nvPr/>
          </p:nvSpPr>
          <p:spPr bwMode="auto">
            <a:xfrm>
              <a:off x="2613591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4FC5DA6-A389-46EB-9D18-53F4267279E4}"/>
                </a:ext>
              </a:extLst>
            </p:cNvPr>
            <p:cNvSpPr/>
            <p:nvPr/>
          </p:nvSpPr>
          <p:spPr bwMode="auto">
            <a:xfrm>
              <a:off x="2769683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D0CC972-0CA8-4E60-823E-BED6CC1C9E6B}"/>
                </a:ext>
              </a:extLst>
            </p:cNvPr>
            <p:cNvSpPr/>
            <p:nvPr/>
          </p:nvSpPr>
          <p:spPr bwMode="auto">
            <a:xfrm>
              <a:off x="2929041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41425883-BA99-4FAD-8150-9DEFD89D85B1}"/>
                </a:ext>
              </a:extLst>
            </p:cNvPr>
            <p:cNvSpPr/>
            <p:nvPr/>
          </p:nvSpPr>
          <p:spPr bwMode="auto">
            <a:xfrm>
              <a:off x="3088636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45DBE62-F6FB-4032-98B1-F9E6B372C700}"/>
                </a:ext>
              </a:extLst>
            </p:cNvPr>
            <p:cNvSpPr/>
            <p:nvPr/>
          </p:nvSpPr>
          <p:spPr bwMode="auto">
            <a:xfrm>
              <a:off x="3244324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A2AD5AC-7340-47B7-AC4C-F838A1989D28}"/>
                </a:ext>
              </a:extLst>
            </p:cNvPr>
            <p:cNvSpPr/>
            <p:nvPr/>
          </p:nvSpPr>
          <p:spPr bwMode="auto">
            <a:xfrm>
              <a:off x="3403214" y="1535608"/>
              <a:ext cx="159036" cy="727413"/>
            </a:xfrm>
            <a:prstGeom prst="rect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154B959-56F5-4327-A129-9F3681FBA0EA}"/>
                </a:ext>
              </a:extLst>
            </p:cNvPr>
            <p:cNvSpPr/>
            <p:nvPr/>
          </p:nvSpPr>
          <p:spPr bwMode="auto">
            <a:xfrm>
              <a:off x="3562093" y="1535608"/>
              <a:ext cx="159036" cy="727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F213D45-EBD6-4620-B7E6-C2D1AADEFDED}"/>
              </a:ext>
            </a:extLst>
          </p:cNvPr>
          <p:cNvSpPr/>
          <p:nvPr/>
        </p:nvSpPr>
        <p:spPr bwMode="auto">
          <a:xfrm>
            <a:off x="1022647" y="2442582"/>
            <a:ext cx="1169234" cy="672781"/>
          </a:xfrm>
          <a:prstGeom prst="roundRect">
            <a:avLst>
              <a:gd name="adj" fmla="val 5303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18649F4A-6A0F-4DD5-B9E2-FC33200D3540}"/>
              </a:ext>
            </a:extLst>
          </p:cNvPr>
          <p:cNvSpPr/>
          <p:nvPr/>
        </p:nvSpPr>
        <p:spPr bwMode="auto">
          <a:xfrm rot="5400000">
            <a:off x="2507546" y="2526270"/>
            <a:ext cx="677395" cy="500793"/>
          </a:xfrm>
          <a:prstGeom prst="roundRect">
            <a:avLst>
              <a:gd name="adj" fmla="val 5303"/>
            </a:avLst>
          </a:prstGeom>
          <a:solidFill>
            <a:schemeClr val="tx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3F600DC4-6331-4731-B5E4-3C720B21A44C}"/>
              </a:ext>
            </a:extLst>
          </p:cNvPr>
          <p:cNvSpPr/>
          <p:nvPr/>
        </p:nvSpPr>
        <p:spPr bwMode="auto">
          <a:xfrm rot="5400000">
            <a:off x="2742579" y="2524184"/>
            <a:ext cx="207328" cy="279548"/>
          </a:xfrm>
          <a:prstGeom prst="roundRect">
            <a:avLst>
              <a:gd name="adj" fmla="val 5303"/>
            </a:avLst>
          </a:prstGeom>
          <a:solidFill>
            <a:schemeClr val="bg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EF4A467-4CE2-4BD1-80AE-0D128EF874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12791" y="2543107"/>
            <a:ext cx="471732" cy="471732"/>
          </a:xfrm>
          <a:prstGeom prst="rect">
            <a:avLst/>
          </a:prstGeom>
        </p:spPr>
      </p:pic>
      <p:sp>
        <p:nvSpPr>
          <p:cNvPr id="98" name="Trapezoid 97">
            <a:extLst>
              <a:ext uri="{FF2B5EF4-FFF2-40B4-BE49-F238E27FC236}">
                <a16:creationId xmlns:a16="http://schemas.microsoft.com/office/drawing/2014/main" id="{88BDDA9D-FBF5-4551-9D3D-3785062CC728}"/>
              </a:ext>
            </a:extLst>
          </p:cNvPr>
          <p:cNvSpPr/>
          <p:nvPr/>
        </p:nvSpPr>
        <p:spPr bwMode="auto">
          <a:xfrm rot="10800000">
            <a:off x="6515390" y="3148787"/>
            <a:ext cx="2532021" cy="35383"/>
          </a:xfrm>
          <a:prstGeom prst="trapezoid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38180C7-E01B-4A3D-B1D4-D3488BE87E51}"/>
              </a:ext>
            </a:extLst>
          </p:cNvPr>
          <p:cNvSpPr/>
          <p:nvPr/>
        </p:nvSpPr>
        <p:spPr bwMode="auto">
          <a:xfrm>
            <a:off x="6768295" y="1796102"/>
            <a:ext cx="2026212" cy="1352684"/>
          </a:xfrm>
          <a:prstGeom prst="roundRect">
            <a:avLst>
              <a:gd name="adj" fmla="val 6156"/>
            </a:avLst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FB4B1E0D-7651-4ED1-A598-03643FF74339}"/>
              </a:ext>
            </a:extLst>
          </p:cNvPr>
          <p:cNvSpPr/>
          <p:nvPr/>
        </p:nvSpPr>
        <p:spPr bwMode="auto">
          <a:xfrm>
            <a:off x="6872779" y="1893545"/>
            <a:ext cx="1812458" cy="1104125"/>
          </a:xfrm>
          <a:prstGeom prst="roundRect">
            <a:avLst>
              <a:gd name="adj" fmla="val 6156"/>
            </a:avLst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7" name="Trapezoid 96">
            <a:extLst>
              <a:ext uri="{FF2B5EF4-FFF2-40B4-BE49-F238E27FC236}">
                <a16:creationId xmlns:a16="http://schemas.microsoft.com/office/drawing/2014/main" id="{3C800A75-A13D-4313-A510-0EE94BFDC14D}"/>
              </a:ext>
            </a:extLst>
          </p:cNvPr>
          <p:cNvSpPr/>
          <p:nvPr/>
        </p:nvSpPr>
        <p:spPr bwMode="auto">
          <a:xfrm rot="10800000">
            <a:off x="6493829" y="3060493"/>
            <a:ext cx="2575145" cy="93374"/>
          </a:xfrm>
          <a:prstGeom prst="trapezoid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ABB3BD37-D353-4FBA-867F-2797526B6E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79133" y="2102401"/>
            <a:ext cx="734425" cy="734425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805A7DD9-6CDE-4FE3-B3B9-1F4EB98886EE}"/>
              </a:ext>
            </a:extLst>
          </p:cNvPr>
          <p:cNvSpPr/>
          <p:nvPr/>
        </p:nvSpPr>
        <p:spPr>
          <a:xfrm>
            <a:off x="768890" y="4001336"/>
            <a:ext cx="270853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ummu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roesi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ivitii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bscuratur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pars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st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amen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ivitiaru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quide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tia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picuru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in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hysici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quide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emocriteu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uto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Tanta vis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dmonitioni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nest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ci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;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Quodsi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psa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honestate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ndique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ertecta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tque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bsoluta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endParaRPr lang="en-GB" sz="1000" dirty="0"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173AE01D-5C09-4E3F-A76E-AF96EE72E835}"/>
              </a:ext>
            </a:extLst>
          </p:cNvPr>
          <p:cNvSpPr txBox="1"/>
          <p:nvPr/>
        </p:nvSpPr>
        <p:spPr>
          <a:xfrm>
            <a:off x="1329262" y="3602408"/>
            <a:ext cx="1587795" cy="3530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a-DK" sz="1600" b="1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ption 1</a:t>
            </a:r>
            <a:endParaRPr lang="en-GB" sz="1600" b="1" dirty="0">
              <a:solidFill>
                <a:schemeClr val="accent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A72214E-4EB1-4864-92B8-C5AD562F2028}"/>
              </a:ext>
            </a:extLst>
          </p:cNvPr>
          <p:cNvSpPr/>
          <p:nvPr/>
        </p:nvSpPr>
        <p:spPr>
          <a:xfrm>
            <a:off x="6443829" y="4000569"/>
            <a:ext cx="270853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lor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sit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ummu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roesi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ivitii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bscuratur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pars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st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amen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ivitiaru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quide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tia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picuru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in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hysici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quide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emocriteu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uto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Tanta vis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dmonitioni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nest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in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cis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;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Quodsi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psa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honestate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undique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ertecta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tque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bsolutam</a:t>
            </a:r>
            <a:r>
              <a:rPr lang="en-GB" sz="100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endParaRPr lang="en-GB" sz="1000" dirty="0"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4B82B66B-BBF6-4996-AC1A-1846E367386B}"/>
              </a:ext>
            </a:extLst>
          </p:cNvPr>
          <p:cNvSpPr txBox="1"/>
          <p:nvPr/>
        </p:nvSpPr>
        <p:spPr>
          <a:xfrm>
            <a:off x="7004201" y="3601641"/>
            <a:ext cx="1587795" cy="3530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a-DK" sz="1600" b="1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ption 2</a:t>
            </a:r>
            <a:endParaRPr lang="en-GB" sz="1600" b="1" dirty="0">
              <a:solidFill>
                <a:schemeClr val="accent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7698BE0-DA16-4119-A4EB-E7F3D7767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VR shopping </a:t>
            </a:r>
            <a:endParaRPr lang="da-DK" dirty="0"/>
          </a:p>
        </p:txBody>
      </p:sp>
      <p:sp>
        <p:nvSpPr>
          <p:cNvPr id="100" name="Text Placeholder 32">
            <a:extLst>
              <a:ext uri="{FF2B5EF4-FFF2-40B4-BE49-F238E27FC236}">
                <a16:creationId xmlns:a16="http://schemas.microsoft.com/office/drawing/2014/main" id="{0F1B3682-55FC-4850-A1EE-774209AA899B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14016553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864FC0D3-4C2C-48E2-8053-732F7DAA49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864FC0D3-4C2C-48E2-8053-732F7DAA4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Rectangle 57">
            <a:extLst>
              <a:ext uri="{FF2B5EF4-FFF2-40B4-BE49-F238E27FC236}">
                <a16:creationId xmlns:a16="http://schemas.microsoft.com/office/drawing/2014/main" id="{40184936-E8B0-4333-BA21-A6C42DB71DBE}"/>
              </a:ext>
            </a:extLst>
          </p:cNvPr>
          <p:cNvSpPr/>
          <p:nvPr/>
        </p:nvSpPr>
        <p:spPr bwMode="auto">
          <a:xfrm>
            <a:off x="0" y="4911412"/>
            <a:ext cx="9905999" cy="39575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FCBFB46-FA4C-4B4A-B9F0-142FE432EFAE}"/>
              </a:ext>
            </a:extLst>
          </p:cNvPr>
          <p:cNvGrpSpPr/>
          <p:nvPr/>
        </p:nvGrpSpPr>
        <p:grpSpPr>
          <a:xfrm>
            <a:off x="7966382" y="4775439"/>
            <a:ext cx="636676" cy="636676"/>
            <a:chOff x="5128355" y="4775439"/>
            <a:chExt cx="636676" cy="636676"/>
          </a:xfrm>
          <a:solidFill>
            <a:schemeClr val="tx2"/>
          </a:solidFill>
        </p:grpSpPr>
        <p:pic>
          <p:nvPicPr>
            <p:cNvPr id="51" name="Graphic 50" descr="Unlock">
              <a:extLst>
                <a:ext uri="{FF2B5EF4-FFF2-40B4-BE49-F238E27FC236}">
                  <a16:creationId xmlns:a16="http://schemas.microsoft.com/office/drawing/2014/main" id="{B1019DCB-17DB-4469-BA73-D684C083E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230693" y="4877777"/>
              <a:ext cx="432000" cy="432000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B8016EF0-33A0-4789-B26A-56D7A47BE3D2}"/>
                </a:ext>
              </a:extLst>
            </p:cNvPr>
            <p:cNvSpPr/>
            <p:nvPr/>
          </p:nvSpPr>
          <p:spPr bwMode="auto">
            <a:xfrm>
              <a:off x="5128355" y="4775439"/>
              <a:ext cx="636676" cy="636676"/>
            </a:xfrm>
            <a:prstGeom prst="ellipse">
              <a:avLst/>
            </a:prstGeom>
            <a:grpFill/>
            <a:ln w="28575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9FF1169-BA2B-4DB4-9558-FDCDE07C60A4}"/>
              </a:ext>
            </a:extLst>
          </p:cNvPr>
          <p:cNvGrpSpPr/>
          <p:nvPr/>
        </p:nvGrpSpPr>
        <p:grpSpPr>
          <a:xfrm>
            <a:off x="4634662" y="4775439"/>
            <a:ext cx="636676" cy="636676"/>
            <a:chOff x="3964890" y="4775439"/>
            <a:chExt cx="636676" cy="636676"/>
          </a:xfrm>
          <a:solidFill>
            <a:schemeClr val="tx2"/>
          </a:solidFill>
        </p:grpSpPr>
        <p:pic>
          <p:nvPicPr>
            <p:cNvPr id="47" name="Graphic 46" descr="Map compass">
              <a:extLst>
                <a:ext uri="{FF2B5EF4-FFF2-40B4-BE49-F238E27FC236}">
                  <a16:creationId xmlns:a16="http://schemas.microsoft.com/office/drawing/2014/main" id="{580A97A9-EC50-4973-9E94-853F599BDB6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067228" y="4877777"/>
              <a:ext cx="432000" cy="432000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E8957842-F4B3-46C9-B388-A233ABBBE6CB}"/>
                </a:ext>
              </a:extLst>
            </p:cNvPr>
            <p:cNvSpPr/>
            <p:nvPr/>
          </p:nvSpPr>
          <p:spPr bwMode="auto">
            <a:xfrm>
              <a:off x="3964890" y="4775439"/>
              <a:ext cx="636676" cy="636676"/>
            </a:xfrm>
            <a:prstGeom prst="ellipse">
              <a:avLst/>
            </a:prstGeom>
            <a:grpFill/>
            <a:ln w="28575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E26FA8F9-825E-4FB5-BD5C-803013ACB898}"/>
              </a:ext>
            </a:extLst>
          </p:cNvPr>
          <p:cNvSpPr/>
          <p:nvPr/>
        </p:nvSpPr>
        <p:spPr bwMode="auto">
          <a:xfrm>
            <a:off x="1302942" y="4775439"/>
            <a:ext cx="636676" cy="636676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78A9729-1881-4786-9A4C-74E364F4E35D}"/>
              </a:ext>
            </a:extLst>
          </p:cNvPr>
          <p:cNvSpPr txBox="1"/>
          <p:nvPr/>
        </p:nvSpPr>
        <p:spPr>
          <a:xfrm>
            <a:off x="317631" y="1515143"/>
            <a:ext cx="89111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IN" b="1" dirty="0"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Lorem Ipsum is simply dummy text</a:t>
            </a:r>
            <a:endParaRPr lang="en-US" b="1" dirty="0">
              <a:latin typeface="+mj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45" name="Graphic 44" descr="Puzzle">
            <a:extLst>
              <a:ext uri="{FF2B5EF4-FFF2-40B4-BE49-F238E27FC236}">
                <a16:creationId xmlns:a16="http://schemas.microsoft.com/office/drawing/2014/main" id="{90570B5B-B542-49C1-930E-FCE1086C604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77685" y="4905021"/>
            <a:ext cx="432000" cy="432000"/>
          </a:xfrm>
          <a:prstGeom prst="rect">
            <a:avLst/>
          </a:prstGeom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0055A6-4596-4B6F-B7B2-3291D24C8E08}"/>
              </a:ext>
            </a:extLst>
          </p:cNvPr>
          <p:cNvSpPr/>
          <p:nvPr/>
        </p:nvSpPr>
        <p:spPr bwMode="auto">
          <a:xfrm>
            <a:off x="8049783" y="3382752"/>
            <a:ext cx="1265395" cy="1017769"/>
          </a:xfrm>
          <a:custGeom>
            <a:avLst/>
            <a:gdLst>
              <a:gd name="connsiteX0" fmla="*/ 571500 w 2241550"/>
              <a:gd name="connsiteY0" fmla="*/ 0 h 1778000"/>
              <a:gd name="connsiteX1" fmla="*/ 2241550 w 2241550"/>
              <a:gd name="connsiteY1" fmla="*/ 457200 h 1778000"/>
              <a:gd name="connsiteX2" fmla="*/ 2095500 w 2241550"/>
              <a:gd name="connsiteY2" fmla="*/ 806450 h 1778000"/>
              <a:gd name="connsiteX3" fmla="*/ 1993900 w 2241550"/>
              <a:gd name="connsiteY3" fmla="*/ 1276350 h 1778000"/>
              <a:gd name="connsiteX4" fmla="*/ 1943100 w 2241550"/>
              <a:gd name="connsiteY4" fmla="*/ 1752600 h 1778000"/>
              <a:gd name="connsiteX5" fmla="*/ 0 w 2241550"/>
              <a:gd name="connsiteY5" fmla="*/ 1778000 h 1778000"/>
              <a:gd name="connsiteX6" fmla="*/ 838200 w 2241550"/>
              <a:gd name="connsiteY6" fmla="*/ 819150 h 1778000"/>
              <a:gd name="connsiteX7" fmla="*/ 622300 w 2241550"/>
              <a:gd name="connsiteY7" fmla="*/ 711200 h 1778000"/>
              <a:gd name="connsiteX8" fmla="*/ 812800 w 2241550"/>
              <a:gd name="connsiteY8" fmla="*/ 533400 h 1778000"/>
              <a:gd name="connsiteX9" fmla="*/ 571500 w 2241550"/>
              <a:gd name="connsiteY9" fmla="*/ 0 h 1778000"/>
              <a:gd name="connsiteX0" fmla="*/ 559594 w 2241550"/>
              <a:gd name="connsiteY0" fmla="*/ 0 h 1778000"/>
              <a:gd name="connsiteX1" fmla="*/ 2241550 w 2241550"/>
              <a:gd name="connsiteY1" fmla="*/ 457200 h 1778000"/>
              <a:gd name="connsiteX2" fmla="*/ 2095500 w 2241550"/>
              <a:gd name="connsiteY2" fmla="*/ 806450 h 1778000"/>
              <a:gd name="connsiteX3" fmla="*/ 1993900 w 2241550"/>
              <a:gd name="connsiteY3" fmla="*/ 1276350 h 1778000"/>
              <a:gd name="connsiteX4" fmla="*/ 1943100 w 2241550"/>
              <a:gd name="connsiteY4" fmla="*/ 1752600 h 1778000"/>
              <a:gd name="connsiteX5" fmla="*/ 0 w 2241550"/>
              <a:gd name="connsiteY5" fmla="*/ 1778000 h 1778000"/>
              <a:gd name="connsiteX6" fmla="*/ 838200 w 2241550"/>
              <a:gd name="connsiteY6" fmla="*/ 819150 h 1778000"/>
              <a:gd name="connsiteX7" fmla="*/ 622300 w 2241550"/>
              <a:gd name="connsiteY7" fmla="*/ 711200 h 1778000"/>
              <a:gd name="connsiteX8" fmla="*/ 812800 w 2241550"/>
              <a:gd name="connsiteY8" fmla="*/ 533400 h 1778000"/>
              <a:gd name="connsiteX9" fmla="*/ 559594 w 2241550"/>
              <a:gd name="connsiteY9" fmla="*/ 0 h 1778000"/>
              <a:gd name="connsiteX0" fmla="*/ 559594 w 2241550"/>
              <a:gd name="connsiteY0" fmla="*/ 0 h 1778000"/>
              <a:gd name="connsiteX1" fmla="*/ 2241550 w 2241550"/>
              <a:gd name="connsiteY1" fmla="*/ 457200 h 1778000"/>
              <a:gd name="connsiteX2" fmla="*/ 2095500 w 2241550"/>
              <a:gd name="connsiteY2" fmla="*/ 806450 h 1778000"/>
              <a:gd name="connsiteX3" fmla="*/ 1993900 w 2241550"/>
              <a:gd name="connsiteY3" fmla="*/ 1276350 h 1778000"/>
              <a:gd name="connsiteX4" fmla="*/ 1943100 w 2241550"/>
              <a:gd name="connsiteY4" fmla="*/ 1752600 h 1778000"/>
              <a:gd name="connsiteX5" fmla="*/ 0 w 2241550"/>
              <a:gd name="connsiteY5" fmla="*/ 1778000 h 1778000"/>
              <a:gd name="connsiteX6" fmla="*/ 838200 w 2241550"/>
              <a:gd name="connsiteY6" fmla="*/ 819150 h 1778000"/>
              <a:gd name="connsiteX7" fmla="*/ 622300 w 2241550"/>
              <a:gd name="connsiteY7" fmla="*/ 711200 h 1778000"/>
              <a:gd name="connsiteX8" fmla="*/ 808037 w 2241550"/>
              <a:gd name="connsiteY8" fmla="*/ 540544 h 1778000"/>
              <a:gd name="connsiteX9" fmla="*/ 559594 w 2241550"/>
              <a:gd name="connsiteY9" fmla="*/ 0 h 1778000"/>
              <a:gd name="connsiteX0" fmla="*/ 559594 w 2241550"/>
              <a:gd name="connsiteY0" fmla="*/ 0 h 1778000"/>
              <a:gd name="connsiteX1" fmla="*/ 2241550 w 2241550"/>
              <a:gd name="connsiteY1" fmla="*/ 457200 h 1778000"/>
              <a:gd name="connsiteX2" fmla="*/ 2095500 w 2241550"/>
              <a:gd name="connsiteY2" fmla="*/ 806450 h 1778000"/>
              <a:gd name="connsiteX3" fmla="*/ 1993900 w 2241550"/>
              <a:gd name="connsiteY3" fmla="*/ 1276350 h 1778000"/>
              <a:gd name="connsiteX4" fmla="*/ 1943100 w 2241550"/>
              <a:gd name="connsiteY4" fmla="*/ 1752600 h 1778000"/>
              <a:gd name="connsiteX5" fmla="*/ 0 w 2241550"/>
              <a:gd name="connsiteY5" fmla="*/ 1778000 h 1778000"/>
              <a:gd name="connsiteX6" fmla="*/ 838200 w 2241550"/>
              <a:gd name="connsiteY6" fmla="*/ 819150 h 1778000"/>
              <a:gd name="connsiteX7" fmla="*/ 605631 w 2241550"/>
              <a:gd name="connsiteY7" fmla="*/ 708819 h 1778000"/>
              <a:gd name="connsiteX8" fmla="*/ 808037 w 2241550"/>
              <a:gd name="connsiteY8" fmla="*/ 540544 h 1778000"/>
              <a:gd name="connsiteX9" fmla="*/ 559594 w 2241550"/>
              <a:gd name="connsiteY9" fmla="*/ 0 h 1778000"/>
              <a:gd name="connsiteX0" fmla="*/ 559594 w 2241550"/>
              <a:gd name="connsiteY0" fmla="*/ 0 h 1778000"/>
              <a:gd name="connsiteX1" fmla="*/ 2241550 w 2241550"/>
              <a:gd name="connsiteY1" fmla="*/ 457200 h 1778000"/>
              <a:gd name="connsiteX2" fmla="*/ 2095500 w 2241550"/>
              <a:gd name="connsiteY2" fmla="*/ 806450 h 1778000"/>
              <a:gd name="connsiteX3" fmla="*/ 1993900 w 2241550"/>
              <a:gd name="connsiteY3" fmla="*/ 1276350 h 1778000"/>
              <a:gd name="connsiteX4" fmla="*/ 1943100 w 2241550"/>
              <a:gd name="connsiteY4" fmla="*/ 1752600 h 1778000"/>
              <a:gd name="connsiteX5" fmla="*/ 0 w 2241550"/>
              <a:gd name="connsiteY5" fmla="*/ 1778000 h 1778000"/>
              <a:gd name="connsiteX6" fmla="*/ 823912 w 2241550"/>
              <a:gd name="connsiteY6" fmla="*/ 833437 h 1778000"/>
              <a:gd name="connsiteX7" fmla="*/ 605631 w 2241550"/>
              <a:gd name="connsiteY7" fmla="*/ 708819 h 1778000"/>
              <a:gd name="connsiteX8" fmla="*/ 808037 w 2241550"/>
              <a:gd name="connsiteY8" fmla="*/ 540544 h 1778000"/>
              <a:gd name="connsiteX9" fmla="*/ 559594 w 2241550"/>
              <a:gd name="connsiteY9" fmla="*/ 0 h 1778000"/>
              <a:gd name="connsiteX0" fmla="*/ 559594 w 2241550"/>
              <a:gd name="connsiteY0" fmla="*/ 0 h 1778000"/>
              <a:gd name="connsiteX1" fmla="*/ 2241550 w 2241550"/>
              <a:gd name="connsiteY1" fmla="*/ 457200 h 1778000"/>
              <a:gd name="connsiteX2" fmla="*/ 2095500 w 2241550"/>
              <a:gd name="connsiteY2" fmla="*/ 806450 h 1778000"/>
              <a:gd name="connsiteX3" fmla="*/ 1993900 w 2241550"/>
              <a:gd name="connsiteY3" fmla="*/ 1276350 h 1778000"/>
              <a:gd name="connsiteX4" fmla="*/ 1966912 w 2241550"/>
              <a:gd name="connsiteY4" fmla="*/ 1771650 h 1778000"/>
              <a:gd name="connsiteX5" fmla="*/ 0 w 2241550"/>
              <a:gd name="connsiteY5" fmla="*/ 1778000 h 1778000"/>
              <a:gd name="connsiteX6" fmla="*/ 823912 w 2241550"/>
              <a:gd name="connsiteY6" fmla="*/ 833437 h 1778000"/>
              <a:gd name="connsiteX7" fmla="*/ 605631 w 2241550"/>
              <a:gd name="connsiteY7" fmla="*/ 708819 h 1778000"/>
              <a:gd name="connsiteX8" fmla="*/ 808037 w 2241550"/>
              <a:gd name="connsiteY8" fmla="*/ 540544 h 1778000"/>
              <a:gd name="connsiteX9" fmla="*/ 559594 w 2241550"/>
              <a:gd name="connsiteY9" fmla="*/ 0 h 1778000"/>
              <a:gd name="connsiteX0" fmla="*/ 559594 w 2241550"/>
              <a:gd name="connsiteY0" fmla="*/ 0 h 1778000"/>
              <a:gd name="connsiteX1" fmla="*/ 2241550 w 2241550"/>
              <a:gd name="connsiteY1" fmla="*/ 457200 h 1778000"/>
              <a:gd name="connsiteX2" fmla="*/ 2095500 w 2241550"/>
              <a:gd name="connsiteY2" fmla="*/ 806450 h 1778000"/>
              <a:gd name="connsiteX3" fmla="*/ 2001043 w 2241550"/>
              <a:gd name="connsiteY3" fmla="*/ 1276350 h 1778000"/>
              <a:gd name="connsiteX4" fmla="*/ 1966912 w 2241550"/>
              <a:gd name="connsiteY4" fmla="*/ 1771650 h 1778000"/>
              <a:gd name="connsiteX5" fmla="*/ 0 w 2241550"/>
              <a:gd name="connsiteY5" fmla="*/ 1778000 h 1778000"/>
              <a:gd name="connsiteX6" fmla="*/ 823912 w 2241550"/>
              <a:gd name="connsiteY6" fmla="*/ 833437 h 1778000"/>
              <a:gd name="connsiteX7" fmla="*/ 605631 w 2241550"/>
              <a:gd name="connsiteY7" fmla="*/ 708819 h 1778000"/>
              <a:gd name="connsiteX8" fmla="*/ 808037 w 2241550"/>
              <a:gd name="connsiteY8" fmla="*/ 540544 h 1778000"/>
              <a:gd name="connsiteX9" fmla="*/ 559594 w 2241550"/>
              <a:gd name="connsiteY9" fmla="*/ 0 h 1778000"/>
              <a:gd name="connsiteX0" fmla="*/ 559594 w 2241550"/>
              <a:gd name="connsiteY0" fmla="*/ 0 h 1778000"/>
              <a:gd name="connsiteX1" fmla="*/ 2241550 w 2241550"/>
              <a:gd name="connsiteY1" fmla="*/ 457200 h 1778000"/>
              <a:gd name="connsiteX2" fmla="*/ 2088356 w 2241550"/>
              <a:gd name="connsiteY2" fmla="*/ 789781 h 1778000"/>
              <a:gd name="connsiteX3" fmla="*/ 2001043 w 2241550"/>
              <a:gd name="connsiteY3" fmla="*/ 1276350 h 1778000"/>
              <a:gd name="connsiteX4" fmla="*/ 1966912 w 2241550"/>
              <a:gd name="connsiteY4" fmla="*/ 1771650 h 1778000"/>
              <a:gd name="connsiteX5" fmla="*/ 0 w 2241550"/>
              <a:gd name="connsiteY5" fmla="*/ 1778000 h 1778000"/>
              <a:gd name="connsiteX6" fmla="*/ 823912 w 2241550"/>
              <a:gd name="connsiteY6" fmla="*/ 833437 h 1778000"/>
              <a:gd name="connsiteX7" fmla="*/ 605631 w 2241550"/>
              <a:gd name="connsiteY7" fmla="*/ 708819 h 1778000"/>
              <a:gd name="connsiteX8" fmla="*/ 808037 w 2241550"/>
              <a:gd name="connsiteY8" fmla="*/ 540544 h 1778000"/>
              <a:gd name="connsiteX9" fmla="*/ 559594 w 2241550"/>
              <a:gd name="connsiteY9" fmla="*/ 0 h 1778000"/>
              <a:gd name="connsiteX0" fmla="*/ 559594 w 2241550"/>
              <a:gd name="connsiteY0" fmla="*/ 0 h 1778000"/>
              <a:gd name="connsiteX1" fmla="*/ 2241550 w 2241550"/>
              <a:gd name="connsiteY1" fmla="*/ 457200 h 1778000"/>
              <a:gd name="connsiteX2" fmla="*/ 2088356 w 2241550"/>
              <a:gd name="connsiteY2" fmla="*/ 789781 h 1778000"/>
              <a:gd name="connsiteX3" fmla="*/ 2001043 w 2241550"/>
              <a:gd name="connsiteY3" fmla="*/ 1276350 h 1778000"/>
              <a:gd name="connsiteX4" fmla="*/ 1966912 w 2241550"/>
              <a:gd name="connsiteY4" fmla="*/ 1771650 h 1778000"/>
              <a:gd name="connsiteX5" fmla="*/ 0 w 2241550"/>
              <a:gd name="connsiteY5" fmla="*/ 1778000 h 1778000"/>
              <a:gd name="connsiteX6" fmla="*/ 823912 w 2241550"/>
              <a:gd name="connsiteY6" fmla="*/ 833437 h 1778000"/>
              <a:gd name="connsiteX7" fmla="*/ 605631 w 2241550"/>
              <a:gd name="connsiteY7" fmla="*/ 708819 h 1778000"/>
              <a:gd name="connsiteX8" fmla="*/ 808037 w 2241550"/>
              <a:gd name="connsiteY8" fmla="*/ 540544 h 1778000"/>
              <a:gd name="connsiteX9" fmla="*/ 559594 w 2241550"/>
              <a:gd name="connsiteY9" fmla="*/ 0 h 1778000"/>
              <a:gd name="connsiteX0" fmla="*/ 559594 w 2210593"/>
              <a:gd name="connsiteY0" fmla="*/ 0 h 1778000"/>
              <a:gd name="connsiteX1" fmla="*/ 2210593 w 2210593"/>
              <a:gd name="connsiteY1" fmla="*/ 459581 h 1778000"/>
              <a:gd name="connsiteX2" fmla="*/ 2088356 w 2210593"/>
              <a:gd name="connsiteY2" fmla="*/ 789781 h 1778000"/>
              <a:gd name="connsiteX3" fmla="*/ 2001043 w 2210593"/>
              <a:gd name="connsiteY3" fmla="*/ 1276350 h 1778000"/>
              <a:gd name="connsiteX4" fmla="*/ 1966912 w 2210593"/>
              <a:gd name="connsiteY4" fmla="*/ 1771650 h 1778000"/>
              <a:gd name="connsiteX5" fmla="*/ 0 w 2210593"/>
              <a:gd name="connsiteY5" fmla="*/ 1778000 h 1778000"/>
              <a:gd name="connsiteX6" fmla="*/ 823912 w 2210593"/>
              <a:gd name="connsiteY6" fmla="*/ 833437 h 1778000"/>
              <a:gd name="connsiteX7" fmla="*/ 605631 w 2210593"/>
              <a:gd name="connsiteY7" fmla="*/ 708819 h 1778000"/>
              <a:gd name="connsiteX8" fmla="*/ 808037 w 2210593"/>
              <a:gd name="connsiteY8" fmla="*/ 540544 h 1778000"/>
              <a:gd name="connsiteX9" fmla="*/ 559594 w 2210593"/>
              <a:gd name="connsiteY9" fmla="*/ 0 h 1778000"/>
              <a:gd name="connsiteX0" fmla="*/ 559594 w 2210593"/>
              <a:gd name="connsiteY0" fmla="*/ 0 h 1778000"/>
              <a:gd name="connsiteX1" fmla="*/ 2210593 w 2210593"/>
              <a:gd name="connsiteY1" fmla="*/ 459581 h 1778000"/>
              <a:gd name="connsiteX2" fmla="*/ 2097881 w 2210593"/>
              <a:gd name="connsiteY2" fmla="*/ 794543 h 1778000"/>
              <a:gd name="connsiteX3" fmla="*/ 2001043 w 2210593"/>
              <a:gd name="connsiteY3" fmla="*/ 1276350 h 1778000"/>
              <a:gd name="connsiteX4" fmla="*/ 1966912 w 2210593"/>
              <a:gd name="connsiteY4" fmla="*/ 1771650 h 1778000"/>
              <a:gd name="connsiteX5" fmla="*/ 0 w 2210593"/>
              <a:gd name="connsiteY5" fmla="*/ 1778000 h 1778000"/>
              <a:gd name="connsiteX6" fmla="*/ 823912 w 2210593"/>
              <a:gd name="connsiteY6" fmla="*/ 833437 h 1778000"/>
              <a:gd name="connsiteX7" fmla="*/ 605631 w 2210593"/>
              <a:gd name="connsiteY7" fmla="*/ 708819 h 1778000"/>
              <a:gd name="connsiteX8" fmla="*/ 808037 w 2210593"/>
              <a:gd name="connsiteY8" fmla="*/ 540544 h 1778000"/>
              <a:gd name="connsiteX9" fmla="*/ 559594 w 2210593"/>
              <a:gd name="connsiteY9" fmla="*/ 0 h 1778000"/>
              <a:gd name="connsiteX0" fmla="*/ 559594 w 2210593"/>
              <a:gd name="connsiteY0" fmla="*/ 0 h 1778000"/>
              <a:gd name="connsiteX1" fmla="*/ 2210593 w 2210593"/>
              <a:gd name="connsiteY1" fmla="*/ 459581 h 1778000"/>
              <a:gd name="connsiteX2" fmla="*/ 2097881 w 2210593"/>
              <a:gd name="connsiteY2" fmla="*/ 794543 h 1778000"/>
              <a:gd name="connsiteX3" fmla="*/ 2001043 w 2210593"/>
              <a:gd name="connsiteY3" fmla="*/ 1276350 h 1778000"/>
              <a:gd name="connsiteX4" fmla="*/ 1966912 w 2210593"/>
              <a:gd name="connsiteY4" fmla="*/ 1771650 h 1778000"/>
              <a:gd name="connsiteX5" fmla="*/ 0 w 2210593"/>
              <a:gd name="connsiteY5" fmla="*/ 1778000 h 1778000"/>
              <a:gd name="connsiteX6" fmla="*/ 823912 w 2210593"/>
              <a:gd name="connsiteY6" fmla="*/ 833437 h 1778000"/>
              <a:gd name="connsiteX7" fmla="*/ 605631 w 2210593"/>
              <a:gd name="connsiteY7" fmla="*/ 708819 h 1778000"/>
              <a:gd name="connsiteX8" fmla="*/ 808037 w 2210593"/>
              <a:gd name="connsiteY8" fmla="*/ 540544 h 1778000"/>
              <a:gd name="connsiteX9" fmla="*/ 559594 w 2210593"/>
              <a:gd name="connsiteY9" fmla="*/ 0 h 1778000"/>
              <a:gd name="connsiteX0" fmla="*/ 559594 w 2210593"/>
              <a:gd name="connsiteY0" fmla="*/ 0 h 1778000"/>
              <a:gd name="connsiteX1" fmla="*/ 2210593 w 2210593"/>
              <a:gd name="connsiteY1" fmla="*/ 459581 h 1778000"/>
              <a:gd name="connsiteX2" fmla="*/ 2097881 w 2210593"/>
              <a:gd name="connsiteY2" fmla="*/ 794543 h 1778000"/>
              <a:gd name="connsiteX3" fmla="*/ 2024856 w 2210593"/>
              <a:gd name="connsiteY3" fmla="*/ 1281113 h 1778000"/>
              <a:gd name="connsiteX4" fmla="*/ 1966912 w 2210593"/>
              <a:gd name="connsiteY4" fmla="*/ 1771650 h 1778000"/>
              <a:gd name="connsiteX5" fmla="*/ 0 w 2210593"/>
              <a:gd name="connsiteY5" fmla="*/ 1778000 h 1778000"/>
              <a:gd name="connsiteX6" fmla="*/ 823912 w 2210593"/>
              <a:gd name="connsiteY6" fmla="*/ 833437 h 1778000"/>
              <a:gd name="connsiteX7" fmla="*/ 605631 w 2210593"/>
              <a:gd name="connsiteY7" fmla="*/ 708819 h 1778000"/>
              <a:gd name="connsiteX8" fmla="*/ 808037 w 2210593"/>
              <a:gd name="connsiteY8" fmla="*/ 540544 h 1778000"/>
              <a:gd name="connsiteX9" fmla="*/ 559594 w 2210593"/>
              <a:gd name="connsiteY9" fmla="*/ 0 h 177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10593" h="1778000">
                <a:moveTo>
                  <a:pt x="559594" y="0"/>
                </a:moveTo>
                <a:lnTo>
                  <a:pt x="2210593" y="459581"/>
                </a:lnTo>
                <a:cubicBezTo>
                  <a:pt x="2159528" y="570441"/>
                  <a:pt x="2125133" y="669395"/>
                  <a:pt x="2097881" y="794543"/>
                </a:cubicBezTo>
                <a:cubicBezTo>
                  <a:pt x="2082270" y="955145"/>
                  <a:pt x="2057135" y="1120511"/>
                  <a:pt x="2024856" y="1281113"/>
                </a:cubicBezTo>
                <a:lnTo>
                  <a:pt x="1966912" y="1771650"/>
                </a:lnTo>
                <a:lnTo>
                  <a:pt x="0" y="1778000"/>
                </a:lnTo>
                <a:lnTo>
                  <a:pt x="823912" y="833437"/>
                </a:lnTo>
                <a:lnTo>
                  <a:pt x="605631" y="708819"/>
                </a:lnTo>
                <a:lnTo>
                  <a:pt x="808037" y="540544"/>
                </a:lnTo>
                <a:lnTo>
                  <a:pt x="559594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B166D65-60B8-4A0C-9B30-88A8E3F3C261}"/>
              </a:ext>
            </a:extLst>
          </p:cNvPr>
          <p:cNvSpPr/>
          <p:nvPr/>
        </p:nvSpPr>
        <p:spPr bwMode="auto">
          <a:xfrm>
            <a:off x="9162058" y="3648098"/>
            <a:ext cx="483402" cy="755148"/>
          </a:xfrm>
          <a:custGeom>
            <a:avLst/>
            <a:gdLst>
              <a:gd name="connsiteX0" fmla="*/ 238125 w 838200"/>
              <a:gd name="connsiteY0" fmla="*/ 0 h 1323975"/>
              <a:gd name="connsiteX1" fmla="*/ 523875 w 838200"/>
              <a:gd name="connsiteY1" fmla="*/ 285750 h 1323975"/>
              <a:gd name="connsiteX2" fmla="*/ 704850 w 838200"/>
              <a:gd name="connsiteY2" fmla="*/ 647700 h 1323975"/>
              <a:gd name="connsiteX3" fmla="*/ 838200 w 838200"/>
              <a:gd name="connsiteY3" fmla="*/ 1152525 h 1323975"/>
              <a:gd name="connsiteX4" fmla="*/ 828675 w 838200"/>
              <a:gd name="connsiteY4" fmla="*/ 1323975 h 1323975"/>
              <a:gd name="connsiteX5" fmla="*/ 0 w 838200"/>
              <a:gd name="connsiteY5" fmla="*/ 1304925 h 1323975"/>
              <a:gd name="connsiteX6" fmla="*/ 28575 w 838200"/>
              <a:gd name="connsiteY6" fmla="*/ 819150 h 1323975"/>
              <a:gd name="connsiteX7" fmla="*/ 123825 w 838200"/>
              <a:gd name="connsiteY7" fmla="*/ 276225 h 1323975"/>
              <a:gd name="connsiteX8" fmla="*/ 238125 w 838200"/>
              <a:gd name="connsiteY8" fmla="*/ 0 h 1323975"/>
              <a:gd name="connsiteX0" fmla="*/ 238125 w 838200"/>
              <a:gd name="connsiteY0" fmla="*/ 0 h 1323975"/>
              <a:gd name="connsiteX1" fmla="*/ 523875 w 838200"/>
              <a:gd name="connsiteY1" fmla="*/ 285750 h 1323975"/>
              <a:gd name="connsiteX2" fmla="*/ 704850 w 838200"/>
              <a:gd name="connsiteY2" fmla="*/ 647700 h 1323975"/>
              <a:gd name="connsiteX3" fmla="*/ 838200 w 838200"/>
              <a:gd name="connsiteY3" fmla="*/ 1152525 h 1323975"/>
              <a:gd name="connsiteX4" fmla="*/ 828675 w 838200"/>
              <a:gd name="connsiteY4" fmla="*/ 1323975 h 1323975"/>
              <a:gd name="connsiteX5" fmla="*/ 0 w 838200"/>
              <a:gd name="connsiteY5" fmla="*/ 1304925 h 1323975"/>
              <a:gd name="connsiteX6" fmla="*/ 28575 w 838200"/>
              <a:gd name="connsiteY6" fmla="*/ 819150 h 1323975"/>
              <a:gd name="connsiteX7" fmla="*/ 123825 w 838200"/>
              <a:gd name="connsiteY7" fmla="*/ 276225 h 1323975"/>
              <a:gd name="connsiteX8" fmla="*/ 238125 w 838200"/>
              <a:gd name="connsiteY8" fmla="*/ 0 h 1323975"/>
              <a:gd name="connsiteX0" fmla="*/ 238125 w 838200"/>
              <a:gd name="connsiteY0" fmla="*/ 0 h 1323975"/>
              <a:gd name="connsiteX1" fmla="*/ 523875 w 838200"/>
              <a:gd name="connsiteY1" fmla="*/ 285750 h 1323975"/>
              <a:gd name="connsiteX2" fmla="*/ 704850 w 838200"/>
              <a:gd name="connsiteY2" fmla="*/ 647700 h 1323975"/>
              <a:gd name="connsiteX3" fmla="*/ 838200 w 838200"/>
              <a:gd name="connsiteY3" fmla="*/ 1152525 h 1323975"/>
              <a:gd name="connsiteX4" fmla="*/ 828675 w 838200"/>
              <a:gd name="connsiteY4" fmla="*/ 1323975 h 1323975"/>
              <a:gd name="connsiteX5" fmla="*/ 0 w 838200"/>
              <a:gd name="connsiteY5" fmla="*/ 1304925 h 1323975"/>
              <a:gd name="connsiteX6" fmla="*/ 28575 w 838200"/>
              <a:gd name="connsiteY6" fmla="*/ 819150 h 1323975"/>
              <a:gd name="connsiteX7" fmla="*/ 123825 w 838200"/>
              <a:gd name="connsiteY7" fmla="*/ 276225 h 1323975"/>
              <a:gd name="connsiteX8" fmla="*/ 238125 w 838200"/>
              <a:gd name="connsiteY8" fmla="*/ 0 h 1323975"/>
              <a:gd name="connsiteX0" fmla="*/ 238125 w 905206"/>
              <a:gd name="connsiteY0" fmla="*/ 0 h 1323975"/>
              <a:gd name="connsiteX1" fmla="*/ 523875 w 905206"/>
              <a:gd name="connsiteY1" fmla="*/ 285750 h 1323975"/>
              <a:gd name="connsiteX2" fmla="*/ 704850 w 905206"/>
              <a:gd name="connsiteY2" fmla="*/ 647700 h 1323975"/>
              <a:gd name="connsiteX3" fmla="*/ 838200 w 905206"/>
              <a:gd name="connsiteY3" fmla="*/ 1152525 h 1323975"/>
              <a:gd name="connsiteX4" fmla="*/ 828675 w 905206"/>
              <a:gd name="connsiteY4" fmla="*/ 1323975 h 1323975"/>
              <a:gd name="connsiteX5" fmla="*/ 0 w 905206"/>
              <a:gd name="connsiteY5" fmla="*/ 1304925 h 1323975"/>
              <a:gd name="connsiteX6" fmla="*/ 28575 w 905206"/>
              <a:gd name="connsiteY6" fmla="*/ 819150 h 1323975"/>
              <a:gd name="connsiteX7" fmla="*/ 123825 w 905206"/>
              <a:gd name="connsiteY7" fmla="*/ 276225 h 1323975"/>
              <a:gd name="connsiteX8" fmla="*/ 238125 w 905206"/>
              <a:gd name="connsiteY8" fmla="*/ 0 h 1323975"/>
              <a:gd name="connsiteX0" fmla="*/ 238125 w 894288"/>
              <a:gd name="connsiteY0" fmla="*/ 0 h 1323975"/>
              <a:gd name="connsiteX1" fmla="*/ 523875 w 894288"/>
              <a:gd name="connsiteY1" fmla="*/ 285750 h 1323975"/>
              <a:gd name="connsiteX2" fmla="*/ 704850 w 894288"/>
              <a:gd name="connsiteY2" fmla="*/ 647700 h 1323975"/>
              <a:gd name="connsiteX3" fmla="*/ 838200 w 894288"/>
              <a:gd name="connsiteY3" fmla="*/ 1152525 h 1323975"/>
              <a:gd name="connsiteX4" fmla="*/ 828675 w 894288"/>
              <a:gd name="connsiteY4" fmla="*/ 1323975 h 1323975"/>
              <a:gd name="connsiteX5" fmla="*/ 0 w 894288"/>
              <a:gd name="connsiteY5" fmla="*/ 1304925 h 1323975"/>
              <a:gd name="connsiteX6" fmla="*/ 28575 w 894288"/>
              <a:gd name="connsiteY6" fmla="*/ 819150 h 1323975"/>
              <a:gd name="connsiteX7" fmla="*/ 123825 w 894288"/>
              <a:gd name="connsiteY7" fmla="*/ 276225 h 1323975"/>
              <a:gd name="connsiteX8" fmla="*/ 238125 w 894288"/>
              <a:gd name="connsiteY8" fmla="*/ 0 h 1323975"/>
              <a:gd name="connsiteX0" fmla="*/ 238125 w 866871"/>
              <a:gd name="connsiteY0" fmla="*/ 0 h 1319212"/>
              <a:gd name="connsiteX1" fmla="*/ 523875 w 866871"/>
              <a:gd name="connsiteY1" fmla="*/ 285750 h 1319212"/>
              <a:gd name="connsiteX2" fmla="*/ 704850 w 866871"/>
              <a:gd name="connsiteY2" fmla="*/ 647700 h 1319212"/>
              <a:gd name="connsiteX3" fmla="*/ 838200 w 866871"/>
              <a:gd name="connsiteY3" fmla="*/ 1152525 h 1319212"/>
              <a:gd name="connsiteX4" fmla="*/ 781050 w 866871"/>
              <a:gd name="connsiteY4" fmla="*/ 1319212 h 1319212"/>
              <a:gd name="connsiteX5" fmla="*/ 0 w 866871"/>
              <a:gd name="connsiteY5" fmla="*/ 1304925 h 1319212"/>
              <a:gd name="connsiteX6" fmla="*/ 28575 w 866871"/>
              <a:gd name="connsiteY6" fmla="*/ 819150 h 1319212"/>
              <a:gd name="connsiteX7" fmla="*/ 123825 w 866871"/>
              <a:gd name="connsiteY7" fmla="*/ 276225 h 1319212"/>
              <a:gd name="connsiteX8" fmla="*/ 238125 w 866871"/>
              <a:gd name="connsiteY8" fmla="*/ 0 h 1319212"/>
              <a:gd name="connsiteX0" fmla="*/ 238125 w 845011"/>
              <a:gd name="connsiteY0" fmla="*/ 0 h 1319212"/>
              <a:gd name="connsiteX1" fmla="*/ 523875 w 845011"/>
              <a:gd name="connsiteY1" fmla="*/ 285750 h 1319212"/>
              <a:gd name="connsiteX2" fmla="*/ 704850 w 845011"/>
              <a:gd name="connsiteY2" fmla="*/ 647700 h 1319212"/>
              <a:gd name="connsiteX3" fmla="*/ 838200 w 845011"/>
              <a:gd name="connsiteY3" fmla="*/ 1152525 h 1319212"/>
              <a:gd name="connsiteX4" fmla="*/ 735806 w 845011"/>
              <a:gd name="connsiteY4" fmla="*/ 1319212 h 1319212"/>
              <a:gd name="connsiteX5" fmla="*/ 0 w 845011"/>
              <a:gd name="connsiteY5" fmla="*/ 1304925 h 1319212"/>
              <a:gd name="connsiteX6" fmla="*/ 28575 w 845011"/>
              <a:gd name="connsiteY6" fmla="*/ 819150 h 1319212"/>
              <a:gd name="connsiteX7" fmla="*/ 123825 w 845011"/>
              <a:gd name="connsiteY7" fmla="*/ 276225 h 1319212"/>
              <a:gd name="connsiteX8" fmla="*/ 238125 w 845011"/>
              <a:gd name="connsiteY8" fmla="*/ 0 h 1319212"/>
              <a:gd name="connsiteX0" fmla="*/ 238125 w 845011"/>
              <a:gd name="connsiteY0" fmla="*/ 0 h 1319212"/>
              <a:gd name="connsiteX1" fmla="*/ 523875 w 845011"/>
              <a:gd name="connsiteY1" fmla="*/ 285750 h 1319212"/>
              <a:gd name="connsiteX2" fmla="*/ 704850 w 845011"/>
              <a:gd name="connsiteY2" fmla="*/ 647700 h 1319212"/>
              <a:gd name="connsiteX3" fmla="*/ 838200 w 845011"/>
              <a:gd name="connsiteY3" fmla="*/ 1152525 h 1319212"/>
              <a:gd name="connsiteX4" fmla="*/ 735806 w 845011"/>
              <a:gd name="connsiteY4" fmla="*/ 1319212 h 1319212"/>
              <a:gd name="connsiteX5" fmla="*/ 0 w 845011"/>
              <a:gd name="connsiteY5" fmla="*/ 1304925 h 1319212"/>
              <a:gd name="connsiteX6" fmla="*/ 28575 w 845011"/>
              <a:gd name="connsiteY6" fmla="*/ 819150 h 1319212"/>
              <a:gd name="connsiteX7" fmla="*/ 123825 w 845011"/>
              <a:gd name="connsiteY7" fmla="*/ 276225 h 1319212"/>
              <a:gd name="connsiteX8" fmla="*/ 238125 w 845011"/>
              <a:gd name="connsiteY8" fmla="*/ 0 h 1319212"/>
              <a:gd name="connsiteX0" fmla="*/ 238125 w 845011"/>
              <a:gd name="connsiteY0" fmla="*/ 0 h 1319212"/>
              <a:gd name="connsiteX1" fmla="*/ 523875 w 845011"/>
              <a:gd name="connsiteY1" fmla="*/ 285750 h 1319212"/>
              <a:gd name="connsiteX2" fmla="*/ 704850 w 845011"/>
              <a:gd name="connsiteY2" fmla="*/ 647700 h 1319212"/>
              <a:gd name="connsiteX3" fmla="*/ 838200 w 845011"/>
              <a:gd name="connsiteY3" fmla="*/ 1152525 h 1319212"/>
              <a:gd name="connsiteX4" fmla="*/ 735806 w 845011"/>
              <a:gd name="connsiteY4" fmla="*/ 1319212 h 1319212"/>
              <a:gd name="connsiteX5" fmla="*/ 0 w 845011"/>
              <a:gd name="connsiteY5" fmla="*/ 1304925 h 1319212"/>
              <a:gd name="connsiteX6" fmla="*/ 28575 w 845011"/>
              <a:gd name="connsiteY6" fmla="*/ 819150 h 1319212"/>
              <a:gd name="connsiteX7" fmla="*/ 123825 w 845011"/>
              <a:gd name="connsiteY7" fmla="*/ 276225 h 1319212"/>
              <a:gd name="connsiteX8" fmla="*/ 238125 w 845011"/>
              <a:gd name="connsiteY8" fmla="*/ 0 h 1319212"/>
              <a:gd name="connsiteX0" fmla="*/ 238125 w 845011"/>
              <a:gd name="connsiteY0" fmla="*/ 0 h 1319212"/>
              <a:gd name="connsiteX1" fmla="*/ 523875 w 845011"/>
              <a:gd name="connsiteY1" fmla="*/ 285750 h 1319212"/>
              <a:gd name="connsiteX2" fmla="*/ 704850 w 845011"/>
              <a:gd name="connsiteY2" fmla="*/ 647700 h 1319212"/>
              <a:gd name="connsiteX3" fmla="*/ 838200 w 845011"/>
              <a:gd name="connsiteY3" fmla="*/ 1152525 h 1319212"/>
              <a:gd name="connsiteX4" fmla="*/ 735806 w 845011"/>
              <a:gd name="connsiteY4" fmla="*/ 1319212 h 1319212"/>
              <a:gd name="connsiteX5" fmla="*/ 0 w 845011"/>
              <a:gd name="connsiteY5" fmla="*/ 1304925 h 1319212"/>
              <a:gd name="connsiteX6" fmla="*/ 28575 w 845011"/>
              <a:gd name="connsiteY6" fmla="*/ 819150 h 1319212"/>
              <a:gd name="connsiteX7" fmla="*/ 123825 w 845011"/>
              <a:gd name="connsiteY7" fmla="*/ 276225 h 1319212"/>
              <a:gd name="connsiteX8" fmla="*/ 238125 w 845011"/>
              <a:gd name="connsiteY8" fmla="*/ 0 h 1319212"/>
              <a:gd name="connsiteX0" fmla="*/ 238125 w 844483"/>
              <a:gd name="connsiteY0" fmla="*/ 0 h 1319212"/>
              <a:gd name="connsiteX1" fmla="*/ 523875 w 844483"/>
              <a:gd name="connsiteY1" fmla="*/ 285750 h 1319212"/>
              <a:gd name="connsiteX2" fmla="*/ 711994 w 844483"/>
              <a:gd name="connsiteY2" fmla="*/ 647700 h 1319212"/>
              <a:gd name="connsiteX3" fmla="*/ 838200 w 844483"/>
              <a:gd name="connsiteY3" fmla="*/ 1152525 h 1319212"/>
              <a:gd name="connsiteX4" fmla="*/ 735806 w 844483"/>
              <a:gd name="connsiteY4" fmla="*/ 1319212 h 1319212"/>
              <a:gd name="connsiteX5" fmla="*/ 0 w 844483"/>
              <a:gd name="connsiteY5" fmla="*/ 1304925 h 1319212"/>
              <a:gd name="connsiteX6" fmla="*/ 28575 w 844483"/>
              <a:gd name="connsiteY6" fmla="*/ 819150 h 1319212"/>
              <a:gd name="connsiteX7" fmla="*/ 123825 w 844483"/>
              <a:gd name="connsiteY7" fmla="*/ 276225 h 1319212"/>
              <a:gd name="connsiteX8" fmla="*/ 238125 w 844483"/>
              <a:gd name="connsiteY8" fmla="*/ 0 h 1319212"/>
              <a:gd name="connsiteX0" fmla="*/ 238125 w 844483"/>
              <a:gd name="connsiteY0" fmla="*/ 0 h 1319212"/>
              <a:gd name="connsiteX1" fmla="*/ 523875 w 844483"/>
              <a:gd name="connsiteY1" fmla="*/ 285750 h 1319212"/>
              <a:gd name="connsiteX2" fmla="*/ 711994 w 844483"/>
              <a:gd name="connsiteY2" fmla="*/ 647700 h 1319212"/>
              <a:gd name="connsiteX3" fmla="*/ 838200 w 844483"/>
              <a:gd name="connsiteY3" fmla="*/ 1152525 h 1319212"/>
              <a:gd name="connsiteX4" fmla="*/ 735806 w 844483"/>
              <a:gd name="connsiteY4" fmla="*/ 1319212 h 1319212"/>
              <a:gd name="connsiteX5" fmla="*/ 0 w 844483"/>
              <a:gd name="connsiteY5" fmla="*/ 1304925 h 1319212"/>
              <a:gd name="connsiteX6" fmla="*/ 28575 w 844483"/>
              <a:gd name="connsiteY6" fmla="*/ 819150 h 1319212"/>
              <a:gd name="connsiteX7" fmla="*/ 123825 w 844483"/>
              <a:gd name="connsiteY7" fmla="*/ 276225 h 1319212"/>
              <a:gd name="connsiteX8" fmla="*/ 238125 w 844483"/>
              <a:gd name="connsiteY8" fmla="*/ 0 h 1319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44483" h="1319212">
                <a:moveTo>
                  <a:pt x="238125" y="0"/>
                </a:moveTo>
                <a:cubicBezTo>
                  <a:pt x="304800" y="1587"/>
                  <a:pt x="444897" y="177800"/>
                  <a:pt x="523875" y="285750"/>
                </a:cubicBezTo>
                <a:cubicBezTo>
                  <a:pt x="602853" y="393700"/>
                  <a:pt x="653256" y="474662"/>
                  <a:pt x="711994" y="647700"/>
                </a:cubicBezTo>
                <a:cubicBezTo>
                  <a:pt x="770732" y="820738"/>
                  <a:pt x="834231" y="1040606"/>
                  <a:pt x="838200" y="1152525"/>
                </a:cubicBezTo>
                <a:cubicBezTo>
                  <a:pt x="842169" y="1264444"/>
                  <a:pt x="875506" y="1293812"/>
                  <a:pt x="735806" y="1319212"/>
                </a:cubicBezTo>
                <a:lnTo>
                  <a:pt x="0" y="1304925"/>
                </a:lnTo>
                <a:lnTo>
                  <a:pt x="28575" y="819150"/>
                </a:lnTo>
                <a:lnTo>
                  <a:pt x="123825" y="276225"/>
                </a:lnTo>
                <a:lnTo>
                  <a:pt x="238125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D414659-C2A3-48C1-B809-EB5017590B3C}"/>
              </a:ext>
            </a:extLst>
          </p:cNvPr>
          <p:cNvSpPr/>
          <p:nvPr/>
        </p:nvSpPr>
        <p:spPr bwMode="auto">
          <a:xfrm>
            <a:off x="5246572" y="3673725"/>
            <a:ext cx="434753" cy="723015"/>
          </a:xfrm>
          <a:custGeom>
            <a:avLst/>
            <a:gdLst>
              <a:gd name="connsiteX0" fmla="*/ 600075 w 752475"/>
              <a:gd name="connsiteY0" fmla="*/ 0 h 1257300"/>
              <a:gd name="connsiteX1" fmla="*/ 295275 w 752475"/>
              <a:gd name="connsiteY1" fmla="*/ 304800 h 1257300"/>
              <a:gd name="connsiteX2" fmla="*/ 95250 w 752475"/>
              <a:gd name="connsiteY2" fmla="*/ 733425 h 1257300"/>
              <a:gd name="connsiteX3" fmla="*/ 9525 w 752475"/>
              <a:gd name="connsiteY3" fmla="*/ 1095375 h 1257300"/>
              <a:gd name="connsiteX4" fmla="*/ 0 w 752475"/>
              <a:gd name="connsiteY4" fmla="*/ 1247775 h 1257300"/>
              <a:gd name="connsiteX5" fmla="*/ 704850 w 752475"/>
              <a:gd name="connsiteY5" fmla="*/ 1257300 h 1257300"/>
              <a:gd name="connsiteX6" fmla="*/ 752475 w 752475"/>
              <a:gd name="connsiteY6" fmla="*/ 933450 h 1257300"/>
              <a:gd name="connsiteX7" fmla="*/ 714375 w 752475"/>
              <a:gd name="connsiteY7" fmla="*/ 523875 h 1257300"/>
              <a:gd name="connsiteX8" fmla="*/ 600075 w 752475"/>
              <a:gd name="connsiteY8" fmla="*/ 0 h 1257300"/>
              <a:gd name="connsiteX0" fmla="*/ 600075 w 752475"/>
              <a:gd name="connsiteY0" fmla="*/ 0 h 1257300"/>
              <a:gd name="connsiteX1" fmla="*/ 295275 w 752475"/>
              <a:gd name="connsiteY1" fmla="*/ 304800 h 1257300"/>
              <a:gd name="connsiteX2" fmla="*/ 95250 w 752475"/>
              <a:gd name="connsiteY2" fmla="*/ 733425 h 1257300"/>
              <a:gd name="connsiteX3" fmla="*/ 9525 w 752475"/>
              <a:gd name="connsiteY3" fmla="*/ 1095375 h 1257300"/>
              <a:gd name="connsiteX4" fmla="*/ 0 w 752475"/>
              <a:gd name="connsiteY4" fmla="*/ 1247775 h 1257300"/>
              <a:gd name="connsiteX5" fmla="*/ 704850 w 752475"/>
              <a:gd name="connsiteY5" fmla="*/ 1257300 h 1257300"/>
              <a:gd name="connsiteX6" fmla="*/ 752475 w 752475"/>
              <a:gd name="connsiteY6" fmla="*/ 933450 h 1257300"/>
              <a:gd name="connsiteX7" fmla="*/ 744629 w 752475"/>
              <a:gd name="connsiteY7" fmla="*/ 681514 h 1257300"/>
              <a:gd name="connsiteX8" fmla="*/ 714375 w 752475"/>
              <a:gd name="connsiteY8" fmla="*/ 523875 h 1257300"/>
              <a:gd name="connsiteX9" fmla="*/ 600075 w 752475"/>
              <a:gd name="connsiteY9" fmla="*/ 0 h 1257300"/>
              <a:gd name="connsiteX0" fmla="*/ 600075 w 752475"/>
              <a:gd name="connsiteY0" fmla="*/ 0 h 1257300"/>
              <a:gd name="connsiteX1" fmla="*/ 295275 w 752475"/>
              <a:gd name="connsiteY1" fmla="*/ 304800 h 1257300"/>
              <a:gd name="connsiteX2" fmla="*/ 95250 w 752475"/>
              <a:gd name="connsiteY2" fmla="*/ 733425 h 1257300"/>
              <a:gd name="connsiteX3" fmla="*/ 9525 w 752475"/>
              <a:gd name="connsiteY3" fmla="*/ 1095375 h 1257300"/>
              <a:gd name="connsiteX4" fmla="*/ 0 w 752475"/>
              <a:gd name="connsiteY4" fmla="*/ 1247775 h 1257300"/>
              <a:gd name="connsiteX5" fmla="*/ 704850 w 752475"/>
              <a:gd name="connsiteY5" fmla="*/ 1257300 h 1257300"/>
              <a:gd name="connsiteX6" fmla="*/ 752475 w 752475"/>
              <a:gd name="connsiteY6" fmla="*/ 933450 h 1257300"/>
              <a:gd name="connsiteX7" fmla="*/ 744629 w 752475"/>
              <a:gd name="connsiteY7" fmla="*/ 681514 h 1257300"/>
              <a:gd name="connsiteX8" fmla="*/ 737485 w 752475"/>
              <a:gd name="connsiteY8" fmla="*/ 583883 h 1257300"/>
              <a:gd name="connsiteX9" fmla="*/ 714375 w 752475"/>
              <a:gd name="connsiteY9" fmla="*/ 523875 h 1257300"/>
              <a:gd name="connsiteX10" fmla="*/ 600075 w 752475"/>
              <a:gd name="connsiteY10" fmla="*/ 0 h 1257300"/>
              <a:gd name="connsiteX0" fmla="*/ 600075 w 752475"/>
              <a:gd name="connsiteY0" fmla="*/ 0 h 1257300"/>
              <a:gd name="connsiteX1" fmla="*/ 295275 w 752475"/>
              <a:gd name="connsiteY1" fmla="*/ 304800 h 1257300"/>
              <a:gd name="connsiteX2" fmla="*/ 95250 w 752475"/>
              <a:gd name="connsiteY2" fmla="*/ 733425 h 1257300"/>
              <a:gd name="connsiteX3" fmla="*/ 9525 w 752475"/>
              <a:gd name="connsiteY3" fmla="*/ 1095375 h 1257300"/>
              <a:gd name="connsiteX4" fmla="*/ 0 w 752475"/>
              <a:gd name="connsiteY4" fmla="*/ 1247775 h 1257300"/>
              <a:gd name="connsiteX5" fmla="*/ 704850 w 752475"/>
              <a:gd name="connsiteY5" fmla="*/ 1257300 h 1257300"/>
              <a:gd name="connsiteX6" fmla="*/ 752475 w 752475"/>
              <a:gd name="connsiteY6" fmla="*/ 933450 h 1257300"/>
              <a:gd name="connsiteX7" fmla="*/ 744629 w 752475"/>
              <a:gd name="connsiteY7" fmla="*/ 681514 h 1257300"/>
              <a:gd name="connsiteX8" fmla="*/ 737485 w 752475"/>
              <a:gd name="connsiteY8" fmla="*/ 583883 h 1257300"/>
              <a:gd name="connsiteX9" fmla="*/ 714375 w 752475"/>
              <a:gd name="connsiteY9" fmla="*/ 523875 h 1257300"/>
              <a:gd name="connsiteX10" fmla="*/ 600075 w 752475"/>
              <a:gd name="connsiteY10" fmla="*/ 0 h 1257300"/>
              <a:gd name="connsiteX0" fmla="*/ 600075 w 752475"/>
              <a:gd name="connsiteY0" fmla="*/ 0 h 1257300"/>
              <a:gd name="connsiteX1" fmla="*/ 295275 w 752475"/>
              <a:gd name="connsiteY1" fmla="*/ 304800 h 1257300"/>
              <a:gd name="connsiteX2" fmla="*/ 95250 w 752475"/>
              <a:gd name="connsiteY2" fmla="*/ 733425 h 1257300"/>
              <a:gd name="connsiteX3" fmla="*/ 9525 w 752475"/>
              <a:gd name="connsiteY3" fmla="*/ 1095375 h 1257300"/>
              <a:gd name="connsiteX4" fmla="*/ 0 w 752475"/>
              <a:gd name="connsiteY4" fmla="*/ 1247775 h 1257300"/>
              <a:gd name="connsiteX5" fmla="*/ 704850 w 752475"/>
              <a:gd name="connsiteY5" fmla="*/ 1257300 h 1257300"/>
              <a:gd name="connsiteX6" fmla="*/ 752475 w 752475"/>
              <a:gd name="connsiteY6" fmla="*/ 933450 h 1257300"/>
              <a:gd name="connsiteX7" fmla="*/ 744629 w 752475"/>
              <a:gd name="connsiteY7" fmla="*/ 681514 h 1257300"/>
              <a:gd name="connsiteX8" fmla="*/ 737485 w 752475"/>
              <a:gd name="connsiteY8" fmla="*/ 583883 h 1257300"/>
              <a:gd name="connsiteX9" fmla="*/ 714375 w 752475"/>
              <a:gd name="connsiteY9" fmla="*/ 523875 h 1257300"/>
              <a:gd name="connsiteX10" fmla="*/ 600075 w 752475"/>
              <a:gd name="connsiteY10" fmla="*/ 0 h 1257300"/>
              <a:gd name="connsiteX0" fmla="*/ 600087 w 752487"/>
              <a:gd name="connsiteY0" fmla="*/ 0 h 1291617"/>
              <a:gd name="connsiteX1" fmla="*/ 295287 w 752487"/>
              <a:gd name="connsiteY1" fmla="*/ 304800 h 1291617"/>
              <a:gd name="connsiteX2" fmla="*/ 95262 w 752487"/>
              <a:gd name="connsiteY2" fmla="*/ 733425 h 1291617"/>
              <a:gd name="connsiteX3" fmla="*/ 9537 w 752487"/>
              <a:gd name="connsiteY3" fmla="*/ 1095375 h 1291617"/>
              <a:gd name="connsiteX4" fmla="*/ 12 w 752487"/>
              <a:gd name="connsiteY4" fmla="*/ 1247775 h 1291617"/>
              <a:gd name="connsiteX5" fmla="*/ 704862 w 752487"/>
              <a:gd name="connsiteY5" fmla="*/ 1257300 h 1291617"/>
              <a:gd name="connsiteX6" fmla="*/ 752487 w 752487"/>
              <a:gd name="connsiteY6" fmla="*/ 933450 h 1291617"/>
              <a:gd name="connsiteX7" fmla="*/ 744641 w 752487"/>
              <a:gd name="connsiteY7" fmla="*/ 681514 h 1291617"/>
              <a:gd name="connsiteX8" fmla="*/ 737497 w 752487"/>
              <a:gd name="connsiteY8" fmla="*/ 583883 h 1291617"/>
              <a:gd name="connsiteX9" fmla="*/ 714387 w 752487"/>
              <a:gd name="connsiteY9" fmla="*/ 523875 h 1291617"/>
              <a:gd name="connsiteX10" fmla="*/ 600087 w 752487"/>
              <a:gd name="connsiteY10" fmla="*/ 0 h 1291617"/>
              <a:gd name="connsiteX0" fmla="*/ 607096 w 759496"/>
              <a:gd name="connsiteY0" fmla="*/ 0 h 1278952"/>
              <a:gd name="connsiteX1" fmla="*/ 302296 w 759496"/>
              <a:gd name="connsiteY1" fmla="*/ 304800 h 1278952"/>
              <a:gd name="connsiteX2" fmla="*/ 102271 w 759496"/>
              <a:gd name="connsiteY2" fmla="*/ 733425 h 1278952"/>
              <a:gd name="connsiteX3" fmla="*/ 16546 w 759496"/>
              <a:gd name="connsiteY3" fmla="*/ 1095375 h 1278952"/>
              <a:gd name="connsiteX4" fmla="*/ 7021 w 759496"/>
              <a:gd name="connsiteY4" fmla="*/ 1247775 h 1278952"/>
              <a:gd name="connsiteX5" fmla="*/ 711871 w 759496"/>
              <a:gd name="connsiteY5" fmla="*/ 1257300 h 1278952"/>
              <a:gd name="connsiteX6" fmla="*/ 759496 w 759496"/>
              <a:gd name="connsiteY6" fmla="*/ 933450 h 1278952"/>
              <a:gd name="connsiteX7" fmla="*/ 751650 w 759496"/>
              <a:gd name="connsiteY7" fmla="*/ 681514 h 1278952"/>
              <a:gd name="connsiteX8" fmla="*/ 744506 w 759496"/>
              <a:gd name="connsiteY8" fmla="*/ 583883 h 1278952"/>
              <a:gd name="connsiteX9" fmla="*/ 721396 w 759496"/>
              <a:gd name="connsiteY9" fmla="*/ 523875 h 1278952"/>
              <a:gd name="connsiteX10" fmla="*/ 607096 w 759496"/>
              <a:gd name="connsiteY10" fmla="*/ 0 h 1278952"/>
              <a:gd name="connsiteX0" fmla="*/ 607096 w 759496"/>
              <a:gd name="connsiteY0" fmla="*/ 0 h 1278952"/>
              <a:gd name="connsiteX1" fmla="*/ 302296 w 759496"/>
              <a:gd name="connsiteY1" fmla="*/ 304800 h 1278952"/>
              <a:gd name="connsiteX2" fmla="*/ 102271 w 759496"/>
              <a:gd name="connsiteY2" fmla="*/ 733425 h 1278952"/>
              <a:gd name="connsiteX3" fmla="*/ 16546 w 759496"/>
              <a:gd name="connsiteY3" fmla="*/ 1095375 h 1278952"/>
              <a:gd name="connsiteX4" fmla="*/ 7021 w 759496"/>
              <a:gd name="connsiteY4" fmla="*/ 1247775 h 1278952"/>
              <a:gd name="connsiteX5" fmla="*/ 711871 w 759496"/>
              <a:gd name="connsiteY5" fmla="*/ 1257300 h 1278952"/>
              <a:gd name="connsiteX6" fmla="*/ 759496 w 759496"/>
              <a:gd name="connsiteY6" fmla="*/ 933450 h 1278952"/>
              <a:gd name="connsiteX7" fmla="*/ 751650 w 759496"/>
              <a:gd name="connsiteY7" fmla="*/ 681514 h 1278952"/>
              <a:gd name="connsiteX8" fmla="*/ 744506 w 759496"/>
              <a:gd name="connsiteY8" fmla="*/ 583883 h 1278952"/>
              <a:gd name="connsiteX9" fmla="*/ 721396 w 759496"/>
              <a:gd name="connsiteY9" fmla="*/ 523875 h 1278952"/>
              <a:gd name="connsiteX10" fmla="*/ 607096 w 759496"/>
              <a:gd name="connsiteY10" fmla="*/ 0 h 1278952"/>
              <a:gd name="connsiteX0" fmla="*/ 616621 w 759496"/>
              <a:gd name="connsiteY0" fmla="*/ 0 h 1269427"/>
              <a:gd name="connsiteX1" fmla="*/ 302296 w 759496"/>
              <a:gd name="connsiteY1" fmla="*/ 295275 h 1269427"/>
              <a:gd name="connsiteX2" fmla="*/ 102271 w 759496"/>
              <a:gd name="connsiteY2" fmla="*/ 723900 h 1269427"/>
              <a:gd name="connsiteX3" fmla="*/ 16546 w 759496"/>
              <a:gd name="connsiteY3" fmla="*/ 1085850 h 1269427"/>
              <a:gd name="connsiteX4" fmla="*/ 7021 w 759496"/>
              <a:gd name="connsiteY4" fmla="*/ 1238250 h 1269427"/>
              <a:gd name="connsiteX5" fmla="*/ 711871 w 759496"/>
              <a:gd name="connsiteY5" fmla="*/ 1247775 h 1269427"/>
              <a:gd name="connsiteX6" fmla="*/ 759496 w 759496"/>
              <a:gd name="connsiteY6" fmla="*/ 923925 h 1269427"/>
              <a:gd name="connsiteX7" fmla="*/ 751650 w 759496"/>
              <a:gd name="connsiteY7" fmla="*/ 671989 h 1269427"/>
              <a:gd name="connsiteX8" fmla="*/ 744506 w 759496"/>
              <a:gd name="connsiteY8" fmla="*/ 574358 h 1269427"/>
              <a:gd name="connsiteX9" fmla="*/ 721396 w 759496"/>
              <a:gd name="connsiteY9" fmla="*/ 514350 h 1269427"/>
              <a:gd name="connsiteX10" fmla="*/ 616621 w 759496"/>
              <a:gd name="connsiteY10" fmla="*/ 0 h 1269427"/>
              <a:gd name="connsiteX0" fmla="*/ 588046 w 759496"/>
              <a:gd name="connsiteY0" fmla="*/ 0 h 1263077"/>
              <a:gd name="connsiteX1" fmla="*/ 302296 w 759496"/>
              <a:gd name="connsiteY1" fmla="*/ 288925 h 1263077"/>
              <a:gd name="connsiteX2" fmla="*/ 102271 w 759496"/>
              <a:gd name="connsiteY2" fmla="*/ 717550 h 1263077"/>
              <a:gd name="connsiteX3" fmla="*/ 16546 w 759496"/>
              <a:gd name="connsiteY3" fmla="*/ 1079500 h 1263077"/>
              <a:gd name="connsiteX4" fmla="*/ 7021 w 759496"/>
              <a:gd name="connsiteY4" fmla="*/ 1231900 h 1263077"/>
              <a:gd name="connsiteX5" fmla="*/ 711871 w 759496"/>
              <a:gd name="connsiteY5" fmla="*/ 1241425 h 1263077"/>
              <a:gd name="connsiteX6" fmla="*/ 759496 w 759496"/>
              <a:gd name="connsiteY6" fmla="*/ 917575 h 1263077"/>
              <a:gd name="connsiteX7" fmla="*/ 751650 w 759496"/>
              <a:gd name="connsiteY7" fmla="*/ 665639 h 1263077"/>
              <a:gd name="connsiteX8" fmla="*/ 744506 w 759496"/>
              <a:gd name="connsiteY8" fmla="*/ 568008 h 1263077"/>
              <a:gd name="connsiteX9" fmla="*/ 721396 w 759496"/>
              <a:gd name="connsiteY9" fmla="*/ 508000 h 1263077"/>
              <a:gd name="connsiteX10" fmla="*/ 588046 w 759496"/>
              <a:gd name="connsiteY10" fmla="*/ 0 h 1263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59496" h="1263077">
                <a:moveTo>
                  <a:pt x="588046" y="0"/>
                </a:moveTo>
                <a:lnTo>
                  <a:pt x="302296" y="288925"/>
                </a:lnTo>
                <a:cubicBezTo>
                  <a:pt x="218158" y="411163"/>
                  <a:pt x="149896" y="585788"/>
                  <a:pt x="102271" y="717550"/>
                </a:cubicBezTo>
                <a:cubicBezTo>
                  <a:pt x="54646" y="849312"/>
                  <a:pt x="19721" y="1028700"/>
                  <a:pt x="16546" y="1079500"/>
                </a:cubicBezTo>
                <a:cubicBezTo>
                  <a:pt x="13371" y="1130300"/>
                  <a:pt x="-12029" y="1228725"/>
                  <a:pt x="7021" y="1231900"/>
                </a:cubicBezTo>
                <a:cubicBezTo>
                  <a:pt x="26071" y="1235075"/>
                  <a:pt x="586459" y="1293813"/>
                  <a:pt x="711871" y="1241425"/>
                </a:cubicBezTo>
                <a:lnTo>
                  <a:pt x="759496" y="917575"/>
                </a:lnTo>
                <a:cubicBezTo>
                  <a:pt x="751324" y="833596"/>
                  <a:pt x="759822" y="749618"/>
                  <a:pt x="751650" y="665639"/>
                </a:cubicBezTo>
                <a:cubicBezTo>
                  <a:pt x="746094" y="633889"/>
                  <a:pt x="752209" y="588011"/>
                  <a:pt x="744506" y="568008"/>
                </a:cubicBezTo>
                <a:lnTo>
                  <a:pt x="721396" y="508000"/>
                </a:lnTo>
                <a:lnTo>
                  <a:pt x="588046" y="0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ABA82A1B-732A-498F-8A10-1B26C85616A3}"/>
              </a:ext>
            </a:extLst>
          </p:cNvPr>
          <p:cNvSpPr/>
          <p:nvPr/>
        </p:nvSpPr>
        <p:spPr bwMode="auto">
          <a:xfrm rot="3411517">
            <a:off x="6582964" y="3379240"/>
            <a:ext cx="1053506" cy="535934"/>
          </a:xfrm>
          <a:custGeom>
            <a:avLst/>
            <a:gdLst>
              <a:gd name="connsiteX0" fmla="*/ 0 w 1799219"/>
              <a:gd name="connsiteY0" fmla="*/ 791578 h 791578"/>
              <a:gd name="connsiteX1" fmla="*/ 899610 w 1799219"/>
              <a:gd name="connsiteY1" fmla="*/ 0 h 791578"/>
              <a:gd name="connsiteX2" fmla="*/ 1799219 w 1799219"/>
              <a:gd name="connsiteY2" fmla="*/ 791578 h 791578"/>
              <a:gd name="connsiteX3" fmla="*/ 0 w 1799219"/>
              <a:gd name="connsiteY3" fmla="*/ 791578 h 791578"/>
              <a:gd name="connsiteX0" fmla="*/ 0 w 1866290"/>
              <a:gd name="connsiteY0" fmla="*/ 791578 h 953676"/>
              <a:gd name="connsiteX1" fmla="*/ 899610 w 1866290"/>
              <a:gd name="connsiteY1" fmla="*/ 0 h 953676"/>
              <a:gd name="connsiteX2" fmla="*/ 1866290 w 1866290"/>
              <a:gd name="connsiteY2" fmla="*/ 953676 h 953676"/>
              <a:gd name="connsiteX3" fmla="*/ 0 w 1866290"/>
              <a:gd name="connsiteY3" fmla="*/ 791578 h 953676"/>
              <a:gd name="connsiteX0" fmla="*/ 0 w 1866290"/>
              <a:gd name="connsiteY0" fmla="*/ 768950 h 931048"/>
              <a:gd name="connsiteX1" fmla="*/ 1185150 w 1866290"/>
              <a:gd name="connsiteY1" fmla="*/ 0 h 931048"/>
              <a:gd name="connsiteX2" fmla="*/ 1866290 w 1866290"/>
              <a:gd name="connsiteY2" fmla="*/ 931048 h 931048"/>
              <a:gd name="connsiteX3" fmla="*/ 0 w 1866290"/>
              <a:gd name="connsiteY3" fmla="*/ 768950 h 931048"/>
              <a:gd name="connsiteX0" fmla="*/ 0 w 1866290"/>
              <a:gd name="connsiteY0" fmla="*/ 768950 h 931048"/>
              <a:gd name="connsiteX1" fmla="*/ 792539 w 1866290"/>
              <a:gd name="connsiteY1" fmla="*/ 38865 h 931048"/>
              <a:gd name="connsiteX2" fmla="*/ 1185150 w 1866290"/>
              <a:gd name="connsiteY2" fmla="*/ 0 h 931048"/>
              <a:gd name="connsiteX3" fmla="*/ 1866290 w 1866290"/>
              <a:gd name="connsiteY3" fmla="*/ 931048 h 931048"/>
              <a:gd name="connsiteX4" fmla="*/ 0 w 1866290"/>
              <a:gd name="connsiteY4" fmla="*/ 768950 h 931048"/>
              <a:gd name="connsiteX0" fmla="*/ 0 w 1866290"/>
              <a:gd name="connsiteY0" fmla="*/ 774157 h 936255"/>
              <a:gd name="connsiteX1" fmla="*/ 792539 w 1866290"/>
              <a:gd name="connsiteY1" fmla="*/ 44072 h 936255"/>
              <a:gd name="connsiteX2" fmla="*/ 1177174 w 1866290"/>
              <a:gd name="connsiteY2" fmla="*/ 0 h 936255"/>
              <a:gd name="connsiteX3" fmla="*/ 1866290 w 1866290"/>
              <a:gd name="connsiteY3" fmla="*/ 936255 h 936255"/>
              <a:gd name="connsiteX4" fmla="*/ 0 w 1866290"/>
              <a:gd name="connsiteY4" fmla="*/ 774157 h 936255"/>
              <a:gd name="connsiteX0" fmla="*/ 0 w 1829791"/>
              <a:gd name="connsiteY0" fmla="*/ 792301 h 936255"/>
              <a:gd name="connsiteX1" fmla="*/ 756040 w 1829791"/>
              <a:gd name="connsiteY1" fmla="*/ 44072 h 936255"/>
              <a:gd name="connsiteX2" fmla="*/ 1140675 w 1829791"/>
              <a:gd name="connsiteY2" fmla="*/ 0 h 936255"/>
              <a:gd name="connsiteX3" fmla="*/ 1829791 w 1829791"/>
              <a:gd name="connsiteY3" fmla="*/ 936255 h 936255"/>
              <a:gd name="connsiteX4" fmla="*/ 0 w 1829791"/>
              <a:gd name="connsiteY4" fmla="*/ 792301 h 936255"/>
              <a:gd name="connsiteX0" fmla="*/ 10641 w 1840432"/>
              <a:gd name="connsiteY0" fmla="*/ 792301 h 936255"/>
              <a:gd name="connsiteX1" fmla="*/ 766681 w 1840432"/>
              <a:gd name="connsiteY1" fmla="*/ 44072 h 936255"/>
              <a:gd name="connsiteX2" fmla="*/ 1151316 w 1840432"/>
              <a:gd name="connsiteY2" fmla="*/ 0 h 936255"/>
              <a:gd name="connsiteX3" fmla="*/ 1840432 w 1840432"/>
              <a:gd name="connsiteY3" fmla="*/ 936255 h 936255"/>
              <a:gd name="connsiteX4" fmla="*/ 10641 w 1840432"/>
              <a:gd name="connsiteY4" fmla="*/ 792301 h 936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0432" h="936255">
                <a:moveTo>
                  <a:pt x="10641" y="792301"/>
                </a:moveTo>
                <a:cubicBezTo>
                  <a:pt x="-90212" y="634994"/>
                  <a:pt x="553618" y="181269"/>
                  <a:pt x="766681" y="44072"/>
                </a:cubicBezTo>
                <a:lnTo>
                  <a:pt x="1151316" y="0"/>
                </a:lnTo>
                <a:lnTo>
                  <a:pt x="1840432" y="936255"/>
                </a:lnTo>
                <a:lnTo>
                  <a:pt x="10641" y="792301"/>
                </a:lnTo>
                <a:close/>
              </a:path>
            </a:pathLst>
          </a:cu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68AB63B-205C-4321-96FD-13F96D16DE95}"/>
              </a:ext>
            </a:extLst>
          </p:cNvPr>
          <p:cNvSpPr/>
          <p:nvPr/>
        </p:nvSpPr>
        <p:spPr bwMode="auto">
          <a:xfrm>
            <a:off x="7472927" y="3310054"/>
            <a:ext cx="724069" cy="889821"/>
          </a:xfrm>
          <a:custGeom>
            <a:avLst/>
            <a:gdLst>
              <a:gd name="connsiteX0" fmla="*/ 0 w 1264920"/>
              <a:gd name="connsiteY0" fmla="*/ 525780 h 1554480"/>
              <a:gd name="connsiteX1" fmla="*/ 320040 w 1264920"/>
              <a:gd name="connsiteY1" fmla="*/ 91440 h 1554480"/>
              <a:gd name="connsiteX2" fmla="*/ 1264920 w 1264920"/>
              <a:gd name="connsiteY2" fmla="*/ 0 h 1554480"/>
              <a:gd name="connsiteX3" fmla="*/ 441960 w 1264920"/>
              <a:gd name="connsiteY3" fmla="*/ 1554480 h 1554480"/>
              <a:gd name="connsiteX4" fmla="*/ 0 w 1264920"/>
              <a:gd name="connsiteY4" fmla="*/ 525780 h 1554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4920" h="1554480">
                <a:moveTo>
                  <a:pt x="0" y="525780"/>
                </a:moveTo>
                <a:lnTo>
                  <a:pt x="320040" y="91440"/>
                </a:lnTo>
                <a:lnTo>
                  <a:pt x="1264920" y="0"/>
                </a:lnTo>
                <a:lnTo>
                  <a:pt x="441960" y="1554480"/>
                </a:lnTo>
                <a:lnTo>
                  <a:pt x="0" y="525780"/>
                </a:lnTo>
                <a:close/>
              </a:path>
            </a:pathLst>
          </a:cu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F23BA05-CBBA-453D-BF2C-B59D51D279DB}"/>
              </a:ext>
            </a:extLst>
          </p:cNvPr>
          <p:cNvSpPr/>
          <p:nvPr/>
        </p:nvSpPr>
        <p:spPr bwMode="auto">
          <a:xfrm>
            <a:off x="7497281" y="3166112"/>
            <a:ext cx="693536" cy="486711"/>
          </a:xfrm>
          <a:custGeom>
            <a:avLst/>
            <a:gdLst>
              <a:gd name="connsiteX0" fmla="*/ 0 w 1211580"/>
              <a:gd name="connsiteY0" fmla="*/ 358140 h 891540"/>
              <a:gd name="connsiteX1" fmla="*/ 205740 w 1211580"/>
              <a:gd name="connsiteY1" fmla="*/ 891540 h 891540"/>
              <a:gd name="connsiteX2" fmla="*/ 1211580 w 1211580"/>
              <a:gd name="connsiteY2" fmla="*/ 251460 h 891540"/>
              <a:gd name="connsiteX3" fmla="*/ 960120 w 1211580"/>
              <a:gd name="connsiteY3" fmla="*/ 0 h 891540"/>
              <a:gd name="connsiteX4" fmla="*/ 0 w 1211580"/>
              <a:gd name="connsiteY4" fmla="*/ 358140 h 891540"/>
              <a:gd name="connsiteX0" fmla="*/ 0 w 1211580"/>
              <a:gd name="connsiteY0" fmla="*/ 358140 h 850265"/>
              <a:gd name="connsiteX1" fmla="*/ 193040 w 1211580"/>
              <a:gd name="connsiteY1" fmla="*/ 850265 h 850265"/>
              <a:gd name="connsiteX2" fmla="*/ 1211580 w 1211580"/>
              <a:gd name="connsiteY2" fmla="*/ 251460 h 850265"/>
              <a:gd name="connsiteX3" fmla="*/ 960120 w 1211580"/>
              <a:gd name="connsiteY3" fmla="*/ 0 h 850265"/>
              <a:gd name="connsiteX4" fmla="*/ 0 w 1211580"/>
              <a:gd name="connsiteY4" fmla="*/ 358140 h 850265"/>
              <a:gd name="connsiteX0" fmla="*/ 0 w 1211580"/>
              <a:gd name="connsiteY0" fmla="*/ 358140 h 850265"/>
              <a:gd name="connsiteX1" fmla="*/ 193040 w 1211580"/>
              <a:gd name="connsiteY1" fmla="*/ 850265 h 850265"/>
              <a:gd name="connsiteX2" fmla="*/ 1211580 w 1211580"/>
              <a:gd name="connsiteY2" fmla="*/ 251460 h 850265"/>
              <a:gd name="connsiteX3" fmla="*/ 960120 w 1211580"/>
              <a:gd name="connsiteY3" fmla="*/ 0 h 850265"/>
              <a:gd name="connsiteX4" fmla="*/ 76200 w 1211580"/>
              <a:gd name="connsiteY4" fmla="*/ 349886 h 850265"/>
              <a:gd name="connsiteX5" fmla="*/ 0 w 1211580"/>
              <a:gd name="connsiteY5" fmla="*/ 358140 h 850265"/>
              <a:gd name="connsiteX0" fmla="*/ 0 w 1211580"/>
              <a:gd name="connsiteY0" fmla="*/ 358140 h 850265"/>
              <a:gd name="connsiteX1" fmla="*/ 193040 w 1211580"/>
              <a:gd name="connsiteY1" fmla="*/ 850265 h 850265"/>
              <a:gd name="connsiteX2" fmla="*/ 1211580 w 1211580"/>
              <a:gd name="connsiteY2" fmla="*/ 251460 h 850265"/>
              <a:gd name="connsiteX3" fmla="*/ 960120 w 1211580"/>
              <a:gd name="connsiteY3" fmla="*/ 0 h 850265"/>
              <a:gd name="connsiteX4" fmla="*/ 76200 w 1211580"/>
              <a:gd name="connsiteY4" fmla="*/ 349886 h 850265"/>
              <a:gd name="connsiteX5" fmla="*/ 0 w 1211580"/>
              <a:gd name="connsiteY5" fmla="*/ 358140 h 850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1580" h="850265">
                <a:moveTo>
                  <a:pt x="0" y="358140"/>
                </a:moveTo>
                <a:lnTo>
                  <a:pt x="193040" y="850265"/>
                </a:lnTo>
                <a:lnTo>
                  <a:pt x="1211580" y="251460"/>
                </a:lnTo>
                <a:lnTo>
                  <a:pt x="960120" y="0"/>
                </a:lnTo>
                <a:cubicBezTo>
                  <a:pt x="661247" y="110279"/>
                  <a:pt x="375073" y="239607"/>
                  <a:pt x="76200" y="349886"/>
                </a:cubicBezTo>
                <a:cubicBezTo>
                  <a:pt x="50800" y="365337"/>
                  <a:pt x="25400" y="355389"/>
                  <a:pt x="0" y="358140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08257F4-5177-40A6-9254-0E41034F2FB1}"/>
              </a:ext>
            </a:extLst>
          </p:cNvPr>
          <p:cNvSpPr/>
          <p:nvPr/>
        </p:nvSpPr>
        <p:spPr bwMode="auto">
          <a:xfrm>
            <a:off x="7433670" y="3370029"/>
            <a:ext cx="298061" cy="1021858"/>
          </a:xfrm>
          <a:custGeom>
            <a:avLst/>
            <a:gdLst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48938 w 520700"/>
              <a:gd name="connsiteY3" fmla="*/ 496984 h 1784350"/>
              <a:gd name="connsiteX4" fmla="*/ 79375 w 520700"/>
              <a:gd name="connsiteY4" fmla="*/ 422275 h 1784350"/>
              <a:gd name="connsiteX5" fmla="*/ 520700 w 520700"/>
              <a:gd name="connsiteY5" fmla="*/ 1444625 h 1784350"/>
              <a:gd name="connsiteX6" fmla="*/ 406400 w 520700"/>
              <a:gd name="connsiteY6" fmla="*/ 1416050 h 1784350"/>
              <a:gd name="connsiteX7" fmla="*/ 146050 w 520700"/>
              <a:gd name="connsiteY7" fmla="*/ 1689100 h 1784350"/>
              <a:gd name="connsiteX8" fmla="*/ 149225 w 520700"/>
              <a:gd name="connsiteY8" fmla="*/ 1784350 h 1784350"/>
              <a:gd name="connsiteX9" fmla="*/ 3175 w 520700"/>
              <a:gd name="connsiteY9" fmla="*/ 1784350 h 1784350"/>
              <a:gd name="connsiteX10" fmla="*/ 9369 w 520700"/>
              <a:gd name="connsiteY10" fmla="*/ 623051 h 1784350"/>
              <a:gd name="connsiteX11" fmla="*/ 0 w 520700"/>
              <a:gd name="connsiteY11" fmla="*/ 2381 h 1784350"/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46050 w 520700"/>
              <a:gd name="connsiteY6" fmla="*/ 1689100 h 1784350"/>
              <a:gd name="connsiteX7" fmla="*/ 149225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1919 w 520700"/>
              <a:gd name="connsiteY11" fmla="*/ 0 h 1784350"/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50813 w 520700"/>
              <a:gd name="connsiteY6" fmla="*/ 1693862 h 1784350"/>
              <a:gd name="connsiteX7" fmla="*/ 149225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1919 w 520700"/>
              <a:gd name="connsiteY11" fmla="*/ 0 h 1784350"/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50813 w 520700"/>
              <a:gd name="connsiteY6" fmla="*/ 1693862 h 1784350"/>
              <a:gd name="connsiteX7" fmla="*/ 153988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1919 w 520700"/>
              <a:gd name="connsiteY11" fmla="*/ 0 h 1784350"/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53988 w 520700"/>
              <a:gd name="connsiteY6" fmla="*/ 1784350 h 1784350"/>
              <a:gd name="connsiteX7" fmla="*/ 3175 w 520700"/>
              <a:gd name="connsiteY7" fmla="*/ 1784350 h 1784350"/>
              <a:gd name="connsiteX8" fmla="*/ 9369 w 520700"/>
              <a:gd name="connsiteY8" fmla="*/ 623051 h 1784350"/>
              <a:gd name="connsiteX9" fmla="*/ 0 w 520700"/>
              <a:gd name="connsiteY9" fmla="*/ 2381 h 1784350"/>
              <a:gd name="connsiteX10" fmla="*/ 111919 w 520700"/>
              <a:gd name="connsiteY10" fmla="*/ 0 h 1784350"/>
              <a:gd name="connsiteX0" fmla="*/ 111919 w 520700"/>
              <a:gd name="connsiteY0" fmla="*/ 0 h 1794669"/>
              <a:gd name="connsiteX1" fmla="*/ 204788 w 520700"/>
              <a:gd name="connsiteY1" fmla="*/ 238125 h 1794669"/>
              <a:gd name="connsiteX2" fmla="*/ 71438 w 520700"/>
              <a:gd name="connsiteY2" fmla="*/ 419100 h 1794669"/>
              <a:gd name="connsiteX3" fmla="*/ 79375 w 520700"/>
              <a:gd name="connsiteY3" fmla="*/ 422275 h 1794669"/>
              <a:gd name="connsiteX4" fmla="*/ 520700 w 520700"/>
              <a:gd name="connsiteY4" fmla="*/ 1444625 h 1794669"/>
              <a:gd name="connsiteX5" fmla="*/ 304006 w 520700"/>
              <a:gd name="connsiteY5" fmla="*/ 1794669 h 1794669"/>
              <a:gd name="connsiteX6" fmla="*/ 153988 w 520700"/>
              <a:gd name="connsiteY6" fmla="*/ 1784350 h 1794669"/>
              <a:gd name="connsiteX7" fmla="*/ 3175 w 520700"/>
              <a:gd name="connsiteY7" fmla="*/ 1784350 h 1794669"/>
              <a:gd name="connsiteX8" fmla="*/ 9369 w 520700"/>
              <a:gd name="connsiteY8" fmla="*/ 623051 h 1794669"/>
              <a:gd name="connsiteX9" fmla="*/ 0 w 520700"/>
              <a:gd name="connsiteY9" fmla="*/ 2381 h 1794669"/>
              <a:gd name="connsiteX10" fmla="*/ 111919 w 520700"/>
              <a:gd name="connsiteY10" fmla="*/ 0 h 1794669"/>
              <a:gd name="connsiteX0" fmla="*/ 111919 w 520700"/>
              <a:gd name="connsiteY0" fmla="*/ 0 h 1794669"/>
              <a:gd name="connsiteX1" fmla="*/ 204788 w 520700"/>
              <a:gd name="connsiteY1" fmla="*/ 238125 h 1794669"/>
              <a:gd name="connsiteX2" fmla="*/ 71438 w 520700"/>
              <a:gd name="connsiteY2" fmla="*/ 419100 h 1794669"/>
              <a:gd name="connsiteX3" fmla="*/ 79375 w 520700"/>
              <a:gd name="connsiteY3" fmla="*/ 422275 h 1794669"/>
              <a:gd name="connsiteX4" fmla="*/ 520700 w 520700"/>
              <a:gd name="connsiteY4" fmla="*/ 1444625 h 1794669"/>
              <a:gd name="connsiteX5" fmla="*/ 306387 w 520700"/>
              <a:gd name="connsiteY5" fmla="*/ 1794669 h 1794669"/>
              <a:gd name="connsiteX6" fmla="*/ 153988 w 520700"/>
              <a:gd name="connsiteY6" fmla="*/ 1784350 h 1794669"/>
              <a:gd name="connsiteX7" fmla="*/ 3175 w 520700"/>
              <a:gd name="connsiteY7" fmla="*/ 1784350 h 1794669"/>
              <a:gd name="connsiteX8" fmla="*/ 9369 w 520700"/>
              <a:gd name="connsiteY8" fmla="*/ 623051 h 1794669"/>
              <a:gd name="connsiteX9" fmla="*/ 0 w 520700"/>
              <a:gd name="connsiteY9" fmla="*/ 2381 h 1794669"/>
              <a:gd name="connsiteX10" fmla="*/ 111919 w 520700"/>
              <a:gd name="connsiteY10" fmla="*/ 0 h 1794669"/>
              <a:gd name="connsiteX0" fmla="*/ 111919 w 520700"/>
              <a:gd name="connsiteY0" fmla="*/ 0 h 1785144"/>
              <a:gd name="connsiteX1" fmla="*/ 204788 w 520700"/>
              <a:gd name="connsiteY1" fmla="*/ 238125 h 1785144"/>
              <a:gd name="connsiteX2" fmla="*/ 71438 w 520700"/>
              <a:gd name="connsiteY2" fmla="*/ 419100 h 1785144"/>
              <a:gd name="connsiteX3" fmla="*/ 79375 w 520700"/>
              <a:gd name="connsiteY3" fmla="*/ 422275 h 1785144"/>
              <a:gd name="connsiteX4" fmla="*/ 520700 w 520700"/>
              <a:gd name="connsiteY4" fmla="*/ 1444625 h 1785144"/>
              <a:gd name="connsiteX5" fmla="*/ 304006 w 520700"/>
              <a:gd name="connsiteY5" fmla="*/ 1785144 h 1785144"/>
              <a:gd name="connsiteX6" fmla="*/ 153988 w 520700"/>
              <a:gd name="connsiteY6" fmla="*/ 1784350 h 1785144"/>
              <a:gd name="connsiteX7" fmla="*/ 3175 w 520700"/>
              <a:gd name="connsiteY7" fmla="*/ 1784350 h 1785144"/>
              <a:gd name="connsiteX8" fmla="*/ 9369 w 520700"/>
              <a:gd name="connsiteY8" fmla="*/ 623051 h 1785144"/>
              <a:gd name="connsiteX9" fmla="*/ 0 w 520700"/>
              <a:gd name="connsiteY9" fmla="*/ 2381 h 1785144"/>
              <a:gd name="connsiteX10" fmla="*/ 111919 w 520700"/>
              <a:gd name="connsiteY10" fmla="*/ 0 h 1785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0700" h="1785144">
                <a:moveTo>
                  <a:pt x="111919" y="0"/>
                </a:moveTo>
                <a:lnTo>
                  <a:pt x="204788" y="238125"/>
                </a:lnTo>
                <a:lnTo>
                  <a:pt x="71438" y="419100"/>
                </a:lnTo>
                <a:lnTo>
                  <a:pt x="79375" y="422275"/>
                </a:lnTo>
                <a:lnTo>
                  <a:pt x="520700" y="1444625"/>
                </a:lnTo>
                <a:lnTo>
                  <a:pt x="304006" y="1785144"/>
                </a:lnTo>
                <a:lnTo>
                  <a:pt x="153988" y="1784350"/>
                </a:lnTo>
                <a:lnTo>
                  <a:pt x="3175" y="1784350"/>
                </a:lnTo>
                <a:cubicBezTo>
                  <a:pt x="5240" y="1397250"/>
                  <a:pt x="7304" y="1010151"/>
                  <a:pt x="9369" y="623051"/>
                </a:cubicBezTo>
                <a:lnTo>
                  <a:pt x="0" y="2381"/>
                </a:lnTo>
                <a:lnTo>
                  <a:pt x="111919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4C2B4FC-96C4-446F-80B7-9BEE484538F8}"/>
              </a:ext>
            </a:extLst>
          </p:cNvPr>
          <p:cNvSpPr/>
          <p:nvPr/>
        </p:nvSpPr>
        <p:spPr bwMode="auto">
          <a:xfrm flipH="1">
            <a:off x="7146514" y="3370029"/>
            <a:ext cx="298061" cy="1021403"/>
          </a:xfrm>
          <a:custGeom>
            <a:avLst/>
            <a:gdLst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48938 w 520700"/>
              <a:gd name="connsiteY3" fmla="*/ 496984 h 1784350"/>
              <a:gd name="connsiteX4" fmla="*/ 79375 w 520700"/>
              <a:gd name="connsiteY4" fmla="*/ 422275 h 1784350"/>
              <a:gd name="connsiteX5" fmla="*/ 520700 w 520700"/>
              <a:gd name="connsiteY5" fmla="*/ 1444625 h 1784350"/>
              <a:gd name="connsiteX6" fmla="*/ 406400 w 520700"/>
              <a:gd name="connsiteY6" fmla="*/ 1416050 h 1784350"/>
              <a:gd name="connsiteX7" fmla="*/ 146050 w 520700"/>
              <a:gd name="connsiteY7" fmla="*/ 1689100 h 1784350"/>
              <a:gd name="connsiteX8" fmla="*/ 149225 w 520700"/>
              <a:gd name="connsiteY8" fmla="*/ 1784350 h 1784350"/>
              <a:gd name="connsiteX9" fmla="*/ 3175 w 520700"/>
              <a:gd name="connsiteY9" fmla="*/ 1784350 h 1784350"/>
              <a:gd name="connsiteX10" fmla="*/ 9369 w 520700"/>
              <a:gd name="connsiteY10" fmla="*/ 623051 h 1784350"/>
              <a:gd name="connsiteX11" fmla="*/ 0 w 520700"/>
              <a:gd name="connsiteY11" fmla="*/ 2381 h 1784350"/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46050 w 520700"/>
              <a:gd name="connsiteY6" fmla="*/ 1689100 h 1784350"/>
              <a:gd name="connsiteX7" fmla="*/ 149225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1919 w 520700"/>
              <a:gd name="connsiteY11" fmla="*/ 0 h 1784350"/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50813 w 520700"/>
              <a:gd name="connsiteY6" fmla="*/ 1693862 h 1784350"/>
              <a:gd name="connsiteX7" fmla="*/ 149225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1919 w 520700"/>
              <a:gd name="connsiteY11" fmla="*/ 0 h 1784350"/>
              <a:gd name="connsiteX0" fmla="*/ 111919 w 520700"/>
              <a:gd name="connsiteY0" fmla="*/ 0 h 1784350"/>
              <a:gd name="connsiteX1" fmla="*/ 204788 w 520700"/>
              <a:gd name="connsiteY1" fmla="*/ 238125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50813 w 520700"/>
              <a:gd name="connsiteY6" fmla="*/ 1693862 h 1784350"/>
              <a:gd name="connsiteX7" fmla="*/ 153988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1919 w 520700"/>
              <a:gd name="connsiteY11" fmla="*/ 0 h 1784350"/>
              <a:gd name="connsiteX0" fmla="*/ 111919 w 520700"/>
              <a:gd name="connsiteY0" fmla="*/ 0 h 1784350"/>
              <a:gd name="connsiteX1" fmla="*/ 207169 w 520700"/>
              <a:gd name="connsiteY1" fmla="*/ 269081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50813 w 520700"/>
              <a:gd name="connsiteY6" fmla="*/ 1693862 h 1784350"/>
              <a:gd name="connsiteX7" fmla="*/ 153988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1919 w 520700"/>
              <a:gd name="connsiteY11" fmla="*/ 0 h 1784350"/>
              <a:gd name="connsiteX0" fmla="*/ 111919 w 520700"/>
              <a:gd name="connsiteY0" fmla="*/ 0 h 1784350"/>
              <a:gd name="connsiteX1" fmla="*/ 207169 w 520700"/>
              <a:gd name="connsiteY1" fmla="*/ 269081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50813 w 520700"/>
              <a:gd name="connsiteY6" fmla="*/ 1693862 h 1784350"/>
              <a:gd name="connsiteX7" fmla="*/ 153988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1919 w 520700"/>
              <a:gd name="connsiteY11" fmla="*/ 0 h 1784350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71438 w 520700"/>
              <a:gd name="connsiteY2" fmla="*/ 419100 h 1784350"/>
              <a:gd name="connsiteX3" fmla="*/ 79375 w 520700"/>
              <a:gd name="connsiteY3" fmla="*/ 422275 h 1784350"/>
              <a:gd name="connsiteX4" fmla="*/ 520700 w 520700"/>
              <a:gd name="connsiteY4" fmla="*/ 1444625 h 1784350"/>
              <a:gd name="connsiteX5" fmla="*/ 406400 w 520700"/>
              <a:gd name="connsiteY5" fmla="*/ 1416050 h 1784350"/>
              <a:gd name="connsiteX6" fmla="*/ 150813 w 520700"/>
              <a:gd name="connsiteY6" fmla="*/ 1693862 h 1784350"/>
              <a:gd name="connsiteX7" fmla="*/ 153988 w 520700"/>
              <a:gd name="connsiteY7" fmla="*/ 1784350 h 1784350"/>
              <a:gd name="connsiteX8" fmla="*/ 3175 w 520700"/>
              <a:gd name="connsiteY8" fmla="*/ 1784350 h 1784350"/>
              <a:gd name="connsiteX9" fmla="*/ 9369 w 520700"/>
              <a:gd name="connsiteY9" fmla="*/ 623051 h 1784350"/>
              <a:gd name="connsiteX10" fmla="*/ 0 w 520700"/>
              <a:gd name="connsiteY10" fmla="*/ 2381 h 1784350"/>
              <a:gd name="connsiteX11" fmla="*/ 119062 w 520700"/>
              <a:gd name="connsiteY11" fmla="*/ 0 h 1784350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79375 w 520700"/>
              <a:gd name="connsiteY2" fmla="*/ 422275 h 1784350"/>
              <a:gd name="connsiteX3" fmla="*/ 520700 w 520700"/>
              <a:gd name="connsiteY3" fmla="*/ 1444625 h 1784350"/>
              <a:gd name="connsiteX4" fmla="*/ 406400 w 520700"/>
              <a:gd name="connsiteY4" fmla="*/ 1416050 h 1784350"/>
              <a:gd name="connsiteX5" fmla="*/ 150813 w 520700"/>
              <a:gd name="connsiteY5" fmla="*/ 1693862 h 1784350"/>
              <a:gd name="connsiteX6" fmla="*/ 153988 w 520700"/>
              <a:gd name="connsiteY6" fmla="*/ 1784350 h 1784350"/>
              <a:gd name="connsiteX7" fmla="*/ 3175 w 520700"/>
              <a:gd name="connsiteY7" fmla="*/ 1784350 h 1784350"/>
              <a:gd name="connsiteX8" fmla="*/ 9369 w 520700"/>
              <a:gd name="connsiteY8" fmla="*/ 623051 h 1784350"/>
              <a:gd name="connsiteX9" fmla="*/ 0 w 520700"/>
              <a:gd name="connsiteY9" fmla="*/ 2381 h 1784350"/>
              <a:gd name="connsiteX10" fmla="*/ 119062 w 520700"/>
              <a:gd name="connsiteY10" fmla="*/ 0 h 1784350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69850 w 520700"/>
              <a:gd name="connsiteY2" fmla="*/ 419894 h 1784350"/>
              <a:gd name="connsiteX3" fmla="*/ 520700 w 520700"/>
              <a:gd name="connsiteY3" fmla="*/ 1444625 h 1784350"/>
              <a:gd name="connsiteX4" fmla="*/ 406400 w 520700"/>
              <a:gd name="connsiteY4" fmla="*/ 1416050 h 1784350"/>
              <a:gd name="connsiteX5" fmla="*/ 150813 w 520700"/>
              <a:gd name="connsiteY5" fmla="*/ 1693862 h 1784350"/>
              <a:gd name="connsiteX6" fmla="*/ 153988 w 520700"/>
              <a:gd name="connsiteY6" fmla="*/ 1784350 h 1784350"/>
              <a:gd name="connsiteX7" fmla="*/ 3175 w 520700"/>
              <a:gd name="connsiteY7" fmla="*/ 1784350 h 1784350"/>
              <a:gd name="connsiteX8" fmla="*/ 9369 w 520700"/>
              <a:gd name="connsiteY8" fmla="*/ 623051 h 1784350"/>
              <a:gd name="connsiteX9" fmla="*/ 0 w 520700"/>
              <a:gd name="connsiteY9" fmla="*/ 2381 h 1784350"/>
              <a:gd name="connsiteX10" fmla="*/ 119062 w 520700"/>
              <a:gd name="connsiteY10" fmla="*/ 0 h 1784350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69850 w 520700"/>
              <a:gd name="connsiteY2" fmla="*/ 419894 h 1784350"/>
              <a:gd name="connsiteX3" fmla="*/ 520700 w 520700"/>
              <a:gd name="connsiteY3" fmla="*/ 1444625 h 1784350"/>
              <a:gd name="connsiteX4" fmla="*/ 332582 w 520700"/>
              <a:gd name="connsiteY4" fmla="*/ 1782762 h 1784350"/>
              <a:gd name="connsiteX5" fmla="*/ 150813 w 520700"/>
              <a:gd name="connsiteY5" fmla="*/ 1693862 h 1784350"/>
              <a:gd name="connsiteX6" fmla="*/ 153988 w 520700"/>
              <a:gd name="connsiteY6" fmla="*/ 1784350 h 1784350"/>
              <a:gd name="connsiteX7" fmla="*/ 3175 w 520700"/>
              <a:gd name="connsiteY7" fmla="*/ 1784350 h 1784350"/>
              <a:gd name="connsiteX8" fmla="*/ 9369 w 520700"/>
              <a:gd name="connsiteY8" fmla="*/ 623051 h 1784350"/>
              <a:gd name="connsiteX9" fmla="*/ 0 w 520700"/>
              <a:gd name="connsiteY9" fmla="*/ 2381 h 1784350"/>
              <a:gd name="connsiteX10" fmla="*/ 119062 w 520700"/>
              <a:gd name="connsiteY10" fmla="*/ 0 h 1784350"/>
              <a:gd name="connsiteX0" fmla="*/ 119062 w 520700"/>
              <a:gd name="connsiteY0" fmla="*/ 0 h 1784796"/>
              <a:gd name="connsiteX1" fmla="*/ 207169 w 520700"/>
              <a:gd name="connsiteY1" fmla="*/ 269081 h 1784796"/>
              <a:gd name="connsiteX2" fmla="*/ 69850 w 520700"/>
              <a:gd name="connsiteY2" fmla="*/ 419894 h 1784796"/>
              <a:gd name="connsiteX3" fmla="*/ 520700 w 520700"/>
              <a:gd name="connsiteY3" fmla="*/ 1444625 h 1784796"/>
              <a:gd name="connsiteX4" fmla="*/ 332582 w 520700"/>
              <a:gd name="connsiteY4" fmla="*/ 1782762 h 1784796"/>
              <a:gd name="connsiteX5" fmla="*/ 210344 w 520700"/>
              <a:gd name="connsiteY5" fmla="*/ 1774824 h 1784796"/>
              <a:gd name="connsiteX6" fmla="*/ 153988 w 520700"/>
              <a:gd name="connsiteY6" fmla="*/ 1784350 h 1784796"/>
              <a:gd name="connsiteX7" fmla="*/ 3175 w 520700"/>
              <a:gd name="connsiteY7" fmla="*/ 1784350 h 1784796"/>
              <a:gd name="connsiteX8" fmla="*/ 9369 w 520700"/>
              <a:gd name="connsiteY8" fmla="*/ 623051 h 1784796"/>
              <a:gd name="connsiteX9" fmla="*/ 0 w 520700"/>
              <a:gd name="connsiteY9" fmla="*/ 2381 h 1784796"/>
              <a:gd name="connsiteX10" fmla="*/ 119062 w 520700"/>
              <a:gd name="connsiteY10" fmla="*/ 0 h 1784796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69850 w 520700"/>
              <a:gd name="connsiteY2" fmla="*/ 419894 h 1784350"/>
              <a:gd name="connsiteX3" fmla="*/ 520700 w 520700"/>
              <a:gd name="connsiteY3" fmla="*/ 1444625 h 1784350"/>
              <a:gd name="connsiteX4" fmla="*/ 332582 w 520700"/>
              <a:gd name="connsiteY4" fmla="*/ 1782762 h 1784350"/>
              <a:gd name="connsiteX5" fmla="*/ 153988 w 520700"/>
              <a:gd name="connsiteY5" fmla="*/ 1784350 h 1784350"/>
              <a:gd name="connsiteX6" fmla="*/ 3175 w 520700"/>
              <a:gd name="connsiteY6" fmla="*/ 1784350 h 1784350"/>
              <a:gd name="connsiteX7" fmla="*/ 9369 w 520700"/>
              <a:gd name="connsiteY7" fmla="*/ 623051 h 1784350"/>
              <a:gd name="connsiteX8" fmla="*/ 0 w 520700"/>
              <a:gd name="connsiteY8" fmla="*/ 2381 h 1784350"/>
              <a:gd name="connsiteX9" fmla="*/ 119062 w 520700"/>
              <a:gd name="connsiteY9" fmla="*/ 0 h 1784350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69850 w 520700"/>
              <a:gd name="connsiteY2" fmla="*/ 419894 h 1784350"/>
              <a:gd name="connsiteX3" fmla="*/ 520700 w 520700"/>
              <a:gd name="connsiteY3" fmla="*/ 1444625 h 1784350"/>
              <a:gd name="connsiteX4" fmla="*/ 332582 w 520700"/>
              <a:gd name="connsiteY4" fmla="*/ 1782762 h 1784350"/>
              <a:gd name="connsiteX5" fmla="*/ 153988 w 520700"/>
              <a:gd name="connsiteY5" fmla="*/ 1784350 h 1784350"/>
              <a:gd name="connsiteX6" fmla="*/ 3175 w 520700"/>
              <a:gd name="connsiteY6" fmla="*/ 1784350 h 1784350"/>
              <a:gd name="connsiteX7" fmla="*/ 9369 w 520700"/>
              <a:gd name="connsiteY7" fmla="*/ 623051 h 1784350"/>
              <a:gd name="connsiteX8" fmla="*/ 0 w 520700"/>
              <a:gd name="connsiteY8" fmla="*/ 2381 h 1784350"/>
              <a:gd name="connsiteX9" fmla="*/ 119062 w 520700"/>
              <a:gd name="connsiteY9" fmla="*/ 0 h 1784350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69850 w 520700"/>
              <a:gd name="connsiteY2" fmla="*/ 419894 h 1784350"/>
              <a:gd name="connsiteX3" fmla="*/ 520700 w 520700"/>
              <a:gd name="connsiteY3" fmla="*/ 1444625 h 1784350"/>
              <a:gd name="connsiteX4" fmla="*/ 332582 w 520700"/>
              <a:gd name="connsiteY4" fmla="*/ 1782762 h 1784350"/>
              <a:gd name="connsiteX5" fmla="*/ 153988 w 520700"/>
              <a:gd name="connsiteY5" fmla="*/ 1784350 h 1784350"/>
              <a:gd name="connsiteX6" fmla="*/ 3175 w 520700"/>
              <a:gd name="connsiteY6" fmla="*/ 1784350 h 1784350"/>
              <a:gd name="connsiteX7" fmla="*/ 9369 w 520700"/>
              <a:gd name="connsiteY7" fmla="*/ 623051 h 1784350"/>
              <a:gd name="connsiteX8" fmla="*/ 0 w 520700"/>
              <a:gd name="connsiteY8" fmla="*/ 2381 h 1784350"/>
              <a:gd name="connsiteX9" fmla="*/ 119062 w 520700"/>
              <a:gd name="connsiteY9" fmla="*/ 0 h 1784350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69850 w 520700"/>
              <a:gd name="connsiteY2" fmla="*/ 419894 h 1784350"/>
              <a:gd name="connsiteX3" fmla="*/ 520700 w 520700"/>
              <a:gd name="connsiteY3" fmla="*/ 1444625 h 1784350"/>
              <a:gd name="connsiteX4" fmla="*/ 332582 w 520700"/>
              <a:gd name="connsiteY4" fmla="*/ 1782762 h 1784350"/>
              <a:gd name="connsiteX5" fmla="*/ 153988 w 520700"/>
              <a:gd name="connsiteY5" fmla="*/ 1784350 h 1784350"/>
              <a:gd name="connsiteX6" fmla="*/ 3175 w 520700"/>
              <a:gd name="connsiteY6" fmla="*/ 1781968 h 1784350"/>
              <a:gd name="connsiteX7" fmla="*/ 9369 w 520700"/>
              <a:gd name="connsiteY7" fmla="*/ 623051 h 1784350"/>
              <a:gd name="connsiteX8" fmla="*/ 0 w 520700"/>
              <a:gd name="connsiteY8" fmla="*/ 2381 h 1784350"/>
              <a:gd name="connsiteX9" fmla="*/ 119062 w 520700"/>
              <a:gd name="connsiteY9" fmla="*/ 0 h 1784350"/>
              <a:gd name="connsiteX0" fmla="*/ 119062 w 520700"/>
              <a:gd name="connsiteY0" fmla="*/ 0 h 1784350"/>
              <a:gd name="connsiteX1" fmla="*/ 207169 w 520700"/>
              <a:gd name="connsiteY1" fmla="*/ 269081 h 1784350"/>
              <a:gd name="connsiteX2" fmla="*/ 69850 w 520700"/>
              <a:gd name="connsiteY2" fmla="*/ 419894 h 1784350"/>
              <a:gd name="connsiteX3" fmla="*/ 520700 w 520700"/>
              <a:gd name="connsiteY3" fmla="*/ 1444625 h 1784350"/>
              <a:gd name="connsiteX4" fmla="*/ 332582 w 520700"/>
              <a:gd name="connsiteY4" fmla="*/ 1782762 h 1784350"/>
              <a:gd name="connsiteX5" fmla="*/ 153988 w 520700"/>
              <a:gd name="connsiteY5" fmla="*/ 1784350 h 1784350"/>
              <a:gd name="connsiteX6" fmla="*/ 3175 w 520700"/>
              <a:gd name="connsiteY6" fmla="*/ 1781968 h 1784350"/>
              <a:gd name="connsiteX7" fmla="*/ 9369 w 520700"/>
              <a:gd name="connsiteY7" fmla="*/ 623051 h 1784350"/>
              <a:gd name="connsiteX8" fmla="*/ 0 w 520700"/>
              <a:gd name="connsiteY8" fmla="*/ 2381 h 1784350"/>
              <a:gd name="connsiteX9" fmla="*/ 119062 w 520700"/>
              <a:gd name="connsiteY9" fmla="*/ 0 h 178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0700" h="1784350">
                <a:moveTo>
                  <a:pt x="119062" y="0"/>
                </a:moveTo>
                <a:lnTo>
                  <a:pt x="207169" y="269081"/>
                </a:lnTo>
                <a:lnTo>
                  <a:pt x="69850" y="419894"/>
                </a:lnTo>
                <a:lnTo>
                  <a:pt x="520700" y="1444625"/>
                </a:lnTo>
                <a:lnTo>
                  <a:pt x="332582" y="1782762"/>
                </a:lnTo>
                <a:lnTo>
                  <a:pt x="153988" y="1784350"/>
                </a:lnTo>
                <a:lnTo>
                  <a:pt x="3175" y="1781968"/>
                </a:lnTo>
                <a:cubicBezTo>
                  <a:pt x="5240" y="1394868"/>
                  <a:pt x="7304" y="1010151"/>
                  <a:pt x="9369" y="623051"/>
                </a:cubicBezTo>
                <a:lnTo>
                  <a:pt x="0" y="2381"/>
                </a:lnTo>
                <a:lnTo>
                  <a:pt x="119062" y="0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42C7AE7-4748-4C72-A397-5317649AB29C}"/>
              </a:ext>
            </a:extLst>
          </p:cNvPr>
          <p:cNvSpPr/>
          <p:nvPr/>
        </p:nvSpPr>
        <p:spPr bwMode="auto">
          <a:xfrm>
            <a:off x="7605419" y="3307328"/>
            <a:ext cx="929622" cy="1085014"/>
          </a:xfrm>
          <a:custGeom>
            <a:avLst/>
            <a:gdLst>
              <a:gd name="connsiteX0" fmla="*/ 1028700 w 1624012"/>
              <a:gd name="connsiteY0" fmla="*/ 0 h 1895475"/>
              <a:gd name="connsiteX1" fmla="*/ 1366837 w 1624012"/>
              <a:gd name="connsiteY1" fmla="*/ 138112 h 1895475"/>
              <a:gd name="connsiteX2" fmla="*/ 1609725 w 1624012"/>
              <a:gd name="connsiteY2" fmla="*/ 671512 h 1895475"/>
              <a:gd name="connsiteX3" fmla="*/ 1409700 w 1624012"/>
              <a:gd name="connsiteY3" fmla="*/ 833437 h 1895475"/>
              <a:gd name="connsiteX4" fmla="*/ 1624012 w 1624012"/>
              <a:gd name="connsiteY4" fmla="*/ 966787 h 1895475"/>
              <a:gd name="connsiteX5" fmla="*/ 809625 w 1624012"/>
              <a:gd name="connsiteY5" fmla="*/ 1895475 h 1895475"/>
              <a:gd name="connsiteX6" fmla="*/ 0 w 1624012"/>
              <a:gd name="connsiteY6" fmla="*/ 1895475 h 1895475"/>
              <a:gd name="connsiteX7" fmla="*/ 1028700 w 1624012"/>
              <a:gd name="connsiteY7" fmla="*/ 0 h 189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4012" h="1895475">
                <a:moveTo>
                  <a:pt x="1028700" y="0"/>
                </a:moveTo>
                <a:lnTo>
                  <a:pt x="1366837" y="138112"/>
                </a:lnTo>
                <a:lnTo>
                  <a:pt x="1609725" y="671512"/>
                </a:lnTo>
                <a:lnTo>
                  <a:pt x="1409700" y="833437"/>
                </a:lnTo>
                <a:lnTo>
                  <a:pt x="1624012" y="966787"/>
                </a:lnTo>
                <a:lnTo>
                  <a:pt x="809625" y="1895475"/>
                </a:lnTo>
                <a:lnTo>
                  <a:pt x="0" y="1895475"/>
                </a:lnTo>
                <a:lnTo>
                  <a:pt x="1028700" y="0"/>
                </a:lnTo>
                <a:close/>
              </a:path>
            </a:pathLst>
          </a:custGeom>
          <a:solidFill>
            <a:srgbClr val="646464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342B7D4-410A-4EBE-AA81-E09578A5576F}"/>
              </a:ext>
            </a:extLst>
          </p:cNvPr>
          <p:cNvSpPr/>
          <p:nvPr/>
        </p:nvSpPr>
        <p:spPr bwMode="auto">
          <a:xfrm>
            <a:off x="5579334" y="3371120"/>
            <a:ext cx="1332549" cy="1021221"/>
          </a:xfrm>
          <a:custGeom>
            <a:avLst/>
            <a:gdLst>
              <a:gd name="connsiteX0" fmla="*/ 0 w 1882140"/>
              <a:gd name="connsiteY0" fmla="*/ 0 h 1249044"/>
              <a:gd name="connsiteX1" fmla="*/ 1882140 w 1882140"/>
              <a:gd name="connsiteY1" fmla="*/ 0 h 1249044"/>
              <a:gd name="connsiteX2" fmla="*/ 1882140 w 1882140"/>
              <a:gd name="connsiteY2" fmla="*/ 1249044 h 1249044"/>
              <a:gd name="connsiteX3" fmla="*/ 0 w 1882140"/>
              <a:gd name="connsiteY3" fmla="*/ 1249044 h 1249044"/>
              <a:gd name="connsiteX4" fmla="*/ 0 w 1882140"/>
              <a:gd name="connsiteY4" fmla="*/ 0 h 12490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882140 w 1882140"/>
              <a:gd name="connsiteY2" fmla="*/ 1782444 h 1782444"/>
              <a:gd name="connsiteX3" fmla="*/ 0 w 1882140"/>
              <a:gd name="connsiteY3" fmla="*/ 1782444 h 1782444"/>
              <a:gd name="connsiteX4" fmla="*/ 0 w 1882140"/>
              <a:gd name="connsiteY4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470660 w 1882140"/>
              <a:gd name="connsiteY2" fmla="*/ 365760 h 1782444"/>
              <a:gd name="connsiteX3" fmla="*/ 1882140 w 1882140"/>
              <a:gd name="connsiteY3" fmla="*/ 1782444 h 1782444"/>
              <a:gd name="connsiteX4" fmla="*/ 0 w 1882140"/>
              <a:gd name="connsiteY4" fmla="*/ 1782444 h 1782444"/>
              <a:gd name="connsiteX5" fmla="*/ 0 w 1882140"/>
              <a:gd name="connsiteY5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356360 w 1882140"/>
              <a:gd name="connsiteY2" fmla="*/ 342900 h 1782444"/>
              <a:gd name="connsiteX3" fmla="*/ 1882140 w 1882140"/>
              <a:gd name="connsiteY3" fmla="*/ 1782444 h 1782444"/>
              <a:gd name="connsiteX4" fmla="*/ 0 w 1882140"/>
              <a:gd name="connsiteY4" fmla="*/ 1782444 h 1782444"/>
              <a:gd name="connsiteX5" fmla="*/ 0 w 1882140"/>
              <a:gd name="connsiteY5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417320 w 1882140"/>
              <a:gd name="connsiteY2" fmla="*/ 495300 h 1782444"/>
              <a:gd name="connsiteX3" fmla="*/ 1882140 w 1882140"/>
              <a:gd name="connsiteY3" fmla="*/ 1782444 h 1782444"/>
              <a:gd name="connsiteX4" fmla="*/ 0 w 1882140"/>
              <a:gd name="connsiteY4" fmla="*/ 1782444 h 1782444"/>
              <a:gd name="connsiteX5" fmla="*/ 0 w 1882140"/>
              <a:gd name="connsiteY5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363980 w 1882140"/>
              <a:gd name="connsiteY2" fmla="*/ 594360 h 1782444"/>
              <a:gd name="connsiteX3" fmla="*/ 1882140 w 1882140"/>
              <a:gd name="connsiteY3" fmla="*/ 1782444 h 1782444"/>
              <a:gd name="connsiteX4" fmla="*/ 0 w 1882140"/>
              <a:gd name="connsiteY4" fmla="*/ 1782444 h 1782444"/>
              <a:gd name="connsiteX5" fmla="*/ 0 w 1882140"/>
              <a:gd name="connsiteY5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234440 w 1882140"/>
              <a:gd name="connsiteY2" fmla="*/ 601980 h 1782444"/>
              <a:gd name="connsiteX3" fmla="*/ 1882140 w 1882140"/>
              <a:gd name="connsiteY3" fmla="*/ 1782444 h 1782444"/>
              <a:gd name="connsiteX4" fmla="*/ 0 w 1882140"/>
              <a:gd name="connsiteY4" fmla="*/ 1782444 h 1782444"/>
              <a:gd name="connsiteX5" fmla="*/ 0 w 1882140"/>
              <a:gd name="connsiteY5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363980 w 1882140"/>
              <a:gd name="connsiteY2" fmla="*/ 601980 h 1782444"/>
              <a:gd name="connsiteX3" fmla="*/ 1882140 w 1882140"/>
              <a:gd name="connsiteY3" fmla="*/ 1782444 h 1782444"/>
              <a:gd name="connsiteX4" fmla="*/ 0 w 1882140"/>
              <a:gd name="connsiteY4" fmla="*/ 1782444 h 1782444"/>
              <a:gd name="connsiteX5" fmla="*/ 0 w 1882140"/>
              <a:gd name="connsiteY5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363980 w 1882140"/>
              <a:gd name="connsiteY2" fmla="*/ 601980 h 1782444"/>
              <a:gd name="connsiteX3" fmla="*/ 1615440 w 1882140"/>
              <a:gd name="connsiteY3" fmla="*/ 754380 h 1782444"/>
              <a:gd name="connsiteX4" fmla="*/ 1882140 w 1882140"/>
              <a:gd name="connsiteY4" fmla="*/ 1782444 h 1782444"/>
              <a:gd name="connsiteX5" fmla="*/ 0 w 1882140"/>
              <a:gd name="connsiteY5" fmla="*/ 1782444 h 1782444"/>
              <a:gd name="connsiteX6" fmla="*/ 0 w 1882140"/>
              <a:gd name="connsiteY6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363980 w 1882140"/>
              <a:gd name="connsiteY2" fmla="*/ 571500 h 1782444"/>
              <a:gd name="connsiteX3" fmla="*/ 1615440 w 1882140"/>
              <a:gd name="connsiteY3" fmla="*/ 754380 h 1782444"/>
              <a:gd name="connsiteX4" fmla="*/ 1882140 w 1882140"/>
              <a:gd name="connsiteY4" fmla="*/ 1782444 h 1782444"/>
              <a:gd name="connsiteX5" fmla="*/ 0 w 1882140"/>
              <a:gd name="connsiteY5" fmla="*/ 1782444 h 1782444"/>
              <a:gd name="connsiteX6" fmla="*/ 0 w 1882140"/>
              <a:gd name="connsiteY6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363980 w 1882140"/>
              <a:gd name="connsiteY2" fmla="*/ 571500 h 1782444"/>
              <a:gd name="connsiteX3" fmla="*/ 1615440 w 1882140"/>
              <a:gd name="connsiteY3" fmla="*/ 754380 h 1782444"/>
              <a:gd name="connsiteX4" fmla="*/ 1463040 w 1882140"/>
              <a:gd name="connsiteY4" fmla="*/ 861060 h 1782444"/>
              <a:gd name="connsiteX5" fmla="*/ 1882140 w 1882140"/>
              <a:gd name="connsiteY5" fmla="*/ 1782444 h 1782444"/>
              <a:gd name="connsiteX6" fmla="*/ 0 w 1882140"/>
              <a:gd name="connsiteY6" fmla="*/ 1782444 h 1782444"/>
              <a:gd name="connsiteX7" fmla="*/ 0 w 1882140"/>
              <a:gd name="connsiteY7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363980 w 1882140"/>
              <a:gd name="connsiteY2" fmla="*/ 571500 h 1782444"/>
              <a:gd name="connsiteX3" fmla="*/ 1615440 w 1882140"/>
              <a:gd name="connsiteY3" fmla="*/ 754380 h 1782444"/>
              <a:gd name="connsiteX4" fmla="*/ 1463040 w 1882140"/>
              <a:gd name="connsiteY4" fmla="*/ 861060 h 1782444"/>
              <a:gd name="connsiteX5" fmla="*/ 1882140 w 1882140"/>
              <a:gd name="connsiteY5" fmla="*/ 1782444 h 1782444"/>
              <a:gd name="connsiteX6" fmla="*/ 0 w 1882140"/>
              <a:gd name="connsiteY6" fmla="*/ 1782444 h 1782444"/>
              <a:gd name="connsiteX7" fmla="*/ 0 w 1882140"/>
              <a:gd name="connsiteY7" fmla="*/ 533400 h 1782444"/>
              <a:gd name="connsiteX0" fmla="*/ 0 w 1882140"/>
              <a:gd name="connsiteY0" fmla="*/ 533400 h 1782444"/>
              <a:gd name="connsiteX1" fmla="*/ 1600200 w 1882140"/>
              <a:gd name="connsiteY1" fmla="*/ 0 h 1782444"/>
              <a:gd name="connsiteX2" fmla="*/ 1363980 w 1882140"/>
              <a:gd name="connsiteY2" fmla="*/ 571500 h 1782444"/>
              <a:gd name="connsiteX3" fmla="*/ 1615440 w 1882140"/>
              <a:gd name="connsiteY3" fmla="*/ 754380 h 1782444"/>
              <a:gd name="connsiteX4" fmla="*/ 1463040 w 1882140"/>
              <a:gd name="connsiteY4" fmla="*/ 861060 h 1782444"/>
              <a:gd name="connsiteX5" fmla="*/ 1363980 w 1882140"/>
              <a:gd name="connsiteY5" fmla="*/ 929640 h 1782444"/>
              <a:gd name="connsiteX6" fmla="*/ 1882140 w 1882140"/>
              <a:gd name="connsiteY6" fmla="*/ 1782444 h 1782444"/>
              <a:gd name="connsiteX7" fmla="*/ 0 w 1882140"/>
              <a:gd name="connsiteY7" fmla="*/ 1782444 h 1782444"/>
              <a:gd name="connsiteX8" fmla="*/ 0 w 1882140"/>
              <a:gd name="connsiteY8" fmla="*/ 533400 h 1782444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615440 w 2308860"/>
              <a:gd name="connsiteY3" fmla="*/ 754380 h 1798320"/>
              <a:gd name="connsiteX4" fmla="*/ 1463040 w 2308860"/>
              <a:gd name="connsiteY4" fmla="*/ 861060 h 1798320"/>
              <a:gd name="connsiteX5" fmla="*/ 2308860 w 2308860"/>
              <a:gd name="connsiteY5" fmla="*/ 1798320 h 1798320"/>
              <a:gd name="connsiteX6" fmla="*/ 1882140 w 2308860"/>
              <a:gd name="connsiteY6" fmla="*/ 1782444 h 1798320"/>
              <a:gd name="connsiteX7" fmla="*/ 0 w 2308860"/>
              <a:gd name="connsiteY7" fmla="*/ 1782444 h 1798320"/>
              <a:gd name="connsiteX8" fmla="*/ 0 w 2308860"/>
              <a:gd name="connsiteY8" fmla="*/ 533400 h 1798320"/>
              <a:gd name="connsiteX0" fmla="*/ 71 w 2308931"/>
              <a:gd name="connsiteY0" fmla="*/ 533400 h 1798320"/>
              <a:gd name="connsiteX1" fmla="*/ 1600271 w 2308931"/>
              <a:gd name="connsiteY1" fmla="*/ 0 h 1798320"/>
              <a:gd name="connsiteX2" fmla="*/ 1364051 w 2308931"/>
              <a:gd name="connsiteY2" fmla="*/ 571500 h 1798320"/>
              <a:gd name="connsiteX3" fmla="*/ 1615511 w 2308931"/>
              <a:gd name="connsiteY3" fmla="*/ 754380 h 1798320"/>
              <a:gd name="connsiteX4" fmla="*/ 1463111 w 2308931"/>
              <a:gd name="connsiteY4" fmla="*/ 861060 h 1798320"/>
              <a:gd name="connsiteX5" fmla="*/ 2308931 w 2308931"/>
              <a:gd name="connsiteY5" fmla="*/ 1798320 h 1798320"/>
              <a:gd name="connsiteX6" fmla="*/ 1882211 w 2308931"/>
              <a:gd name="connsiteY6" fmla="*/ 1782444 h 1798320"/>
              <a:gd name="connsiteX7" fmla="*/ 71 w 2308931"/>
              <a:gd name="connsiteY7" fmla="*/ 1782444 h 1798320"/>
              <a:gd name="connsiteX8" fmla="*/ 61031 w 2308931"/>
              <a:gd name="connsiteY8" fmla="*/ 1165860 h 1798320"/>
              <a:gd name="connsiteX9" fmla="*/ 71 w 2308931"/>
              <a:gd name="connsiteY9" fmla="*/ 533400 h 1798320"/>
              <a:gd name="connsiteX0" fmla="*/ 43 w 2308903"/>
              <a:gd name="connsiteY0" fmla="*/ 533400 h 1798320"/>
              <a:gd name="connsiteX1" fmla="*/ 1600243 w 2308903"/>
              <a:gd name="connsiteY1" fmla="*/ 0 h 1798320"/>
              <a:gd name="connsiteX2" fmla="*/ 1364023 w 2308903"/>
              <a:gd name="connsiteY2" fmla="*/ 571500 h 1798320"/>
              <a:gd name="connsiteX3" fmla="*/ 1615483 w 2308903"/>
              <a:gd name="connsiteY3" fmla="*/ 754380 h 1798320"/>
              <a:gd name="connsiteX4" fmla="*/ 1463083 w 2308903"/>
              <a:gd name="connsiteY4" fmla="*/ 861060 h 1798320"/>
              <a:gd name="connsiteX5" fmla="*/ 2308903 w 2308903"/>
              <a:gd name="connsiteY5" fmla="*/ 1798320 h 1798320"/>
              <a:gd name="connsiteX6" fmla="*/ 1882183 w 2308903"/>
              <a:gd name="connsiteY6" fmla="*/ 1782444 h 1798320"/>
              <a:gd name="connsiteX7" fmla="*/ 43 w 2308903"/>
              <a:gd name="connsiteY7" fmla="*/ 1782444 h 1798320"/>
              <a:gd name="connsiteX8" fmla="*/ 106723 w 2308903"/>
              <a:gd name="connsiteY8" fmla="*/ 1173480 h 1798320"/>
              <a:gd name="connsiteX9" fmla="*/ 43 w 2308903"/>
              <a:gd name="connsiteY9" fmla="*/ 533400 h 1798320"/>
              <a:gd name="connsiteX0" fmla="*/ 32 w 2308892"/>
              <a:gd name="connsiteY0" fmla="*/ 533400 h 1798320"/>
              <a:gd name="connsiteX1" fmla="*/ 1600232 w 2308892"/>
              <a:gd name="connsiteY1" fmla="*/ 0 h 1798320"/>
              <a:gd name="connsiteX2" fmla="*/ 1364012 w 2308892"/>
              <a:gd name="connsiteY2" fmla="*/ 571500 h 1798320"/>
              <a:gd name="connsiteX3" fmla="*/ 1615472 w 2308892"/>
              <a:gd name="connsiteY3" fmla="*/ 754380 h 1798320"/>
              <a:gd name="connsiteX4" fmla="*/ 1463072 w 2308892"/>
              <a:gd name="connsiteY4" fmla="*/ 861060 h 1798320"/>
              <a:gd name="connsiteX5" fmla="*/ 2308892 w 2308892"/>
              <a:gd name="connsiteY5" fmla="*/ 1798320 h 1798320"/>
              <a:gd name="connsiteX6" fmla="*/ 1882172 w 2308892"/>
              <a:gd name="connsiteY6" fmla="*/ 1782444 h 1798320"/>
              <a:gd name="connsiteX7" fmla="*/ 32 w 2308892"/>
              <a:gd name="connsiteY7" fmla="*/ 1782444 h 1798320"/>
              <a:gd name="connsiteX8" fmla="*/ 144812 w 2308892"/>
              <a:gd name="connsiteY8" fmla="*/ 1181100 h 1798320"/>
              <a:gd name="connsiteX9" fmla="*/ 32 w 2308892"/>
              <a:gd name="connsiteY9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615440 w 2308860"/>
              <a:gd name="connsiteY3" fmla="*/ 754380 h 1798320"/>
              <a:gd name="connsiteX4" fmla="*/ 1463040 w 2308860"/>
              <a:gd name="connsiteY4" fmla="*/ 861060 h 1798320"/>
              <a:gd name="connsiteX5" fmla="*/ 2308860 w 2308860"/>
              <a:gd name="connsiteY5" fmla="*/ 1798320 h 1798320"/>
              <a:gd name="connsiteX6" fmla="*/ 1882140 w 2308860"/>
              <a:gd name="connsiteY6" fmla="*/ 1782444 h 1798320"/>
              <a:gd name="connsiteX7" fmla="*/ 91440 w 2308860"/>
              <a:gd name="connsiteY7" fmla="*/ 1774824 h 1798320"/>
              <a:gd name="connsiteX8" fmla="*/ 144780 w 2308860"/>
              <a:gd name="connsiteY8" fmla="*/ 1181100 h 1798320"/>
              <a:gd name="connsiteX9" fmla="*/ 0 w 2308860"/>
              <a:gd name="connsiteY9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615440 w 2308860"/>
              <a:gd name="connsiteY3" fmla="*/ 754380 h 1798320"/>
              <a:gd name="connsiteX4" fmla="*/ 1463040 w 2308860"/>
              <a:gd name="connsiteY4" fmla="*/ 861060 h 1798320"/>
              <a:gd name="connsiteX5" fmla="*/ 2308860 w 2308860"/>
              <a:gd name="connsiteY5" fmla="*/ 1798320 h 1798320"/>
              <a:gd name="connsiteX6" fmla="*/ 1882140 w 2308860"/>
              <a:gd name="connsiteY6" fmla="*/ 1782444 h 1798320"/>
              <a:gd name="connsiteX7" fmla="*/ 91440 w 2308860"/>
              <a:gd name="connsiteY7" fmla="*/ 1774824 h 1798320"/>
              <a:gd name="connsiteX8" fmla="*/ 144780 w 2308860"/>
              <a:gd name="connsiteY8" fmla="*/ 1181100 h 1798320"/>
              <a:gd name="connsiteX9" fmla="*/ 0 w 2308860"/>
              <a:gd name="connsiteY9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615440 w 2308860"/>
              <a:gd name="connsiteY3" fmla="*/ 754380 h 1798320"/>
              <a:gd name="connsiteX4" fmla="*/ 1463040 w 2308860"/>
              <a:gd name="connsiteY4" fmla="*/ 861060 h 1798320"/>
              <a:gd name="connsiteX5" fmla="*/ 2308860 w 2308860"/>
              <a:gd name="connsiteY5" fmla="*/ 1798320 h 1798320"/>
              <a:gd name="connsiteX6" fmla="*/ 1882140 w 2308860"/>
              <a:gd name="connsiteY6" fmla="*/ 1782444 h 1798320"/>
              <a:gd name="connsiteX7" fmla="*/ 91440 w 2308860"/>
              <a:gd name="connsiteY7" fmla="*/ 1774824 h 1798320"/>
              <a:gd name="connsiteX8" fmla="*/ 144780 w 2308860"/>
              <a:gd name="connsiteY8" fmla="*/ 1181100 h 1798320"/>
              <a:gd name="connsiteX9" fmla="*/ 0 w 2308860"/>
              <a:gd name="connsiteY9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479708 w 2308860"/>
              <a:gd name="connsiteY3" fmla="*/ 756762 h 1798320"/>
              <a:gd name="connsiteX4" fmla="*/ 1463040 w 2308860"/>
              <a:gd name="connsiteY4" fmla="*/ 861060 h 1798320"/>
              <a:gd name="connsiteX5" fmla="*/ 2308860 w 2308860"/>
              <a:gd name="connsiteY5" fmla="*/ 1798320 h 1798320"/>
              <a:gd name="connsiteX6" fmla="*/ 1882140 w 2308860"/>
              <a:gd name="connsiteY6" fmla="*/ 1782444 h 1798320"/>
              <a:gd name="connsiteX7" fmla="*/ 91440 w 2308860"/>
              <a:gd name="connsiteY7" fmla="*/ 1774824 h 1798320"/>
              <a:gd name="connsiteX8" fmla="*/ 144780 w 2308860"/>
              <a:gd name="connsiteY8" fmla="*/ 1181100 h 1798320"/>
              <a:gd name="connsiteX9" fmla="*/ 0 w 2308860"/>
              <a:gd name="connsiteY9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522571 w 2308860"/>
              <a:gd name="connsiteY3" fmla="*/ 754381 h 1798320"/>
              <a:gd name="connsiteX4" fmla="*/ 1463040 w 2308860"/>
              <a:gd name="connsiteY4" fmla="*/ 861060 h 1798320"/>
              <a:gd name="connsiteX5" fmla="*/ 2308860 w 2308860"/>
              <a:gd name="connsiteY5" fmla="*/ 1798320 h 1798320"/>
              <a:gd name="connsiteX6" fmla="*/ 1882140 w 2308860"/>
              <a:gd name="connsiteY6" fmla="*/ 1782444 h 1798320"/>
              <a:gd name="connsiteX7" fmla="*/ 91440 w 2308860"/>
              <a:gd name="connsiteY7" fmla="*/ 1774824 h 1798320"/>
              <a:gd name="connsiteX8" fmla="*/ 144780 w 2308860"/>
              <a:gd name="connsiteY8" fmla="*/ 1181100 h 1798320"/>
              <a:gd name="connsiteX9" fmla="*/ 0 w 2308860"/>
              <a:gd name="connsiteY9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522571 w 2308860"/>
              <a:gd name="connsiteY3" fmla="*/ 754381 h 1798320"/>
              <a:gd name="connsiteX4" fmla="*/ 1463040 w 2308860"/>
              <a:gd name="connsiteY4" fmla="*/ 861060 h 1798320"/>
              <a:gd name="connsiteX5" fmla="*/ 2308860 w 2308860"/>
              <a:gd name="connsiteY5" fmla="*/ 1798320 h 1798320"/>
              <a:gd name="connsiteX6" fmla="*/ 1882140 w 2308860"/>
              <a:gd name="connsiteY6" fmla="*/ 1782444 h 1798320"/>
              <a:gd name="connsiteX7" fmla="*/ 91440 w 2308860"/>
              <a:gd name="connsiteY7" fmla="*/ 1774824 h 1798320"/>
              <a:gd name="connsiteX8" fmla="*/ 144780 w 2308860"/>
              <a:gd name="connsiteY8" fmla="*/ 1181100 h 1798320"/>
              <a:gd name="connsiteX9" fmla="*/ 0 w 2308860"/>
              <a:gd name="connsiteY9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463040 w 2308860"/>
              <a:gd name="connsiteY3" fmla="*/ 861060 h 1798320"/>
              <a:gd name="connsiteX4" fmla="*/ 2308860 w 2308860"/>
              <a:gd name="connsiteY4" fmla="*/ 1798320 h 1798320"/>
              <a:gd name="connsiteX5" fmla="*/ 1882140 w 2308860"/>
              <a:gd name="connsiteY5" fmla="*/ 1782444 h 1798320"/>
              <a:gd name="connsiteX6" fmla="*/ 91440 w 2308860"/>
              <a:gd name="connsiteY6" fmla="*/ 1774824 h 1798320"/>
              <a:gd name="connsiteX7" fmla="*/ 144780 w 2308860"/>
              <a:gd name="connsiteY7" fmla="*/ 1181100 h 1798320"/>
              <a:gd name="connsiteX8" fmla="*/ 0 w 2308860"/>
              <a:gd name="connsiteY8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582103 w 2308860"/>
              <a:gd name="connsiteY3" fmla="*/ 738664 h 1798320"/>
              <a:gd name="connsiteX4" fmla="*/ 1463040 w 2308860"/>
              <a:gd name="connsiteY4" fmla="*/ 861060 h 1798320"/>
              <a:gd name="connsiteX5" fmla="*/ 2308860 w 2308860"/>
              <a:gd name="connsiteY5" fmla="*/ 1798320 h 1798320"/>
              <a:gd name="connsiteX6" fmla="*/ 1882140 w 2308860"/>
              <a:gd name="connsiteY6" fmla="*/ 1782444 h 1798320"/>
              <a:gd name="connsiteX7" fmla="*/ 91440 w 2308860"/>
              <a:gd name="connsiteY7" fmla="*/ 1774824 h 1798320"/>
              <a:gd name="connsiteX8" fmla="*/ 144780 w 2308860"/>
              <a:gd name="connsiteY8" fmla="*/ 1181100 h 1798320"/>
              <a:gd name="connsiteX9" fmla="*/ 0 w 2308860"/>
              <a:gd name="connsiteY9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458278 w 2308860"/>
              <a:gd name="connsiteY3" fmla="*/ 610076 h 1798320"/>
              <a:gd name="connsiteX4" fmla="*/ 1582103 w 2308860"/>
              <a:gd name="connsiteY4" fmla="*/ 738664 h 1798320"/>
              <a:gd name="connsiteX5" fmla="*/ 1463040 w 2308860"/>
              <a:gd name="connsiteY5" fmla="*/ 861060 h 1798320"/>
              <a:gd name="connsiteX6" fmla="*/ 2308860 w 2308860"/>
              <a:gd name="connsiteY6" fmla="*/ 1798320 h 1798320"/>
              <a:gd name="connsiteX7" fmla="*/ 1882140 w 2308860"/>
              <a:gd name="connsiteY7" fmla="*/ 1782444 h 1798320"/>
              <a:gd name="connsiteX8" fmla="*/ 91440 w 2308860"/>
              <a:gd name="connsiteY8" fmla="*/ 1774824 h 1798320"/>
              <a:gd name="connsiteX9" fmla="*/ 144780 w 2308860"/>
              <a:gd name="connsiteY9" fmla="*/ 1181100 h 1798320"/>
              <a:gd name="connsiteX10" fmla="*/ 0 w 2308860"/>
              <a:gd name="connsiteY10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63980 w 2308860"/>
              <a:gd name="connsiteY2" fmla="*/ 571500 h 1798320"/>
              <a:gd name="connsiteX3" fmla="*/ 1415415 w 2308860"/>
              <a:gd name="connsiteY3" fmla="*/ 555308 h 1798320"/>
              <a:gd name="connsiteX4" fmla="*/ 1458278 w 2308860"/>
              <a:gd name="connsiteY4" fmla="*/ 610076 h 1798320"/>
              <a:gd name="connsiteX5" fmla="*/ 1582103 w 2308860"/>
              <a:gd name="connsiteY5" fmla="*/ 738664 h 1798320"/>
              <a:gd name="connsiteX6" fmla="*/ 1463040 w 2308860"/>
              <a:gd name="connsiteY6" fmla="*/ 861060 h 1798320"/>
              <a:gd name="connsiteX7" fmla="*/ 2308860 w 2308860"/>
              <a:gd name="connsiteY7" fmla="*/ 1798320 h 1798320"/>
              <a:gd name="connsiteX8" fmla="*/ 1882140 w 2308860"/>
              <a:gd name="connsiteY8" fmla="*/ 1782444 h 1798320"/>
              <a:gd name="connsiteX9" fmla="*/ 91440 w 2308860"/>
              <a:gd name="connsiteY9" fmla="*/ 1774824 h 1798320"/>
              <a:gd name="connsiteX10" fmla="*/ 144780 w 2308860"/>
              <a:gd name="connsiteY10" fmla="*/ 1181100 h 1798320"/>
              <a:gd name="connsiteX11" fmla="*/ 0 w 2308860"/>
              <a:gd name="connsiteY11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99699 w 2308860"/>
              <a:gd name="connsiteY2" fmla="*/ 500063 h 1798320"/>
              <a:gd name="connsiteX3" fmla="*/ 1415415 w 2308860"/>
              <a:gd name="connsiteY3" fmla="*/ 555308 h 1798320"/>
              <a:gd name="connsiteX4" fmla="*/ 1458278 w 2308860"/>
              <a:gd name="connsiteY4" fmla="*/ 610076 h 1798320"/>
              <a:gd name="connsiteX5" fmla="*/ 1582103 w 2308860"/>
              <a:gd name="connsiteY5" fmla="*/ 738664 h 1798320"/>
              <a:gd name="connsiteX6" fmla="*/ 1463040 w 2308860"/>
              <a:gd name="connsiteY6" fmla="*/ 861060 h 1798320"/>
              <a:gd name="connsiteX7" fmla="*/ 2308860 w 2308860"/>
              <a:gd name="connsiteY7" fmla="*/ 1798320 h 1798320"/>
              <a:gd name="connsiteX8" fmla="*/ 1882140 w 2308860"/>
              <a:gd name="connsiteY8" fmla="*/ 1782444 h 1798320"/>
              <a:gd name="connsiteX9" fmla="*/ 91440 w 2308860"/>
              <a:gd name="connsiteY9" fmla="*/ 1774824 h 1798320"/>
              <a:gd name="connsiteX10" fmla="*/ 144780 w 2308860"/>
              <a:gd name="connsiteY10" fmla="*/ 1181100 h 1798320"/>
              <a:gd name="connsiteX11" fmla="*/ 0 w 2308860"/>
              <a:gd name="connsiteY11" fmla="*/ 533400 h 1798320"/>
              <a:gd name="connsiteX0" fmla="*/ 0 w 2308860"/>
              <a:gd name="connsiteY0" fmla="*/ 533400 h 1798320"/>
              <a:gd name="connsiteX1" fmla="*/ 1600200 w 2308860"/>
              <a:gd name="connsiteY1" fmla="*/ 0 h 1798320"/>
              <a:gd name="connsiteX2" fmla="*/ 1399699 w 2308860"/>
              <a:gd name="connsiteY2" fmla="*/ 500063 h 1798320"/>
              <a:gd name="connsiteX3" fmla="*/ 1415415 w 2308860"/>
              <a:gd name="connsiteY3" fmla="*/ 555308 h 1798320"/>
              <a:gd name="connsiteX4" fmla="*/ 1458278 w 2308860"/>
              <a:gd name="connsiteY4" fmla="*/ 610076 h 1798320"/>
              <a:gd name="connsiteX5" fmla="*/ 1582103 w 2308860"/>
              <a:gd name="connsiteY5" fmla="*/ 738664 h 1798320"/>
              <a:gd name="connsiteX6" fmla="*/ 1708308 w 2308860"/>
              <a:gd name="connsiteY6" fmla="*/ 842010 h 1798320"/>
              <a:gd name="connsiteX7" fmla="*/ 2308860 w 2308860"/>
              <a:gd name="connsiteY7" fmla="*/ 1798320 h 1798320"/>
              <a:gd name="connsiteX8" fmla="*/ 1882140 w 2308860"/>
              <a:gd name="connsiteY8" fmla="*/ 1782444 h 1798320"/>
              <a:gd name="connsiteX9" fmla="*/ 91440 w 2308860"/>
              <a:gd name="connsiteY9" fmla="*/ 1774824 h 1798320"/>
              <a:gd name="connsiteX10" fmla="*/ 144780 w 2308860"/>
              <a:gd name="connsiteY10" fmla="*/ 1181100 h 1798320"/>
              <a:gd name="connsiteX11" fmla="*/ 0 w 2308860"/>
              <a:gd name="connsiteY11" fmla="*/ 533400 h 1798320"/>
              <a:gd name="connsiteX0" fmla="*/ 0 w 2306478"/>
              <a:gd name="connsiteY0" fmla="*/ 533400 h 1784032"/>
              <a:gd name="connsiteX1" fmla="*/ 1600200 w 2306478"/>
              <a:gd name="connsiteY1" fmla="*/ 0 h 1784032"/>
              <a:gd name="connsiteX2" fmla="*/ 1399699 w 2306478"/>
              <a:gd name="connsiteY2" fmla="*/ 500063 h 1784032"/>
              <a:gd name="connsiteX3" fmla="*/ 1415415 w 2306478"/>
              <a:gd name="connsiteY3" fmla="*/ 555308 h 1784032"/>
              <a:gd name="connsiteX4" fmla="*/ 1458278 w 2306478"/>
              <a:gd name="connsiteY4" fmla="*/ 610076 h 1784032"/>
              <a:gd name="connsiteX5" fmla="*/ 1582103 w 2306478"/>
              <a:gd name="connsiteY5" fmla="*/ 738664 h 1784032"/>
              <a:gd name="connsiteX6" fmla="*/ 1708308 w 2306478"/>
              <a:gd name="connsiteY6" fmla="*/ 842010 h 1784032"/>
              <a:gd name="connsiteX7" fmla="*/ 2306478 w 2306478"/>
              <a:gd name="connsiteY7" fmla="*/ 1784032 h 1784032"/>
              <a:gd name="connsiteX8" fmla="*/ 1882140 w 2306478"/>
              <a:gd name="connsiteY8" fmla="*/ 1782444 h 1784032"/>
              <a:gd name="connsiteX9" fmla="*/ 91440 w 2306478"/>
              <a:gd name="connsiteY9" fmla="*/ 1774824 h 1784032"/>
              <a:gd name="connsiteX10" fmla="*/ 144780 w 2306478"/>
              <a:gd name="connsiteY10" fmla="*/ 1181100 h 1784032"/>
              <a:gd name="connsiteX11" fmla="*/ 0 w 2306478"/>
              <a:gd name="connsiteY11" fmla="*/ 533400 h 1784032"/>
              <a:gd name="connsiteX0" fmla="*/ 0 w 2306478"/>
              <a:gd name="connsiteY0" fmla="*/ 533400 h 1782444"/>
              <a:gd name="connsiteX1" fmla="*/ 1600200 w 2306478"/>
              <a:gd name="connsiteY1" fmla="*/ 0 h 1782444"/>
              <a:gd name="connsiteX2" fmla="*/ 1399699 w 2306478"/>
              <a:gd name="connsiteY2" fmla="*/ 500063 h 1782444"/>
              <a:gd name="connsiteX3" fmla="*/ 1415415 w 2306478"/>
              <a:gd name="connsiteY3" fmla="*/ 555308 h 1782444"/>
              <a:gd name="connsiteX4" fmla="*/ 1458278 w 2306478"/>
              <a:gd name="connsiteY4" fmla="*/ 610076 h 1782444"/>
              <a:gd name="connsiteX5" fmla="*/ 1582103 w 2306478"/>
              <a:gd name="connsiteY5" fmla="*/ 738664 h 1782444"/>
              <a:gd name="connsiteX6" fmla="*/ 1708308 w 2306478"/>
              <a:gd name="connsiteY6" fmla="*/ 842010 h 1782444"/>
              <a:gd name="connsiteX7" fmla="*/ 2306478 w 2306478"/>
              <a:gd name="connsiteY7" fmla="*/ 1757838 h 1782444"/>
              <a:gd name="connsiteX8" fmla="*/ 1882140 w 2306478"/>
              <a:gd name="connsiteY8" fmla="*/ 1782444 h 1782444"/>
              <a:gd name="connsiteX9" fmla="*/ 91440 w 2306478"/>
              <a:gd name="connsiteY9" fmla="*/ 1774824 h 1782444"/>
              <a:gd name="connsiteX10" fmla="*/ 144780 w 2306478"/>
              <a:gd name="connsiteY10" fmla="*/ 1181100 h 1782444"/>
              <a:gd name="connsiteX11" fmla="*/ 0 w 2306478"/>
              <a:gd name="connsiteY11" fmla="*/ 533400 h 1782444"/>
              <a:gd name="connsiteX0" fmla="*/ 0 w 2323147"/>
              <a:gd name="connsiteY0" fmla="*/ 533400 h 1786413"/>
              <a:gd name="connsiteX1" fmla="*/ 1600200 w 2323147"/>
              <a:gd name="connsiteY1" fmla="*/ 0 h 1786413"/>
              <a:gd name="connsiteX2" fmla="*/ 1399699 w 2323147"/>
              <a:gd name="connsiteY2" fmla="*/ 500063 h 1786413"/>
              <a:gd name="connsiteX3" fmla="*/ 1415415 w 2323147"/>
              <a:gd name="connsiteY3" fmla="*/ 555308 h 1786413"/>
              <a:gd name="connsiteX4" fmla="*/ 1458278 w 2323147"/>
              <a:gd name="connsiteY4" fmla="*/ 610076 h 1786413"/>
              <a:gd name="connsiteX5" fmla="*/ 1582103 w 2323147"/>
              <a:gd name="connsiteY5" fmla="*/ 738664 h 1786413"/>
              <a:gd name="connsiteX6" fmla="*/ 1708308 w 2323147"/>
              <a:gd name="connsiteY6" fmla="*/ 842010 h 1786413"/>
              <a:gd name="connsiteX7" fmla="*/ 2323147 w 2323147"/>
              <a:gd name="connsiteY7" fmla="*/ 1786413 h 1786413"/>
              <a:gd name="connsiteX8" fmla="*/ 1882140 w 2323147"/>
              <a:gd name="connsiteY8" fmla="*/ 1782444 h 1786413"/>
              <a:gd name="connsiteX9" fmla="*/ 91440 w 2323147"/>
              <a:gd name="connsiteY9" fmla="*/ 1774824 h 1786413"/>
              <a:gd name="connsiteX10" fmla="*/ 144780 w 2323147"/>
              <a:gd name="connsiteY10" fmla="*/ 1181100 h 1786413"/>
              <a:gd name="connsiteX11" fmla="*/ 0 w 2323147"/>
              <a:gd name="connsiteY11" fmla="*/ 533400 h 1786413"/>
              <a:gd name="connsiteX0" fmla="*/ 0 w 2323147"/>
              <a:gd name="connsiteY0" fmla="*/ 533400 h 1782444"/>
              <a:gd name="connsiteX1" fmla="*/ 1600200 w 2323147"/>
              <a:gd name="connsiteY1" fmla="*/ 0 h 1782444"/>
              <a:gd name="connsiteX2" fmla="*/ 1399699 w 2323147"/>
              <a:gd name="connsiteY2" fmla="*/ 500063 h 1782444"/>
              <a:gd name="connsiteX3" fmla="*/ 1415415 w 2323147"/>
              <a:gd name="connsiteY3" fmla="*/ 555308 h 1782444"/>
              <a:gd name="connsiteX4" fmla="*/ 1458278 w 2323147"/>
              <a:gd name="connsiteY4" fmla="*/ 610076 h 1782444"/>
              <a:gd name="connsiteX5" fmla="*/ 1582103 w 2323147"/>
              <a:gd name="connsiteY5" fmla="*/ 738664 h 1782444"/>
              <a:gd name="connsiteX6" fmla="*/ 1708308 w 2323147"/>
              <a:gd name="connsiteY6" fmla="*/ 842010 h 1782444"/>
              <a:gd name="connsiteX7" fmla="*/ 2323147 w 2323147"/>
              <a:gd name="connsiteY7" fmla="*/ 1779270 h 1782444"/>
              <a:gd name="connsiteX8" fmla="*/ 1882140 w 2323147"/>
              <a:gd name="connsiteY8" fmla="*/ 1782444 h 1782444"/>
              <a:gd name="connsiteX9" fmla="*/ 91440 w 2323147"/>
              <a:gd name="connsiteY9" fmla="*/ 1774824 h 1782444"/>
              <a:gd name="connsiteX10" fmla="*/ 144780 w 2323147"/>
              <a:gd name="connsiteY10" fmla="*/ 1181100 h 1782444"/>
              <a:gd name="connsiteX11" fmla="*/ 0 w 2323147"/>
              <a:gd name="connsiteY11" fmla="*/ 533400 h 1782444"/>
              <a:gd name="connsiteX0" fmla="*/ 0 w 2325528"/>
              <a:gd name="connsiteY0" fmla="*/ 533400 h 1784032"/>
              <a:gd name="connsiteX1" fmla="*/ 1600200 w 2325528"/>
              <a:gd name="connsiteY1" fmla="*/ 0 h 1784032"/>
              <a:gd name="connsiteX2" fmla="*/ 1399699 w 2325528"/>
              <a:gd name="connsiteY2" fmla="*/ 500063 h 1784032"/>
              <a:gd name="connsiteX3" fmla="*/ 1415415 w 2325528"/>
              <a:gd name="connsiteY3" fmla="*/ 555308 h 1784032"/>
              <a:gd name="connsiteX4" fmla="*/ 1458278 w 2325528"/>
              <a:gd name="connsiteY4" fmla="*/ 610076 h 1784032"/>
              <a:gd name="connsiteX5" fmla="*/ 1582103 w 2325528"/>
              <a:gd name="connsiteY5" fmla="*/ 738664 h 1784032"/>
              <a:gd name="connsiteX6" fmla="*/ 1708308 w 2325528"/>
              <a:gd name="connsiteY6" fmla="*/ 842010 h 1784032"/>
              <a:gd name="connsiteX7" fmla="*/ 2325528 w 2325528"/>
              <a:gd name="connsiteY7" fmla="*/ 1784032 h 1784032"/>
              <a:gd name="connsiteX8" fmla="*/ 1882140 w 2325528"/>
              <a:gd name="connsiteY8" fmla="*/ 1782444 h 1784032"/>
              <a:gd name="connsiteX9" fmla="*/ 91440 w 2325528"/>
              <a:gd name="connsiteY9" fmla="*/ 1774824 h 1784032"/>
              <a:gd name="connsiteX10" fmla="*/ 144780 w 2325528"/>
              <a:gd name="connsiteY10" fmla="*/ 1181100 h 1784032"/>
              <a:gd name="connsiteX11" fmla="*/ 0 w 2325528"/>
              <a:gd name="connsiteY11" fmla="*/ 533400 h 1784032"/>
              <a:gd name="connsiteX0" fmla="*/ 0 w 2325528"/>
              <a:gd name="connsiteY0" fmla="*/ 533400 h 1784032"/>
              <a:gd name="connsiteX1" fmla="*/ 1600200 w 2325528"/>
              <a:gd name="connsiteY1" fmla="*/ 0 h 1784032"/>
              <a:gd name="connsiteX2" fmla="*/ 1399699 w 2325528"/>
              <a:gd name="connsiteY2" fmla="*/ 500063 h 1784032"/>
              <a:gd name="connsiteX3" fmla="*/ 1415415 w 2325528"/>
              <a:gd name="connsiteY3" fmla="*/ 555308 h 1784032"/>
              <a:gd name="connsiteX4" fmla="*/ 1458278 w 2325528"/>
              <a:gd name="connsiteY4" fmla="*/ 610076 h 1784032"/>
              <a:gd name="connsiteX5" fmla="*/ 1582103 w 2325528"/>
              <a:gd name="connsiteY5" fmla="*/ 738664 h 1784032"/>
              <a:gd name="connsiteX6" fmla="*/ 1708308 w 2325528"/>
              <a:gd name="connsiteY6" fmla="*/ 842010 h 1784032"/>
              <a:gd name="connsiteX7" fmla="*/ 2325528 w 2325528"/>
              <a:gd name="connsiteY7" fmla="*/ 1784032 h 1784032"/>
              <a:gd name="connsiteX8" fmla="*/ 1882140 w 2325528"/>
              <a:gd name="connsiteY8" fmla="*/ 1782444 h 1784032"/>
              <a:gd name="connsiteX9" fmla="*/ 91440 w 2325528"/>
              <a:gd name="connsiteY9" fmla="*/ 1774824 h 1784032"/>
              <a:gd name="connsiteX10" fmla="*/ 144780 w 2325528"/>
              <a:gd name="connsiteY10" fmla="*/ 1181100 h 1784032"/>
              <a:gd name="connsiteX11" fmla="*/ 0 w 2325528"/>
              <a:gd name="connsiteY11" fmla="*/ 533400 h 1784032"/>
              <a:gd name="connsiteX0" fmla="*/ 0 w 2327909"/>
              <a:gd name="connsiteY0" fmla="*/ 533400 h 1782444"/>
              <a:gd name="connsiteX1" fmla="*/ 1600200 w 2327909"/>
              <a:gd name="connsiteY1" fmla="*/ 0 h 1782444"/>
              <a:gd name="connsiteX2" fmla="*/ 1399699 w 2327909"/>
              <a:gd name="connsiteY2" fmla="*/ 500063 h 1782444"/>
              <a:gd name="connsiteX3" fmla="*/ 1415415 w 2327909"/>
              <a:gd name="connsiteY3" fmla="*/ 555308 h 1782444"/>
              <a:gd name="connsiteX4" fmla="*/ 1458278 w 2327909"/>
              <a:gd name="connsiteY4" fmla="*/ 610076 h 1782444"/>
              <a:gd name="connsiteX5" fmla="*/ 1582103 w 2327909"/>
              <a:gd name="connsiteY5" fmla="*/ 738664 h 1782444"/>
              <a:gd name="connsiteX6" fmla="*/ 1708308 w 2327909"/>
              <a:gd name="connsiteY6" fmla="*/ 842010 h 1782444"/>
              <a:gd name="connsiteX7" fmla="*/ 2327909 w 2327909"/>
              <a:gd name="connsiteY7" fmla="*/ 1776888 h 1782444"/>
              <a:gd name="connsiteX8" fmla="*/ 1882140 w 2327909"/>
              <a:gd name="connsiteY8" fmla="*/ 1782444 h 1782444"/>
              <a:gd name="connsiteX9" fmla="*/ 91440 w 2327909"/>
              <a:gd name="connsiteY9" fmla="*/ 1774824 h 1782444"/>
              <a:gd name="connsiteX10" fmla="*/ 144780 w 2327909"/>
              <a:gd name="connsiteY10" fmla="*/ 1181100 h 1782444"/>
              <a:gd name="connsiteX11" fmla="*/ 0 w 2327909"/>
              <a:gd name="connsiteY11" fmla="*/ 533400 h 1782444"/>
              <a:gd name="connsiteX0" fmla="*/ 0 w 2327909"/>
              <a:gd name="connsiteY0" fmla="*/ 533400 h 1784032"/>
              <a:gd name="connsiteX1" fmla="*/ 1600200 w 2327909"/>
              <a:gd name="connsiteY1" fmla="*/ 0 h 1784032"/>
              <a:gd name="connsiteX2" fmla="*/ 1399699 w 2327909"/>
              <a:gd name="connsiteY2" fmla="*/ 500063 h 1784032"/>
              <a:gd name="connsiteX3" fmla="*/ 1415415 w 2327909"/>
              <a:gd name="connsiteY3" fmla="*/ 555308 h 1784032"/>
              <a:gd name="connsiteX4" fmla="*/ 1458278 w 2327909"/>
              <a:gd name="connsiteY4" fmla="*/ 610076 h 1784032"/>
              <a:gd name="connsiteX5" fmla="*/ 1582103 w 2327909"/>
              <a:gd name="connsiteY5" fmla="*/ 738664 h 1784032"/>
              <a:gd name="connsiteX6" fmla="*/ 1708308 w 2327909"/>
              <a:gd name="connsiteY6" fmla="*/ 842010 h 1784032"/>
              <a:gd name="connsiteX7" fmla="*/ 2327909 w 2327909"/>
              <a:gd name="connsiteY7" fmla="*/ 1784032 h 1784032"/>
              <a:gd name="connsiteX8" fmla="*/ 1882140 w 2327909"/>
              <a:gd name="connsiteY8" fmla="*/ 1782444 h 1784032"/>
              <a:gd name="connsiteX9" fmla="*/ 91440 w 2327909"/>
              <a:gd name="connsiteY9" fmla="*/ 1774824 h 1784032"/>
              <a:gd name="connsiteX10" fmla="*/ 144780 w 2327909"/>
              <a:gd name="connsiteY10" fmla="*/ 1181100 h 1784032"/>
              <a:gd name="connsiteX11" fmla="*/ 0 w 2327909"/>
              <a:gd name="connsiteY11" fmla="*/ 533400 h 1784032"/>
              <a:gd name="connsiteX0" fmla="*/ 0 w 2327909"/>
              <a:gd name="connsiteY0" fmla="*/ 533400 h 1784032"/>
              <a:gd name="connsiteX1" fmla="*/ 1600200 w 2327909"/>
              <a:gd name="connsiteY1" fmla="*/ 0 h 1784032"/>
              <a:gd name="connsiteX2" fmla="*/ 1399699 w 2327909"/>
              <a:gd name="connsiteY2" fmla="*/ 500063 h 1784032"/>
              <a:gd name="connsiteX3" fmla="*/ 1415415 w 2327909"/>
              <a:gd name="connsiteY3" fmla="*/ 555308 h 1784032"/>
              <a:gd name="connsiteX4" fmla="*/ 1458278 w 2327909"/>
              <a:gd name="connsiteY4" fmla="*/ 610076 h 1784032"/>
              <a:gd name="connsiteX5" fmla="*/ 1582103 w 2327909"/>
              <a:gd name="connsiteY5" fmla="*/ 738664 h 1784032"/>
              <a:gd name="connsiteX6" fmla="*/ 1708308 w 2327909"/>
              <a:gd name="connsiteY6" fmla="*/ 842010 h 1784032"/>
              <a:gd name="connsiteX7" fmla="*/ 2327909 w 2327909"/>
              <a:gd name="connsiteY7" fmla="*/ 1784032 h 1784032"/>
              <a:gd name="connsiteX8" fmla="*/ 1882140 w 2327909"/>
              <a:gd name="connsiteY8" fmla="*/ 1782444 h 1784032"/>
              <a:gd name="connsiteX9" fmla="*/ 91440 w 2327909"/>
              <a:gd name="connsiteY9" fmla="*/ 1774824 h 1784032"/>
              <a:gd name="connsiteX10" fmla="*/ 132080 w 2327909"/>
              <a:gd name="connsiteY10" fmla="*/ 1181100 h 1784032"/>
              <a:gd name="connsiteX11" fmla="*/ 0 w 2327909"/>
              <a:gd name="connsiteY11" fmla="*/ 533400 h 1784032"/>
              <a:gd name="connsiteX0" fmla="*/ 0 w 2327909"/>
              <a:gd name="connsiteY0" fmla="*/ 533400 h 1784032"/>
              <a:gd name="connsiteX1" fmla="*/ 1600200 w 2327909"/>
              <a:gd name="connsiteY1" fmla="*/ 0 h 1784032"/>
              <a:gd name="connsiteX2" fmla="*/ 1399699 w 2327909"/>
              <a:gd name="connsiteY2" fmla="*/ 500063 h 1784032"/>
              <a:gd name="connsiteX3" fmla="*/ 1415415 w 2327909"/>
              <a:gd name="connsiteY3" fmla="*/ 555308 h 1784032"/>
              <a:gd name="connsiteX4" fmla="*/ 1458278 w 2327909"/>
              <a:gd name="connsiteY4" fmla="*/ 610076 h 1784032"/>
              <a:gd name="connsiteX5" fmla="*/ 1582103 w 2327909"/>
              <a:gd name="connsiteY5" fmla="*/ 738664 h 1784032"/>
              <a:gd name="connsiteX6" fmla="*/ 1708308 w 2327909"/>
              <a:gd name="connsiteY6" fmla="*/ 842010 h 1784032"/>
              <a:gd name="connsiteX7" fmla="*/ 2327909 w 2327909"/>
              <a:gd name="connsiteY7" fmla="*/ 1784032 h 1784032"/>
              <a:gd name="connsiteX8" fmla="*/ 1882140 w 2327909"/>
              <a:gd name="connsiteY8" fmla="*/ 1782444 h 1784032"/>
              <a:gd name="connsiteX9" fmla="*/ 91440 w 2327909"/>
              <a:gd name="connsiteY9" fmla="*/ 1774824 h 1784032"/>
              <a:gd name="connsiteX10" fmla="*/ 132080 w 2327909"/>
              <a:gd name="connsiteY10" fmla="*/ 1181100 h 1784032"/>
              <a:gd name="connsiteX11" fmla="*/ 0 w 2327909"/>
              <a:gd name="connsiteY11" fmla="*/ 533400 h 1784032"/>
              <a:gd name="connsiteX0" fmla="*/ 0 w 2327909"/>
              <a:gd name="connsiteY0" fmla="*/ 533400 h 1784032"/>
              <a:gd name="connsiteX1" fmla="*/ 1600200 w 2327909"/>
              <a:gd name="connsiteY1" fmla="*/ 0 h 1784032"/>
              <a:gd name="connsiteX2" fmla="*/ 1399699 w 2327909"/>
              <a:gd name="connsiteY2" fmla="*/ 500063 h 1784032"/>
              <a:gd name="connsiteX3" fmla="*/ 1415415 w 2327909"/>
              <a:gd name="connsiteY3" fmla="*/ 555308 h 1784032"/>
              <a:gd name="connsiteX4" fmla="*/ 1458278 w 2327909"/>
              <a:gd name="connsiteY4" fmla="*/ 610076 h 1784032"/>
              <a:gd name="connsiteX5" fmla="*/ 1582103 w 2327909"/>
              <a:gd name="connsiteY5" fmla="*/ 738664 h 1784032"/>
              <a:gd name="connsiteX6" fmla="*/ 1708308 w 2327909"/>
              <a:gd name="connsiteY6" fmla="*/ 842010 h 1784032"/>
              <a:gd name="connsiteX7" fmla="*/ 2327909 w 2327909"/>
              <a:gd name="connsiteY7" fmla="*/ 1784032 h 1784032"/>
              <a:gd name="connsiteX8" fmla="*/ 1882140 w 2327909"/>
              <a:gd name="connsiteY8" fmla="*/ 1782444 h 1784032"/>
              <a:gd name="connsiteX9" fmla="*/ 91440 w 2327909"/>
              <a:gd name="connsiteY9" fmla="*/ 1774824 h 1784032"/>
              <a:gd name="connsiteX10" fmla="*/ 132080 w 2327909"/>
              <a:gd name="connsiteY10" fmla="*/ 1181100 h 1784032"/>
              <a:gd name="connsiteX11" fmla="*/ 0 w 2327909"/>
              <a:gd name="connsiteY11" fmla="*/ 533400 h 1784032"/>
              <a:gd name="connsiteX0" fmla="*/ 0 w 2327909"/>
              <a:gd name="connsiteY0" fmla="*/ 533400 h 1784032"/>
              <a:gd name="connsiteX1" fmla="*/ 1600200 w 2327909"/>
              <a:gd name="connsiteY1" fmla="*/ 0 h 1784032"/>
              <a:gd name="connsiteX2" fmla="*/ 1399699 w 2327909"/>
              <a:gd name="connsiteY2" fmla="*/ 500063 h 1784032"/>
              <a:gd name="connsiteX3" fmla="*/ 1415415 w 2327909"/>
              <a:gd name="connsiteY3" fmla="*/ 555308 h 1784032"/>
              <a:gd name="connsiteX4" fmla="*/ 1458278 w 2327909"/>
              <a:gd name="connsiteY4" fmla="*/ 610076 h 1784032"/>
              <a:gd name="connsiteX5" fmla="*/ 1582103 w 2327909"/>
              <a:gd name="connsiteY5" fmla="*/ 738664 h 1784032"/>
              <a:gd name="connsiteX6" fmla="*/ 1708308 w 2327909"/>
              <a:gd name="connsiteY6" fmla="*/ 842010 h 1784032"/>
              <a:gd name="connsiteX7" fmla="*/ 2327909 w 2327909"/>
              <a:gd name="connsiteY7" fmla="*/ 1784032 h 1784032"/>
              <a:gd name="connsiteX8" fmla="*/ 1882140 w 2327909"/>
              <a:gd name="connsiteY8" fmla="*/ 1782444 h 1784032"/>
              <a:gd name="connsiteX9" fmla="*/ 91440 w 2327909"/>
              <a:gd name="connsiteY9" fmla="*/ 1774824 h 1784032"/>
              <a:gd name="connsiteX10" fmla="*/ 132080 w 2327909"/>
              <a:gd name="connsiteY10" fmla="*/ 1181100 h 1784032"/>
              <a:gd name="connsiteX11" fmla="*/ 0 w 2327909"/>
              <a:gd name="connsiteY11" fmla="*/ 533400 h 178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27909" h="1784032">
                <a:moveTo>
                  <a:pt x="0" y="533400"/>
                </a:moveTo>
                <a:lnTo>
                  <a:pt x="1600200" y="0"/>
                </a:lnTo>
                <a:cubicBezTo>
                  <a:pt x="1607820" y="68580"/>
                  <a:pt x="1392079" y="431483"/>
                  <a:pt x="1399699" y="500063"/>
                </a:cubicBezTo>
                <a:cubicBezTo>
                  <a:pt x="1360567" y="602933"/>
                  <a:pt x="1399699" y="548879"/>
                  <a:pt x="1415415" y="555308"/>
                </a:cubicBezTo>
                <a:cubicBezTo>
                  <a:pt x="1431131" y="561737"/>
                  <a:pt x="1422162" y="589835"/>
                  <a:pt x="1458278" y="610076"/>
                </a:cubicBezTo>
                <a:cubicBezTo>
                  <a:pt x="1494394" y="630317"/>
                  <a:pt x="1572181" y="704771"/>
                  <a:pt x="1582103" y="738664"/>
                </a:cubicBezTo>
                <a:cubicBezTo>
                  <a:pt x="1592025" y="772557"/>
                  <a:pt x="1551066" y="663416"/>
                  <a:pt x="1708308" y="842010"/>
                </a:cubicBezTo>
                <a:cubicBezTo>
                  <a:pt x="1723548" y="867410"/>
                  <a:pt x="2312669" y="1758632"/>
                  <a:pt x="2327909" y="1784032"/>
                </a:cubicBezTo>
                <a:lnTo>
                  <a:pt x="1882140" y="1782444"/>
                </a:lnTo>
                <a:lnTo>
                  <a:pt x="91440" y="1774824"/>
                </a:lnTo>
                <a:cubicBezTo>
                  <a:pt x="134620" y="1581996"/>
                  <a:pt x="147320" y="1392343"/>
                  <a:pt x="132080" y="1181100"/>
                </a:cubicBezTo>
                <a:cubicBezTo>
                  <a:pt x="97578" y="962025"/>
                  <a:pt x="44027" y="749300"/>
                  <a:pt x="0" y="533400"/>
                </a:cubicBezTo>
                <a:close/>
              </a:path>
            </a:pathLst>
          </a:cu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D865ACC-E038-49AA-BD35-1CE7E90BFAFF}"/>
              </a:ext>
            </a:extLst>
          </p:cNvPr>
          <p:cNvSpPr/>
          <p:nvPr/>
        </p:nvSpPr>
        <p:spPr bwMode="auto">
          <a:xfrm>
            <a:off x="6683430" y="3168657"/>
            <a:ext cx="721162" cy="502342"/>
          </a:xfrm>
          <a:custGeom>
            <a:avLst/>
            <a:gdLst>
              <a:gd name="connsiteX0" fmla="*/ 0 w 1234440"/>
              <a:gd name="connsiteY0" fmla="*/ 220980 h 883920"/>
              <a:gd name="connsiteX1" fmla="*/ 1005840 w 1234440"/>
              <a:gd name="connsiteY1" fmla="*/ 883920 h 883920"/>
              <a:gd name="connsiteX2" fmla="*/ 1234440 w 1234440"/>
              <a:gd name="connsiteY2" fmla="*/ 350520 h 883920"/>
              <a:gd name="connsiteX3" fmla="*/ 281940 w 1234440"/>
              <a:gd name="connsiteY3" fmla="*/ 0 h 883920"/>
              <a:gd name="connsiteX4" fmla="*/ 0 w 1234440"/>
              <a:gd name="connsiteY4" fmla="*/ 220980 h 883920"/>
              <a:gd name="connsiteX0" fmla="*/ 0 w 1234440"/>
              <a:gd name="connsiteY0" fmla="*/ 220980 h 883920"/>
              <a:gd name="connsiteX1" fmla="*/ 1012190 w 1234440"/>
              <a:gd name="connsiteY1" fmla="*/ 883920 h 883920"/>
              <a:gd name="connsiteX2" fmla="*/ 1234440 w 1234440"/>
              <a:gd name="connsiteY2" fmla="*/ 350520 h 883920"/>
              <a:gd name="connsiteX3" fmla="*/ 281940 w 1234440"/>
              <a:gd name="connsiteY3" fmla="*/ 0 h 883920"/>
              <a:gd name="connsiteX4" fmla="*/ 0 w 1234440"/>
              <a:gd name="connsiteY4" fmla="*/ 220980 h 883920"/>
              <a:gd name="connsiteX0" fmla="*/ 0 w 1234440"/>
              <a:gd name="connsiteY0" fmla="*/ 220980 h 896620"/>
              <a:gd name="connsiteX1" fmla="*/ 1040765 w 1234440"/>
              <a:gd name="connsiteY1" fmla="*/ 896620 h 896620"/>
              <a:gd name="connsiteX2" fmla="*/ 1234440 w 1234440"/>
              <a:gd name="connsiteY2" fmla="*/ 350520 h 896620"/>
              <a:gd name="connsiteX3" fmla="*/ 281940 w 1234440"/>
              <a:gd name="connsiteY3" fmla="*/ 0 h 896620"/>
              <a:gd name="connsiteX4" fmla="*/ 0 w 1234440"/>
              <a:gd name="connsiteY4" fmla="*/ 220980 h 896620"/>
              <a:gd name="connsiteX0" fmla="*/ 0 w 1234440"/>
              <a:gd name="connsiteY0" fmla="*/ 220980 h 928370"/>
              <a:gd name="connsiteX1" fmla="*/ 1161415 w 1234440"/>
              <a:gd name="connsiteY1" fmla="*/ 928370 h 928370"/>
              <a:gd name="connsiteX2" fmla="*/ 1234440 w 1234440"/>
              <a:gd name="connsiteY2" fmla="*/ 350520 h 928370"/>
              <a:gd name="connsiteX3" fmla="*/ 281940 w 1234440"/>
              <a:gd name="connsiteY3" fmla="*/ 0 h 928370"/>
              <a:gd name="connsiteX4" fmla="*/ 0 w 1234440"/>
              <a:gd name="connsiteY4" fmla="*/ 220980 h 928370"/>
              <a:gd name="connsiteX0" fmla="*/ 0 w 1234440"/>
              <a:gd name="connsiteY0" fmla="*/ 220980 h 877570"/>
              <a:gd name="connsiteX1" fmla="*/ 1018540 w 1234440"/>
              <a:gd name="connsiteY1" fmla="*/ 877570 h 877570"/>
              <a:gd name="connsiteX2" fmla="*/ 1234440 w 1234440"/>
              <a:gd name="connsiteY2" fmla="*/ 350520 h 877570"/>
              <a:gd name="connsiteX3" fmla="*/ 281940 w 1234440"/>
              <a:gd name="connsiteY3" fmla="*/ 0 h 877570"/>
              <a:gd name="connsiteX4" fmla="*/ 0 w 1234440"/>
              <a:gd name="connsiteY4" fmla="*/ 220980 h 877570"/>
              <a:gd name="connsiteX0" fmla="*/ 0 w 1272540"/>
              <a:gd name="connsiteY0" fmla="*/ 220980 h 877570"/>
              <a:gd name="connsiteX1" fmla="*/ 1018540 w 1272540"/>
              <a:gd name="connsiteY1" fmla="*/ 877570 h 877570"/>
              <a:gd name="connsiteX2" fmla="*/ 1272540 w 1272540"/>
              <a:gd name="connsiteY2" fmla="*/ 363220 h 877570"/>
              <a:gd name="connsiteX3" fmla="*/ 281940 w 1272540"/>
              <a:gd name="connsiteY3" fmla="*/ 0 h 877570"/>
              <a:gd name="connsiteX4" fmla="*/ 0 w 1272540"/>
              <a:gd name="connsiteY4" fmla="*/ 220980 h 877570"/>
              <a:gd name="connsiteX0" fmla="*/ 0 w 1259840"/>
              <a:gd name="connsiteY0" fmla="*/ 220980 h 877570"/>
              <a:gd name="connsiteX1" fmla="*/ 1018540 w 1259840"/>
              <a:gd name="connsiteY1" fmla="*/ 877570 h 877570"/>
              <a:gd name="connsiteX2" fmla="*/ 1259840 w 1259840"/>
              <a:gd name="connsiteY2" fmla="*/ 353695 h 877570"/>
              <a:gd name="connsiteX3" fmla="*/ 281940 w 1259840"/>
              <a:gd name="connsiteY3" fmla="*/ 0 h 877570"/>
              <a:gd name="connsiteX4" fmla="*/ 0 w 1259840"/>
              <a:gd name="connsiteY4" fmla="*/ 220980 h 877570"/>
              <a:gd name="connsiteX0" fmla="*/ 0 w 1259840"/>
              <a:gd name="connsiteY0" fmla="*/ 220980 h 877570"/>
              <a:gd name="connsiteX1" fmla="*/ 1018540 w 1259840"/>
              <a:gd name="connsiteY1" fmla="*/ 877570 h 877570"/>
              <a:gd name="connsiteX2" fmla="*/ 1259840 w 1259840"/>
              <a:gd name="connsiteY2" fmla="*/ 353695 h 877570"/>
              <a:gd name="connsiteX3" fmla="*/ 1174115 w 1259840"/>
              <a:gd name="connsiteY3" fmla="*/ 345440 h 877570"/>
              <a:gd name="connsiteX4" fmla="*/ 281940 w 1259840"/>
              <a:gd name="connsiteY4" fmla="*/ 0 h 877570"/>
              <a:gd name="connsiteX5" fmla="*/ 0 w 1259840"/>
              <a:gd name="connsiteY5" fmla="*/ 220980 h 877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9840" h="877570">
                <a:moveTo>
                  <a:pt x="0" y="220980"/>
                </a:moveTo>
                <a:lnTo>
                  <a:pt x="1018540" y="877570"/>
                </a:lnTo>
                <a:lnTo>
                  <a:pt x="1259840" y="353695"/>
                </a:lnTo>
                <a:cubicBezTo>
                  <a:pt x="1236557" y="344593"/>
                  <a:pt x="1197398" y="354542"/>
                  <a:pt x="1174115" y="345440"/>
                </a:cubicBezTo>
                <a:lnTo>
                  <a:pt x="281940" y="0"/>
                </a:lnTo>
                <a:lnTo>
                  <a:pt x="0" y="22098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13F46A0-F195-4FBD-B38B-398D12B314ED}"/>
              </a:ext>
            </a:extLst>
          </p:cNvPr>
          <p:cNvSpPr/>
          <p:nvPr/>
        </p:nvSpPr>
        <p:spPr bwMode="auto">
          <a:xfrm>
            <a:off x="6351383" y="3312780"/>
            <a:ext cx="915991" cy="1082288"/>
          </a:xfrm>
          <a:custGeom>
            <a:avLst/>
            <a:gdLst>
              <a:gd name="connsiteX0" fmla="*/ 557212 w 1600200"/>
              <a:gd name="connsiteY0" fmla="*/ 0 h 1890712"/>
              <a:gd name="connsiteX1" fmla="*/ 252412 w 1600200"/>
              <a:gd name="connsiteY1" fmla="*/ 95250 h 1890712"/>
              <a:gd name="connsiteX2" fmla="*/ 0 w 1600200"/>
              <a:gd name="connsiteY2" fmla="*/ 657225 h 1890712"/>
              <a:gd name="connsiteX3" fmla="*/ 223837 w 1600200"/>
              <a:gd name="connsiteY3" fmla="*/ 842962 h 1890712"/>
              <a:gd name="connsiteX4" fmla="*/ 14287 w 1600200"/>
              <a:gd name="connsiteY4" fmla="*/ 933450 h 1890712"/>
              <a:gd name="connsiteX5" fmla="*/ 866775 w 1600200"/>
              <a:gd name="connsiteY5" fmla="*/ 1890712 h 1890712"/>
              <a:gd name="connsiteX6" fmla="*/ 1600200 w 1600200"/>
              <a:gd name="connsiteY6" fmla="*/ 1881187 h 1890712"/>
              <a:gd name="connsiteX7" fmla="*/ 557212 w 1600200"/>
              <a:gd name="connsiteY7" fmla="*/ 0 h 1890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200" h="1890712">
                <a:moveTo>
                  <a:pt x="557212" y="0"/>
                </a:moveTo>
                <a:lnTo>
                  <a:pt x="252412" y="95250"/>
                </a:lnTo>
                <a:lnTo>
                  <a:pt x="0" y="657225"/>
                </a:lnTo>
                <a:lnTo>
                  <a:pt x="223837" y="842962"/>
                </a:lnTo>
                <a:lnTo>
                  <a:pt x="14287" y="933450"/>
                </a:lnTo>
                <a:lnTo>
                  <a:pt x="866775" y="1890712"/>
                </a:lnTo>
                <a:lnTo>
                  <a:pt x="1600200" y="1881187"/>
                </a:lnTo>
                <a:lnTo>
                  <a:pt x="55721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AEB1499-2EC3-4AB1-9E4D-412F429DE026}"/>
              </a:ext>
            </a:extLst>
          </p:cNvPr>
          <p:cNvGrpSpPr/>
          <p:nvPr/>
        </p:nvGrpSpPr>
        <p:grpSpPr>
          <a:xfrm rot="20922273">
            <a:off x="6458107" y="799821"/>
            <a:ext cx="1998674" cy="2367473"/>
            <a:chOff x="6621372" y="799821"/>
            <a:chExt cx="1998674" cy="2367473"/>
          </a:xfrm>
          <a:effectLst/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A5042DB-BC4F-47F3-9E55-0D05D5D5AB5E}"/>
                </a:ext>
              </a:extLst>
            </p:cNvPr>
            <p:cNvGrpSpPr/>
            <p:nvPr/>
          </p:nvGrpSpPr>
          <p:grpSpPr>
            <a:xfrm>
              <a:off x="6621372" y="799821"/>
              <a:ext cx="1998674" cy="2367473"/>
              <a:chOff x="3413760" y="1866901"/>
              <a:chExt cx="2412365" cy="2857499"/>
            </a:xfrm>
            <a:effectLst>
              <a:outerShdw blurRad="50800" dist="254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4" name="Freeform: Shape 3">
                <a:extLst>
                  <a:ext uri="{FF2B5EF4-FFF2-40B4-BE49-F238E27FC236}">
                    <a16:creationId xmlns:a16="http://schemas.microsoft.com/office/drawing/2014/main" id="{15C837DE-4C3E-4B84-8AFF-5CDD02A716FA}"/>
                  </a:ext>
                </a:extLst>
              </p:cNvPr>
              <p:cNvSpPr/>
              <p:nvPr/>
            </p:nvSpPr>
            <p:spPr bwMode="auto">
              <a:xfrm>
                <a:off x="3469482" y="1866901"/>
                <a:ext cx="2352674" cy="1457325"/>
              </a:xfrm>
              <a:custGeom>
                <a:avLst/>
                <a:gdLst>
                  <a:gd name="connsiteX0" fmla="*/ 0 w 2352675"/>
                  <a:gd name="connsiteY0" fmla="*/ 681038 h 1457325"/>
                  <a:gd name="connsiteX1" fmla="*/ 471488 w 2352675"/>
                  <a:gd name="connsiteY1" fmla="*/ 1235869 h 1457325"/>
                  <a:gd name="connsiteX2" fmla="*/ 1166813 w 2352675"/>
                  <a:gd name="connsiteY2" fmla="*/ 902494 h 1457325"/>
                  <a:gd name="connsiteX3" fmla="*/ 1635919 w 2352675"/>
                  <a:gd name="connsiteY3" fmla="*/ 1457325 h 1457325"/>
                  <a:gd name="connsiteX4" fmla="*/ 2352675 w 2352675"/>
                  <a:gd name="connsiteY4" fmla="*/ 1097756 h 1457325"/>
                  <a:gd name="connsiteX5" fmla="*/ 1393032 w 2352675"/>
                  <a:gd name="connsiteY5" fmla="*/ 0 h 1457325"/>
                  <a:gd name="connsiteX6" fmla="*/ 0 w 2352675"/>
                  <a:gd name="connsiteY6" fmla="*/ 681038 h 1457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2675" h="1457325">
                    <a:moveTo>
                      <a:pt x="0" y="681038"/>
                    </a:moveTo>
                    <a:lnTo>
                      <a:pt x="471488" y="1235869"/>
                    </a:lnTo>
                    <a:lnTo>
                      <a:pt x="1166813" y="902494"/>
                    </a:lnTo>
                    <a:lnTo>
                      <a:pt x="1635919" y="1457325"/>
                    </a:lnTo>
                    <a:lnTo>
                      <a:pt x="2352675" y="1097756"/>
                    </a:lnTo>
                    <a:lnTo>
                      <a:pt x="1393032" y="0"/>
                    </a:lnTo>
                    <a:lnTo>
                      <a:pt x="0" y="681038"/>
                    </a:lnTo>
                    <a:close/>
                  </a:path>
                </a:pathLst>
              </a:custGeom>
              <a:solidFill>
                <a:schemeClr val="tx1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wrap="square" lIns="0" tIns="0" rIns="0" bIns="0" rtlCol="0" anchor="t">
                <a:noAutofit/>
              </a:bodyPr>
              <a:lstStyle/>
              <a:p>
                <a:pPr algn="l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9B07967E-63C2-4C46-9510-D41F315E262C}"/>
                  </a:ext>
                </a:extLst>
              </p:cNvPr>
              <p:cNvSpPr/>
              <p:nvPr/>
            </p:nvSpPr>
            <p:spPr bwMode="auto">
              <a:xfrm>
                <a:off x="4593431" y="2764631"/>
                <a:ext cx="511969" cy="1083469"/>
              </a:xfrm>
              <a:custGeom>
                <a:avLst/>
                <a:gdLst>
                  <a:gd name="connsiteX0" fmla="*/ 38100 w 511969"/>
                  <a:gd name="connsiteY0" fmla="*/ 0 h 1081087"/>
                  <a:gd name="connsiteX1" fmla="*/ 0 w 511969"/>
                  <a:gd name="connsiteY1" fmla="*/ 535781 h 1081087"/>
                  <a:gd name="connsiteX2" fmla="*/ 466725 w 511969"/>
                  <a:gd name="connsiteY2" fmla="*/ 1081087 h 1081087"/>
                  <a:gd name="connsiteX3" fmla="*/ 511969 w 511969"/>
                  <a:gd name="connsiteY3" fmla="*/ 557212 h 1081087"/>
                  <a:gd name="connsiteX4" fmla="*/ 38100 w 511969"/>
                  <a:gd name="connsiteY4" fmla="*/ 0 h 1081087"/>
                  <a:gd name="connsiteX0" fmla="*/ 38100 w 511969"/>
                  <a:gd name="connsiteY0" fmla="*/ 0 h 1083469"/>
                  <a:gd name="connsiteX1" fmla="*/ 0 w 511969"/>
                  <a:gd name="connsiteY1" fmla="*/ 538163 h 1083469"/>
                  <a:gd name="connsiteX2" fmla="*/ 466725 w 511969"/>
                  <a:gd name="connsiteY2" fmla="*/ 1083469 h 1083469"/>
                  <a:gd name="connsiteX3" fmla="*/ 511969 w 511969"/>
                  <a:gd name="connsiteY3" fmla="*/ 559594 h 1083469"/>
                  <a:gd name="connsiteX4" fmla="*/ 38100 w 511969"/>
                  <a:gd name="connsiteY4" fmla="*/ 0 h 108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1969" h="1083469">
                    <a:moveTo>
                      <a:pt x="38100" y="0"/>
                    </a:moveTo>
                    <a:lnTo>
                      <a:pt x="0" y="538163"/>
                    </a:lnTo>
                    <a:lnTo>
                      <a:pt x="466725" y="1083469"/>
                    </a:lnTo>
                    <a:lnTo>
                      <a:pt x="511969" y="559594"/>
                    </a:lnTo>
                    <a:lnTo>
                      <a:pt x="38100" y="0"/>
                    </a:lnTo>
                    <a:close/>
                  </a:path>
                </a:pathLst>
              </a:custGeom>
              <a:solidFill>
                <a:schemeClr val="tx2"/>
              </a:solidFill>
              <a:ln w="12700">
                <a:noFill/>
                <a:round/>
                <a:headEnd/>
                <a:tailEnd/>
              </a:ln>
            </p:spPr>
            <p:txBody>
              <a:bodyPr wrap="square" lIns="0" tIns="0" rIns="0" bIns="0" rtlCol="0" anchor="t">
                <a:noAutofit/>
              </a:bodyPr>
              <a:lstStyle/>
              <a:p>
                <a:pPr algn="l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7165319-BE87-4C3D-B797-C15B41B5BADF}"/>
                  </a:ext>
                </a:extLst>
              </p:cNvPr>
              <p:cNvSpPr/>
              <p:nvPr/>
            </p:nvSpPr>
            <p:spPr bwMode="auto">
              <a:xfrm>
                <a:off x="3912394" y="2767013"/>
                <a:ext cx="716756" cy="873918"/>
              </a:xfrm>
              <a:custGeom>
                <a:avLst/>
                <a:gdLst>
                  <a:gd name="connsiteX0" fmla="*/ 30956 w 716756"/>
                  <a:gd name="connsiteY0" fmla="*/ 330993 h 873918"/>
                  <a:gd name="connsiteX1" fmla="*/ 0 w 716756"/>
                  <a:gd name="connsiteY1" fmla="*/ 873918 h 873918"/>
                  <a:gd name="connsiteX2" fmla="*/ 681037 w 716756"/>
                  <a:gd name="connsiteY2" fmla="*/ 531018 h 873918"/>
                  <a:gd name="connsiteX3" fmla="*/ 716756 w 716756"/>
                  <a:gd name="connsiteY3" fmla="*/ 0 h 873918"/>
                  <a:gd name="connsiteX4" fmla="*/ 30956 w 716756"/>
                  <a:gd name="connsiteY4" fmla="*/ 330993 h 873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6756" h="873918">
                    <a:moveTo>
                      <a:pt x="30956" y="330993"/>
                    </a:moveTo>
                    <a:lnTo>
                      <a:pt x="0" y="873918"/>
                    </a:lnTo>
                    <a:lnTo>
                      <a:pt x="681037" y="531018"/>
                    </a:lnTo>
                    <a:lnTo>
                      <a:pt x="716756" y="0"/>
                    </a:lnTo>
                    <a:lnTo>
                      <a:pt x="30956" y="330993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</p:spPr>
            <p:txBody>
              <a:bodyPr wrap="square" lIns="0" tIns="0" rIns="0" bIns="0" rtlCol="0" anchor="t">
                <a:noAutofit/>
              </a:bodyPr>
              <a:lstStyle/>
              <a:p>
                <a:pPr algn="l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1C1350F1-BE32-45C8-B178-63229F417F91}"/>
                  </a:ext>
                </a:extLst>
              </p:cNvPr>
              <p:cNvSpPr/>
              <p:nvPr/>
            </p:nvSpPr>
            <p:spPr bwMode="auto">
              <a:xfrm>
                <a:off x="3910014" y="3298033"/>
                <a:ext cx="1152525" cy="895349"/>
              </a:xfrm>
              <a:custGeom>
                <a:avLst/>
                <a:gdLst>
                  <a:gd name="connsiteX0" fmla="*/ 459581 w 1152525"/>
                  <a:gd name="connsiteY0" fmla="*/ 895350 h 895350"/>
                  <a:gd name="connsiteX1" fmla="*/ 1152525 w 1152525"/>
                  <a:gd name="connsiteY1" fmla="*/ 550069 h 895350"/>
                  <a:gd name="connsiteX2" fmla="*/ 681038 w 1152525"/>
                  <a:gd name="connsiteY2" fmla="*/ 0 h 895350"/>
                  <a:gd name="connsiteX3" fmla="*/ 0 w 1152525"/>
                  <a:gd name="connsiteY3" fmla="*/ 342900 h 895350"/>
                  <a:gd name="connsiteX4" fmla="*/ 459581 w 1152525"/>
                  <a:gd name="connsiteY4" fmla="*/ 895350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2525" h="895350">
                    <a:moveTo>
                      <a:pt x="459581" y="895350"/>
                    </a:moveTo>
                    <a:lnTo>
                      <a:pt x="1152525" y="550069"/>
                    </a:lnTo>
                    <a:lnTo>
                      <a:pt x="681038" y="0"/>
                    </a:lnTo>
                    <a:lnTo>
                      <a:pt x="0" y="342900"/>
                    </a:lnTo>
                    <a:lnTo>
                      <a:pt x="459581" y="895350"/>
                    </a:lnTo>
                    <a:close/>
                  </a:path>
                </a:pathLst>
              </a:custGeom>
              <a:solidFill>
                <a:schemeClr val="bg2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wrap="square" lIns="0" tIns="0" rIns="0" bIns="0" rtlCol="0" anchor="t">
                <a:noAutofit/>
              </a:bodyPr>
              <a:lstStyle/>
              <a:p>
                <a:pPr algn="l"/>
                <a:endParaRPr lang="en-GB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9705020D-8494-40DD-BB0B-7D1497CD8775}"/>
                  </a:ext>
                </a:extLst>
              </p:cNvPr>
              <p:cNvSpPr/>
              <p:nvPr/>
            </p:nvSpPr>
            <p:spPr bwMode="auto">
              <a:xfrm>
                <a:off x="3413760" y="2548890"/>
                <a:ext cx="961549" cy="2175510"/>
              </a:xfrm>
              <a:custGeom>
                <a:avLst/>
                <a:gdLst>
                  <a:gd name="connsiteX0" fmla="*/ 925830 w 944880"/>
                  <a:gd name="connsiteY0" fmla="*/ 2175510 h 2175510"/>
                  <a:gd name="connsiteX1" fmla="*/ 0 w 944880"/>
                  <a:gd name="connsiteY1" fmla="*/ 1070610 h 2175510"/>
                  <a:gd name="connsiteX2" fmla="*/ 57150 w 944880"/>
                  <a:gd name="connsiteY2" fmla="*/ 0 h 2175510"/>
                  <a:gd name="connsiteX3" fmla="*/ 525780 w 944880"/>
                  <a:gd name="connsiteY3" fmla="*/ 548640 h 2175510"/>
                  <a:gd name="connsiteX4" fmla="*/ 499110 w 944880"/>
                  <a:gd name="connsiteY4" fmla="*/ 1089660 h 2175510"/>
                  <a:gd name="connsiteX5" fmla="*/ 944880 w 944880"/>
                  <a:gd name="connsiteY5" fmla="*/ 1638300 h 2175510"/>
                  <a:gd name="connsiteX6" fmla="*/ 925830 w 944880"/>
                  <a:gd name="connsiteY6" fmla="*/ 2175510 h 2175510"/>
                  <a:gd name="connsiteX0" fmla="*/ 925830 w 961549"/>
                  <a:gd name="connsiteY0" fmla="*/ 2175510 h 2175510"/>
                  <a:gd name="connsiteX1" fmla="*/ 0 w 961549"/>
                  <a:gd name="connsiteY1" fmla="*/ 1070610 h 2175510"/>
                  <a:gd name="connsiteX2" fmla="*/ 57150 w 961549"/>
                  <a:gd name="connsiteY2" fmla="*/ 0 h 2175510"/>
                  <a:gd name="connsiteX3" fmla="*/ 525780 w 961549"/>
                  <a:gd name="connsiteY3" fmla="*/ 548640 h 2175510"/>
                  <a:gd name="connsiteX4" fmla="*/ 499110 w 961549"/>
                  <a:gd name="connsiteY4" fmla="*/ 1089660 h 2175510"/>
                  <a:gd name="connsiteX5" fmla="*/ 961549 w 961549"/>
                  <a:gd name="connsiteY5" fmla="*/ 1643063 h 2175510"/>
                  <a:gd name="connsiteX6" fmla="*/ 925830 w 961549"/>
                  <a:gd name="connsiteY6" fmla="*/ 2175510 h 2175510"/>
                  <a:gd name="connsiteX0" fmla="*/ 928211 w 961549"/>
                  <a:gd name="connsiteY0" fmla="*/ 2175510 h 2175510"/>
                  <a:gd name="connsiteX1" fmla="*/ 0 w 961549"/>
                  <a:gd name="connsiteY1" fmla="*/ 1070610 h 2175510"/>
                  <a:gd name="connsiteX2" fmla="*/ 57150 w 961549"/>
                  <a:gd name="connsiteY2" fmla="*/ 0 h 2175510"/>
                  <a:gd name="connsiteX3" fmla="*/ 525780 w 961549"/>
                  <a:gd name="connsiteY3" fmla="*/ 548640 h 2175510"/>
                  <a:gd name="connsiteX4" fmla="*/ 499110 w 961549"/>
                  <a:gd name="connsiteY4" fmla="*/ 1089660 h 2175510"/>
                  <a:gd name="connsiteX5" fmla="*/ 961549 w 961549"/>
                  <a:gd name="connsiteY5" fmla="*/ 1643063 h 2175510"/>
                  <a:gd name="connsiteX6" fmla="*/ 928211 w 961549"/>
                  <a:gd name="connsiteY6" fmla="*/ 2175510 h 2175510"/>
                  <a:gd name="connsiteX0" fmla="*/ 928211 w 961549"/>
                  <a:gd name="connsiteY0" fmla="*/ 2175510 h 2175510"/>
                  <a:gd name="connsiteX1" fmla="*/ 0 w 961549"/>
                  <a:gd name="connsiteY1" fmla="*/ 1070610 h 2175510"/>
                  <a:gd name="connsiteX2" fmla="*/ 57150 w 961549"/>
                  <a:gd name="connsiteY2" fmla="*/ 0 h 2175510"/>
                  <a:gd name="connsiteX3" fmla="*/ 528161 w 961549"/>
                  <a:gd name="connsiteY3" fmla="*/ 548640 h 2175510"/>
                  <a:gd name="connsiteX4" fmla="*/ 499110 w 961549"/>
                  <a:gd name="connsiteY4" fmla="*/ 1089660 h 2175510"/>
                  <a:gd name="connsiteX5" fmla="*/ 961549 w 961549"/>
                  <a:gd name="connsiteY5" fmla="*/ 1643063 h 2175510"/>
                  <a:gd name="connsiteX6" fmla="*/ 928211 w 961549"/>
                  <a:gd name="connsiteY6" fmla="*/ 2175510 h 2175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1549" h="2175510">
                    <a:moveTo>
                      <a:pt x="928211" y="2175510"/>
                    </a:moveTo>
                    <a:lnTo>
                      <a:pt x="0" y="1070610"/>
                    </a:lnTo>
                    <a:lnTo>
                      <a:pt x="57150" y="0"/>
                    </a:lnTo>
                    <a:lnTo>
                      <a:pt x="528161" y="548640"/>
                    </a:lnTo>
                    <a:lnTo>
                      <a:pt x="499110" y="1089660"/>
                    </a:lnTo>
                    <a:lnTo>
                      <a:pt x="961549" y="1643063"/>
                    </a:lnTo>
                    <a:lnTo>
                      <a:pt x="928211" y="2175510"/>
                    </a:lnTo>
                    <a:close/>
                  </a:path>
                </a:pathLst>
              </a:custGeom>
              <a:solidFill>
                <a:srgbClr val="30303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wrap="square" lIns="0" tIns="0" rIns="0" bIns="0" rtlCol="0" anchor="t">
                <a:noAutofit/>
              </a:bodyPr>
              <a:lstStyle/>
              <a:p>
                <a:pPr algn="l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5A475E2C-D917-46F1-A356-68AB24E04E54}"/>
                  </a:ext>
                </a:extLst>
              </p:cNvPr>
              <p:cNvSpPr/>
              <p:nvPr/>
            </p:nvSpPr>
            <p:spPr bwMode="auto">
              <a:xfrm>
                <a:off x="4337050" y="2965450"/>
                <a:ext cx="1489075" cy="1758950"/>
              </a:xfrm>
              <a:custGeom>
                <a:avLst/>
                <a:gdLst>
                  <a:gd name="connsiteX0" fmla="*/ 38100 w 1489075"/>
                  <a:gd name="connsiteY0" fmla="*/ 1219200 h 1758950"/>
                  <a:gd name="connsiteX1" fmla="*/ 720725 w 1489075"/>
                  <a:gd name="connsiteY1" fmla="*/ 885825 h 1758950"/>
                  <a:gd name="connsiteX2" fmla="*/ 771525 w 1489075"/>
                  <a:gd name="connsiteY2" fmla="*/ 349250 h 1758950"/>
                  <a:gd name="connsiteX3" fmla="*/ 1489075 w 1489075"/>
                  <a:gd name="connsiteY3" fmla="*/ 0 h 1758950"/>
                  <a:gd name="connsiteX4" fmla="*/ 1368425 w 1489075"/>
                  <a:gd name="connsiteY4" fmla="*/ 1069975 h 1758950"/>
                  <a:gd name="connsiteX5" fmla="*/ 0 w 1489075"/>
                  <a:gd name="connsiteY5" fmla="*/ 1758950 h 1758950"/>
                  <a:gd name="connsiteX6" fmla="*/ 38100 w 1489075"/>
                  <a:gd name="connsiteY6" fmla="*/ 1219200 h 1758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9075" h="1758950">
                    <a:moveTo>
                      <a:pt x="38100" y="1219200"/>
                    </a:moveTo>
                    <a:lnTo>
                      <a:pt x="720725" y="885825"/>
                    </a:lnTo>
                    <a:lnTo>
                      <a:pt x="771525" y="349250"/>
                    </a:lnTo>
                    <a:lnTo>
                      <a:pt x="1489075" y="0"/>
                    </a:lnTo>
                    <a:lnTo>
                      <a:pt x="1368425" y="1069975"/>
                    </a:lnTo>
                    <a:lnTo>
                      <a:pt x="0" y="1758950"/>
                    </a:lnTo>
                    <a:lnTo>
                      <a:pt x="38100" y="1219200"/>
                    </a:lnTo>
                    <a:close/>
                  </a:path>
                </a:pathLst>
              </a:custGeom>
              <a:solidFill>
                <a:srgbClr val="646464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wrap="square" lIns="0" tIns="0" rIns="0" bIns="0" rtlCol="0" anchor="t">
                <a:noAutofit/>
              </a:bodyPr>
              <a:lstStyle/>
              <a:p>
                <a:pPr algn="l"/>
                <a:endParaRPr lang="en-GB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34" name="Graphic 33" descr="Puzzle">
              <a:extLst>
                <a:ext uri="{FF2B5EF4-FFF2-40B4-BE49-F238E27FC236}">
                  <a16:creationId xmlns:a16="http://schemas.microsoft.com/office/drawing/2014/main" id="{607CEEB5-F5F3-467E-9D19-3575295A45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615134" y="1817221"/>
              <a:ext cx="380021" cy="380021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scene3d>
              <a:camera prst="isometricLeftDown"/>
              <a:lightRig rig="threePt" dir="t"/>
            </a:scene3d>
          </p:spPr>
        </p:pic>
        <p:pic>
          <p:nvPicPr>
            <p:cNvPr id="36" name="Graphic 35" descr="Map compass">
              <a:extLst>
                <a:ext uri="{FF2B5EF4-FFF2-40B4-BE49-F238E27FC236}">
                  <a16:creationId xmlns:a16="http://schemas.microsoft.com/office/drawing/2014/main" id="{D4723CCD-D586-420B-BAEE-8C5A57E4A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352813" y="2167682"/>
              <a:ext cx="343925" cy="343925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scene3d>
              <a:camera prst="perspectiveRelaxedModerately"/>
              <a:lightRig rig="threePt" dir="t"/>
            </a:scene3d>
          </p:spPr>
        </p:pic>
        <p:pic>
          <p:nvPicPr>
            <p:cNvPr id="38" name="Graphic 37" descr="Unlock">
              <a:extLst>
                <a:ext uri="{FF2B5EF4-FFF2-40B4-BE49-F238E27FC236}">
                  <a16:creationId xmlns:a16="http://schemas.microsoft.com/office/drawing/2014/main" id="{60D408DE-02CA-44C0-8571-2C3D9981E5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130969" y="1712804"/>
              <a:ext cx="400895" cy="400895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scene3d>
              <a:camera prst="isometricRightUp"/>
              <a:lightRig rig="threePt" dir="t"/>
            </a:scene3d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0F6410F4-4EC8-46CD-A5E4-E7538A2561F0}"/>
              </a:ext>
            </a:extLst>
          </p:cNvPr>
          <p:cNvSpPr/>
          <p:nvPr/>
        </p:nvSpPr>
        <p:spPr bwMode="auto">
          <a:xfrm>
            <a:off x="4953793" y="4358447"/>
            <a:ext cx="4858635" cy="165751"/>
          </a:xfrm>
          <a:prstGeom prst="rect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79795D5-D008-427E-90DB-A45CAB97A65A}"/>
              </a:ext>
            </a:extLst>
          </p:cNvPr>
          <p:cNvSpPr/>
          <p:nvPr/>
        </p:nvSpPr>
        <p:spPr>
          <a:xfrm>
            <a:off x="579500" y="5602254"/>
            <a:ext cx="2167134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b="1" dirty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C</a:t>
            </a:r>
            <a:r>
              <a:rPr lang="en-GB" b="1" dirty="0" err="1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ategory</a:t>
            </a:r>
            <a:r>
              <a:rPr lang="en-GB" b="1" dirty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 1</a:t>
            </a:r>
          </a:p>
          <a:p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e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ng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i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enean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modo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ligula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g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A469BE8-487D-4045-85EC-0877C28B8A24}"/>
              </a:ext>
            </a:extLst>
          </p:cNvPr>
          <p:cNvSpPr/>
          <p:nvPr/>
        </p:nvSpPr>
        <p:spPr>
          <a:xfrm>
            <a:off x="3884913" y="5602254"/>
            <a:ext cx="2136171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b="1" dirty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C</a:t>
            </a:r>
            <a:r>
              <a:rPr lang="en-GB" b="1" dirty="0" err="1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ategory</a:t>
            </a:r>
            <a:r>
              <a:rPr lang="en-GB" b="1" dirty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 2</a:t>
            </a:r>
          </a:p>
          <a:p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e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ng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i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enean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modo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ligula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g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D5B8F7E-0C15-4FCA-8410-B7119DEAB87B}"/>
              </a:ext>
            </a:extLst>
          </p:cNvPr>
          <p:cNvSpPr/>
          <p:nvPr/>
        </p:nvSpPr>
        <p:spPr>
          <a:xfrm>
            <a:off x="7216634" y="5602254"/>
            <a:ext cx="2136171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b="1" dirty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C</a:t>
            </a:r>
            <a:r>
              <a:rPr lang="en-GB" b="1" dirty="0" err="1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ategory</a:t>
            </a:r>
            <a:r>
              <a:rPr lang="en-GB" b="1" dirty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 3</a:t>
            </a:r>
          </a:p>
          <a:p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e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ng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i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enean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modo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ligula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get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00" dirty="0">
                <a:solidFill>
                  <a:schemeClr val="accent2">
                    <a:lumMod val="1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3F76BE-8295-45DA-B764-B8C59D355304}"/>
              </a:ext>
            </a:extLst>
          </p:cNvPr>
          <p:cNvSpPr txBox="1"/>
          <p:nvPr/>
        </p:nvSpPr>
        <p:spPr>
          <a:xfrm>
            <a:off x="323986" y="1799129"/>
            <a:ext cx="2951018" cy="17642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just"/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d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u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erspiciatis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und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mnis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st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atus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rror sit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oluptate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ccusantiu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emqu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udantiu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ota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rem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peria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aqu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psa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ua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ab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llo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ventor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eritatis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t quasi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chitecto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eata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vitae dicta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n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xplicabo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Nemo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ni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psa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oluptate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uia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oluptas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spernatur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u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di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u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fugit,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d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uia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quuntur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gni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es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os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qui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ation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oluptate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qui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esciun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eque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orro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uisqua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s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qui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em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ipsum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uia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lor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sit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me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ctetur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ipisci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elit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</a:t>
            </a:r>
          </a:p>
        </p:txBody>
      </p:sp>
      <p:pic>
        <p:nvPicPr>
          <p:cNvPr id="33" name="Graphic 32" descr="Unlock">
            <a:extLst>
              <a:ext uri="{FF2B5EF4-FFF2-40B4-BE49-F238E27FC236}">
                <a16:creationId xmlns:a16="http://schemas.microsoft.com/office/drawing/2014/main" id="{DF99C03F-357C-4A2C-B530-CEF91A8765D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86866" y="4859363"/>
            <a:ext cx="468828" cy="468828"/>
          </a:xfrm>
          <a:prstGeom prst="rect">
            <a:avLst/>
          </a:prstGeom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7" name="Graphic 36" descr="Map compass">
            <a:extLst>
              <a:ext uri="{FF2B5EF4-FFF2-40B4-BE49-F238E27FC236}">
                <a16:creationId xmlns:a16="http://schemas.microsoft.com/office/drawing/2014/main" id="{BFA42906-1032-42D8-8492-8796C4083BF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690618" y="4817695"/>
            <a:ext cx="552164" cy="552164"/>
          </a:xfrm>
          <a:prstGeom prst="rect">
            <a:avLst/>
          </a:prstGeom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A5B6C513-AB19-42E0-BDE0-5B4AE57BD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3 bullets</a:t>
            </a:r>
            <a:endParaRPr lang="da-DK" dirty="0"/>
          </a:p>
        </p:txBody>
      </p:sp>
      <p:sp>
        <p:nvSpPr>
          <p:cNvPr id="48" name="Text Placeholder 32">
            <a:extLst>
              <a:ext uri="{FF2B5EF4-FFF2-40B4-BE49-F238E27FC236}">
                <a16:creationId xmlns:a16="http://schemas.microsoft.com/office/drawing/2014/main" id="{C2525F8E-8B88-4F79-AF7A-A88ACF396BD2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99399379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D8D37E26-1B8D-4F83-978B-B53A3E909B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D8D37E26-1B8D-4F83-978B-B53A3E909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" name="Freeform 3">
            <a:extLst>
              <a:ext uri="{FF2B5EF4-FFF2-40B4-BE49-F238E27FC236}">
                <a16:creationId xmlns:a16="http://schemas.microsoft.com/office/drawing/2014/main" id="{67F9F372-7746-45A8-B749-4F5DC094FCC1}"/>
              </a:ext>
            </a:extLst>
          </p:cNvPr>
          <p:cNvSpPr>
            <a:spLocks/>
          </p:cNvSpPr>
          <p:nvPr/>
        </p:nvSpPr>
        <p:spPr bwMode="auto">
          <a:xfrm>
            <a:off x="5226238" y="1513279"/>
            <a:ext cx="1200150" cy="900112"/>
          </a:xfrm>
          <a:custGeom>
            <a:avLst/>
            <a:gdLst>
              <a:gd name="T0" fmla="*/ 510 w 3781"/>
              <a:gd name="T1" fmla="*/ 2175 h 2835"/>
              <a:gd name="T2" fmla="*/ 640 w 3781"/>
              <a:gd name="T3" fmla="*/ 1845 h 2835"/>
              <a:gd name="T4" fmla="*/ 370 w 3781"/>
              <a:gd name="T5" fmla="*/ 1470 h 2835"/>
              <a:gd name="T6" fmla="*/ 0 w 3781"/>
              <a:gd name="T7" fmla="*/ 1220 h 2835"/>
              <a:gd name="T8" fmla="*/ 130 w 3781"/>
              <a:gd name="T9" fmla="*/ 1235 h 2835"/>
              <a:gd name="T10" fmla="*/ 345 w 3781"/>
              <a:gd name="T11" fmla="*/ 1190 h 2835"/>
              <a:gd name="T12" fmla="*/ 645 w 3781"/>
              <a:gd name="T13" fmla="*/ 1325 h 2835"/>
              <a:gd name="T14" fmla="*/ 915 w 3781"/>
              <a:gd name="T15" fmla="*/ 915 h 2835"/>
              <a:gd name="T16" fmla="*/ 1000 w 3781"/>
              <a:gd name="T17" fmla="*/ 600 h 2835"/>
              <a:gd name="T18" fmla="*/ 970 w 3781"/>
              <a:gd name="T19" fmla="*/ 260 h 2835"/>
              <a:gd name="T20" fmla="*/ 1060 w 3781"/>
              <a:gd name="T21" fmla="*/ 320 h 2835"/>
              <a:gd name="T22" fmla="*/ 1525 w 3781"/>
              <a:gd name="T23" fmla="*/ 365 h 2835"/>
              <a:gd name="T24" fmla="*/ 1350 w 3781"/>
              <a:gd name="T25" fmla="*/ 675 h 2835"/>
              <a:gd name="T26" fmla="*/ 1365 w 3781"/>
              <a:gd name="T27" fmla="*/ 1215 h 2835"/>
              <a:gd name="T28" fmla="*/ 1500 w 3781"/>
              <a:gd name="T29" fmla="*/ 860 h 2835"/>
              <a:gd name="T30" fmla="*/ 1710 w 3781"/>
              <a:gd name="T31" fmla="*/ 365 h 2835"/>
              <a:gd name="T32" fmla="*/ 1855 w 3781"/>
              <a:gd name="T33" fmla="*/ 425 h 2835"/>
              <a:gd name="T34" fmla="*/ 1960 w 3781"/>
              <a:gd name="T35" fmla="*/ 710 h 2835"/>
              <a:gd name="T36" fmla="*/ 1960 w 3781"/>
              <a:gd name="T37" fmla="*/ 245 h 2835"/>
              <a:gd name="T38" fmla="*/ 2080 w 3781"/>
              <a:gd name="T39" fmla="*/ 0 h 2835"/>
              <a:gd name="T40" fmla="*/ 2335 w 3781"/>
              <a:gd name="T41" fmla="*/ 345 h 2835"/>
              <a:gd name="T42" fmla="*/ 2205 w 3781"/>
              <a:gd name="T43" fmla="*/ 510 h 2835"/>
              <a:gd name="T44" fmla="*/ 2310 w 3781"/>
              <a:gd name="T45" fmla="*/ 645 h 2835"/>
              <a:gd name="T46" fmla="*/ 2535 w 3781"/>
              <a:gd name="T47" fmla="*/ 495 h 2835"/>
              <a:gd name="T48" fmla="*/ 2815 w 3781"/>
              <a:gd name="T49" fmla="*/ 350 h 2835"/>
              <a:gd name="T50" fmla="*/ 3025 w 3781"/>
              <a:gd name="T51" fmla="*/ 420 h 2835"/>
              <a:gd name="T52" fmla="*/ 3415 w 3781"/>
              <a:gd name="T53" fmla="*/ 425 h 2835"/>
              <a:gd name="T54" fmla="*/ 3375 w 3781"/>
              <a:gd name="T55" fmla="*/ 720 h 2835"/>
              <a:gd name="T56" fmla="*/ 2775 w 3781"/>
              <a:gd name="T57" fmla="*/ 1025 h 2835"/>
              <a:gd name="T58" fmla="*/ 3160 w 3781"/>
              <a:gd name="T59" fmla="*/ 1245 h 2835"/>
              <a:gd name="T60" fmla="*/ 3420 w 3781"/>
              <a:gd name="T61" fmla="*/ 1115 h 2835"/>
              <a:gd name="T62" fmla="*/ 3781 w 3781"/>
              <a:gd name="T63" fmla="*/ 1116 h 2835"/>
              <a:gd name="T64" fmla="*/ 3399 w 3781"/>
              <a:gd name="T65" fmla="*/ 1666 h 2835"/>
              <a:gd name="T66" fmla="*/ 3204 w 3781"/>
              <a:gd name="T67" fmla="*/ 2121 h 2835"/>
              <a:gd name="T68" fmla="*/ 2995 w 3781"/>
              <a:gd name="T69" fmla="*/ 1896 h 2835"/>
              <a:gd name="T70" fmla="*/ 2694 w 3781"/>
              <a:gd name="T71" fmla="*/ 1315 h 2835"/>
              <a:gd name="T72" fmla="*/ 1960 w 3781"/>
              <a:gd name="T73" fmla="*/ 1415 h 2835"/>
              <a:gd name="T74" fmla="*/ 1855 w 3781"/>
              <a:gd name="T75" fmla="*/ 2295 h 2835"/>
              <a:gd name="T76" fmla="*/ 1735 w 3781"/>
              <a:gd name="T77" fmla="*/ 2705 h 2835"/>
              <a:gd name="T78" fmla="*/ 1555 w 3781"/>
              <a:gd name="T79" fmla="*/ 2750 h 2835"/>
              <a:gd name="T80" fmla="*/ 1135 w 3781"/>
              <a:gd name="T81" fmla="*/ 2750 h 2835"/>
              <a:gd name="T82" fmla="*/ 745 w 3781"/>
              <a:gd name="T83" fmla="*/ 2720 h 2835"/>
              <a:gd name="T84" fmla="*/ 570 w 3781"/>
              <a:gd name="T85" fmla="*/ 2445 h 283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781"/>
              <a:gd name="T130" fmla="*/ 0 h 2835"/>
              <a:gd name="T131" fmla="*/ 3781 w 3781"/>
              <a:gd name="T132" fmla="*/ 2835 h 283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781" h="2835">
                <a:moveTo>
                  <a:pt x="570" y="2445"/>
                </a:moveTo>
                <a:lnTo>
                  <a:pt x="615" y="2360"/>
                </a:lnTo>
                <a:lnTo>
                  <a:pt x="510" y="2175"/>
                </a:lnTo>
                <a:lnTo>
                  <a:pt x="490" y="2045"/>
                </a:lnTo>
                <a:lnTo>
                  <a:pt x="655" y="1940"/>
                </a:lnTo>
                <a:lnTo>
                  <a:pt x="640" y="1845"/>
                </a:lnTo>
                <a:lnTo>
                  <a:pt x="535" y="1745"/>
                </a:lnTo>
                <a:lnTo>
                  <a:pt x="465" y="1575"/>
                </a:lnTo>
                <a:lnTo>
                  <a:pt x="370" y="1470"/>
                </a:lnTo>
                <a:lnTo>
                  <a:pt x="330" y="1365"/>
                </a:lnTo>
                <a:lnTo>
                  <a:pt x="190" y="1325"/>
                </a:lnTo>
                <a:lnTo>
                  <a:pt x="0" y="1220"/>
                </a:lnTo>
                <a:lnTo>
                  <a:pt x="105" y="1115"/>
                </a:lnTo>
                <a:lnTo>
                  <a:pt x="150" y="1130"/>
                </a:lnTo>
                <a:lnTo>
                  <a:pt x="130" y="1235"/>
                </a:lnTo>
                <a:lnTo>
                  <a:pt x="210" y="1230"/>
                </a:lnTo>
                <a:lnTo>
                  <a:pt x="280" y="1185"/>
                </a:lnTo>
                <a:lnTo>
                  <a:pt x="345" y="1190"/>
                </a:lnTo>
                <a:lnTo>
                  <a:pt x="355" y="1310"/>
                </a:lnTo>
                <a:lnTo>
                  <a:pt x="495" y="1310"/>
                </a:lnTo>
                <a:lnTo>
                  <a:pt x="645" y="1325"/>
                </a:lnTo>
                <a:lnTo>
                  <a:pt x="730" y="1175"/>
                </a:lnTo>
                <a:lnTo>
                  <a:pt x="850" y="1085"/>
                </a:lnTo>
                <a:lnTo>
                  <a:pt x="915" y="915"/>
                </a:lnTo>
                <a:lnTo>
                  <a:pt x="1030" y="855"/>
                </a:lnTo>
                <a:lnTo>
                  <a:pt x="1015" y="720"/>
                </a:lnTo>
                <a:lnTo>
                  <a:pt x="1000" y="600"/>
                </a:lnTo>
                <a:lnTo>
                  <a:pt x="970" y="540"/>
                </a:lnTo>
                <a:lnTo>
                  <a:pt x="1035" y="375"/>
                </a:lnTo>
                <a:lnTo>
                  <a:pt x="970" y="260"/>
                </a:lnTo>
                <a:lnTo>
                  <a:pt x="1030" y="195"/>
                </a:lnTo>
                <a:lnTo>
                  <a:pt x="1125" y="285"/>
                </a:lnTo>
                <a:lnTo>
                  <a:pt x="1060" y="320"/>
                </a:lnTo>
                <a:lnTo>
                  <a:pt x="1210" y="425"/>
                </a:lnTo>
                <a:lnTo>
                  <a:pt x="1360" y="350"/>
                </a:lnTo>
                <a:lnTo>
                  <a:pt x="1525" y="365"/>
                </a:lnTo>
                <a:lnTo>
                  <a:pt x="1540" y="525"/>
                </a:lnTo>
                <a:lnTo>
                  <a:pt x="1425" y="575"/>
                </a:lnTo>
                <a:lnTo>
                  <a:pt x="1350" y="675"/>
                </a:lnTo>
                <a:lnTo>
                  <a:pt x="1350" y="930"/>
                </a:lnTo>
                <a:lnTo>
                  <a:pt x="1330" y="1110"/>
                </a:lnTo>
                <a:lnTo>
                  <a:pt x="1365" y="1215"/>
                </a:lnTo>
                <a:lnTo>
                  <a:pt x="1455" y="1170"/>
                </a:lnTo>
                <a:lnTo>
                  <a:pt x="1485" y="995"/>
                </a:lnTo>
                <a:lnTo>
                  <a:pt x="1500" y="860"/>
                </a:lnTo>
                <a:lnTo>
                  <a:pt x="1605" y="665"/>
                </a:lnTo>
                <a:lnTo>
                  <a:pt x="1630" y="500"/>
                </a:lnTo>
                <a:lnTo>
                  <a:pt x="1710" y="365"/>
                </a:lnTo>
                <a:lnTo>
                  <a:pt x="1680" y="305"/>
                </a:lnTo>
                <a:lnTo>
                  <a:pt x="1760" y="200"/>
                </a:lnTo>
                <a:lnTo>
                  <a:pt x="1855" y="425"/>
                </a:lnTo>
                <a:lnTo>
                  <a:pt x="1800" y="575"/>
                </a:lnTo>
                <a:lnTo>
                  <a:pt x="1875" y="855"/>
                </a:lnTo>
                <a:lnTo>
                  <a:pt x="1960" y="710"/>
                </a:lnTo>
                <a:lnTo>
                  <a:pt x="1935" y="590"/>
                </a:lnTo>
                <a:lnTo>
                  <a:pt x="2040" y="410"/>
                </a:lnTo>
                <a:lnTo>
                  <a:pt x="1960" y="245"/>
                </a:lnTo>
                <a:lnTo>
                  <a:pt x="1960" y="135"/>
                </a:lnTo>
                <a:lnTo>
                  <a:pt x="2035" y="90"/>
                </a:lnTo>
                <a:lnTo>
                  <a:pt x="2080" y="0"/>
                </a:lnTo>
                <a:lnTo>
                  <a:pt x="2340" y="0"/>
                </a:lnTo>
                <a:lnTo>
                  <a:pt x="2470" y="180"/>
                </a:lnTo>
                <a:lnTo>
                  <a:pt x="2335" y="345"/>
                </a:lnTo>
                <a:lnTo>
                  <a:pt x="2245" y="350"/>
                </a:lnTo>
                <a:lnTo>
                  <a:pt x="2260" y="420"/>
                </a:lnTo>
                <a:lnTo>
                  <a:pt x="2205" y="510"/>
                </a:lnTo>
                <a:lnTo>
                  <a:pt x="2275" y="540"/>
                </a:lnTo>
                <a:lnTo>
                  <a:pt x="2425" y="450"/>
                </a:lnTo>
                <a:lnTo>
                  <a:pt x="2310" y="645"/>
                </a:lnTo>
                <a:lnTo>
                  <a:pt x="2430" y="675"/>
                </a:lnTo>
                <a:lnTo>
                  <a:pt x="2565" y="620"/>
                </a:lnTo>
                <a:lnTo>
                  <a:pt x="2535" y="495"/>
                </a:lnTo>
                <a:lnTo>
                  <a:pt x="2505" y="285"/>
                </a:lnTo>
                <a:lnTo>
                  <a:pt x="2680" y="180"/>
                </a:lnTo>
                <a:lnTo>
                  <a:pt x="2815" y="350"/>
                </a:lnTo>
                <a:lnTo>
                  <a:pt x="2965" y="290"/>
                </a:lnTo>
                <a:lnTo>
                  <a:pt x="3045" y="305"/>
                </a:lnTo>
                <a:lnTo>
                  <a:pt x="3025" y="420"/>
                </a:lnTo>
                <a:lnTo>
                  <a:pt x="3265" y="330"/>
                </a:lnTo>
                <a:lnTo>
                  <a:pt x="3325" y="390"/>
                </a:lnTo>
                <a:lnTo>
                  <a:pt x="3415" y="425"/>
                </a:lnTo>
                <a:lnTo>
                  <a:pt x="3480" y="525"/>
                </a:lnTo>
                <a:lnTo>
                  <a:pt x="3525" y="650"/>
                </a:lnTo>
                <a:lnTo>
                  <a:pt x="3375" y="720"/>
                </a:lnTo>
                <a:lnTo>
                  <a:pt x="3150" y="945"/>
                </a:lnTo>
                <a:lnTo>
                  <a:pt x="2770" y="960"/>
                </a:lnTo>
                <a:lnTo>
                  <a:pt x="2775" y="1025"/>
                </a:lnTo>
                <a:lnTo>
                  <a:pt x="3070" y="1050"/>
                </a:lnTo>
                <a:lnTo>
                  <a:pt x="3145" y="1115"/>
                </a:lnTo>
                <a:lnTo>
                  <a:pt x="3160" y="1245"/>
                </a:lnTo>
                <a:lnTo>
                  <a:pt x="3295" y="1250"/>
                </a:lnTo>
                <a:lnTo>
                  <a:pt x="3375" y="1220"/>
                </a:lnTo>
                <a:lnTo>
                  <a:pt x="3420" y="1115"/>
                </a:lnTo>
                <a:lnTo>
                  <a:pt x="3550" y="1035"/>
                </a:lnTo>
                <a:lnTo>
                  <a:pt x="3690" y="1005"/>
                </a:lnTo>
                <a:lnTo>
                  <a:pt x="3781" y="1116"/>
                </a:lnTo>
                <a:lnTo>
                  <a:pt x="3628" y="1426"/>
                </a:lnTo>
                <a:lnTo>
                  <a:pt x="3460" y="1441"/>
                </a:lnTo>
                <a:lnTo>
                  <a:pt x="3399" y="1666"/>
                </a:lnTo>
                <a:lnTo>
                  <a:pt x="3208" y="1816"/>
                </a:lnTo>
                <a:lnTo>
                  <a:pt x="3195" y="1971"/>
                </a:lnTo>
                <a:lnTo>
                  <a:pt x="3204" y="2121"/>
                </a:lnTo>
                <a:lnTo>
                  <a:pt x="3045" y="2130"/>
                </a:lnTo>
                <a:lnTo>
                  <a:pt x="3016" y="2068"/>
                </a:lnTo>
                <a:lnTo>
                  <a:pt x="2995" y="1896"/>
                </a:lnTo>
                <a:lnTo>
                  <a:pt x="3055" y="1685"/>
                </a:lnTo>
                <a:lnTo>
                  <a:pt x="3013" y="1425"/>
                </a:lnTo>
                <a:lnTo>
                  <a:pt x="2694" y="1315"/>
                </a:lnTo>
                <a:lnTo>
                  <a:pt x="2370" y="1155"/>
                </a:lnTo>
                <a:lnTo>
                  <a:pt x="2215" y="1335"/>
                </a:lnTo>
                <a:lnTo>
                  <a:pt x="1960" y="1415"/>
                </a:lnTo>
                <a:lnTo>
                  <a:pt x="1905" y="1595"/>
                </a:lnTo>
                <a:lnTo>
                  <a:pt x="1836" y="2074"/>
                </a:lnTo>
                <a:lnTo>
                  <a:pt x="1855" y="2295"/>
                </a:lnTo>
                <a:lnTo>
                  <a:pt x="1990" y="2430"/>
                </a:lnTo>
                <a:lnTo>
                  <a:pt x="1825" y="2535"/>
                </a:lnTo>
                <a:lnTo>
                  <a:pt x="1735" y="2705"/>
                </a:lnTo>
                <a:lnTo>
                  <a:pt x="1720" y="2820"/>
                </a:lnTo>
                <a:lnTo>
                  <a:pt x="1630" y="2835"/>
                </a:lnTo>
                <a:lnTo>
                  <a:pt x="1555" y="2750"/>
                </a:lnTo>
                <a:lnTo>
                  <a:pt x="1455" y="2760"/>
                </a:lnTo>
                <a:lnTo>
                  <a:pt x="1270" y="2610"/>
                </a:lnTo>
                <a:lnTo>
                  <a:pt x="1135" y="2750"/>
                </a:lnTo>
                <a:lnTo>
                  <a:pt x="1015" y="2760"/>
                </a:lnTo>
                <a:lnTo>
                  <a:pt x="870" y="2835"/>
                </a:lnTo>
                <a:lnTo>
                  <a:pt x="745" y="2720"/>
                </a:lnTo>
                <a:lnTo>
                  <a:pt x="640" y="2750"/>
                </a:lnTo>
                <a:lnTo>
                  <a:pt x="570" y="2645"/>
                </a:lnTo>
                <a:lnTo>
                  <a:pt x="570" y="2445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16" name="Freeform 4">
            <a:extLst>
              <a:ext uri="{FF2B5EF4-FFF2-40B4-BE49-F238E27FC236}">
                <a16:creationId xmlns:a16="http://schemas.microsoft.com/office/drawing/2014/main" id="{3E322B32-117C-444F-AA74-A6A63BBAD65B}"/>
              </a:ext>
            </a:extLst>
          </p:cNvPr>
          <p:cNvSpPr>
            <a:spLocks/>
          </p:cNvSpPr>
          <p:nvPr/>
        </p:nvSpPr>
        <p:spPr bwMode="auto">
          <a:xfrm>
            <a:off x="4662675" y="1900629"/>
            <a:ext cx="771525" cy="671512"/>
          </a:xfrm>
          <a:custGeom>
            <a:avLst/>
            <a:gdLst>
              <a:gd name="T0" fmla="*/ 240 w 2431"/>
              <a:gd name="T1" fmla="*/ 1901 h 2115"/>
              <a:gd name="T2" fmla="*/ 615 w 2431"/>
              <a:gd name="T3" fmla="*/ 1876 h 2115"/>
              <a:gd name="T4" fmla="*/ 1390 w 2431"/>
              <a:gd name="T5" fmla="*/ 2115 h 2115"/>
              <a:gd name="T6" fmla="*/ 1521 w 2431"/>
              <a:gd name="T7" fmla="*/ 1808 h 2115"/>
              <a:gd name="T8" fmla="*/ 1572 w 2431"/>
              <a:gd name="T9" fmla="*/ 1487 h 2115"/>
              <a:gd name="T10" fmla="*/ 1660 w 2431"/>
              <a:gd name="T11" fmla="*/ 1238 h 2115"/>
              <a:gd name="T12" fmla="*/ 1920 w 2431"/>
              <a:gd name="T13" fmla="*/ 1166 h 2115"/>
              <a:gd name="T14" fmla="*/ 1909 w 2431"/>
              <a:gd name="T15" fmla="*/ 1076 h 2115"/>
              <a:gd name="T16" fmla="*/ 1942 w 2431"/>
              <a:gd name="T17" fmla="*/ 915 h 2115"/>
              <a:gd name="T18" fmla="*/ 2346 w 2431"/>
              <a:gd name="T19" fmla="*/ 1226 h 2115"/>
              <a:gd name="T20" fmla="*/ 2284 w 2431"/>
              <a:gd name="T21" fmla="*/ 954 h 2115"/>
              <a:gd name="T22" fmla="*/ 2431 w 2431"/>
              <a:gd name="T23" fmla="*/ 721 h 2115"/>
              <a:gd name="T24" fmla="*/ 2313 w 2431"/>
              <a:gd name="T25" fmla="*/ 528 h 2115"/>
              <a:gd name="T26" fmla="*/ 2142 w 2431"/>
              <a:gd name="T27" fmla="*/ 246 h 2115"/>
              <a:gd name="T28" fmla="*/ 1965 w 2431"/>
              <a:gd name="T29" fmla="*/ 105 h 2115"/>
              <a:gd name="T30" fmla="*/ 1786 w 2431"/>
              <a:gd name="T31" fmla="*/ 76 h 2115"/>
              <a:gd name="T32" fmla="*/ 2086 w 2431"/>
              <a:gd name="T33" fmla="*/ 226 h 2115"/>
              <a:gd name="T34" fmla="*/ 2061 w 2431"/>
              <a:gd name="T35" fmla="*/ 421 h 2115"/>
              <a:gd name="T36" fmla="*/ 1846 w 2431"/>
              <a:gd name="T37" fmla="*/ 286 h 2115"/>
              <a:gd name="T38" fmla="*/ 1641 w 2431"/>
              <a:gd name="T39" fmla="*/ 431 h 2115"/>
              <a:gd name="T40" fmla="*/ 1506 w 2431"/>
              <a:gd name="T41" fmla="*/ 586 h 2115"/>
              <a:gd name="T42" fmla="*/ 1681 w 2431"/>
              <a:gd name="T43" fmla="*/ 751 h 2115"/>
              <a:gd name="T44" fmla="*/ 1461 w 2431"/>
              <a:gd name="T45" fmla="*/ 496 h 2115"/>
              <a:gd name="T46" fmla="*/ 1276 w 2431"/>
              <a:gd name="T47" fmla="*/ 446 h 2115"/>
              <a:gd name="T48" fmla="*/ 1231 w 2431"/>
              <a:gd name="T49" fmla="*/ 721 h 2115"/>
              <a:gd name="T50" fmla="*/ 1100 w 2431"/>
              <a:gd name="T51" fmla="*/ 596 h 2115"/>
              <a:gd name="T52" fmla="*/ 900 w 2431"/>
              <a:gd name="T53" fmla="*/ 776 h 2115"/>
              <a:gd name="T54" fmla="*/ 750 w 2431"/>
              <a:gd name="T55" fmla="*/ 856 h 2115"/>
              <a:gd name="T56" fmla="*/ 770 w 2431"/>
              <a:gd name="T57" fmla="*/ 1006 h 2115"/>
              <a:gd name="T58" fmla="*/ 620 w 2431"/>
              <a:gd name="T59" fmla="*/ 946 h 2115"/>
              <a:gd name="T60" fmla="*/ 545 w 2431"/>
              <a:gd name="T61" fmla="*/ 1286 h 2115"/>
              <a:gd name="T62" fmla="*/ 380 w 2431"/>
              <a:gd name="T63" fmla="*/ 1411 h 2115"/>
              <a:gd name="T64" fmla="*/ 390 w 2431"/>
              <a:gd name="T65" fmla="*/ 1636 h 2115"/>
              <a:gd name="T66" fmla="*/ 240 w 2431"/>
              <a:gd name="T67" fmla="*/ 1726 h 2115"/>
              <a:gd name="T68" fmla="*/ 0 w 2431"/>
              <a:gd name="T69" fmla="*/ 1891 h 211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431"/>
              <a:gd name="T106" fmla="*/ 0 h 2115"/>
              <a:gd name="T107" fmla="*/ 2431 w 2431"/>
              <a:gd name="T108" fmla="*/ 2115 h 211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431" h="2115">
                <a:moveTo>
                  <a:pt x="0" y="1976"/>
                </a:moveTo>
                <a:lnTo>
                  <a:pt x="240" y="1901"/>
                </a:lnTo>
                <a:lnTo>
                  <a:pt x="390" y="1831"/>
                </a:lnTo>
                <a:lnTo>
                  <a:pt x="615" y="1876"/>
                </a:lnTo>
                <a:lnTo>
                  <a:pt x="840" y="1866"/>
                </a:lnTo>
                <a:lnTo>
                  <a:pt x="1390" y="2115"/>
                </a:lnTo>
                <a:lnTo>
                  <a:pt x="1539" y="1979"/>
                </a:lnTo>
                <a:lnTo>
                  <a:pt x="1521" y="1808"/>
                </a:lnTo>
                <a:lnTo>
                  <a:pt x="1602" y="1704"/>
                </a:lnTo>
                <a:lnTo>
                  <a:pt x="1572" y="1487"/>
                </a:lnTo>
                <a:lnTo>
                  <a:pt x="1500" y="1298"/>
                </a:lnTo>
                <a:lnTo>
                  <a:pt x="1660" y="1238"/>
                </a:lnTo>
                <a:lnTo>
                  <a:pt x="1720" y="1176"/>
                </a:lnTo>
                <a:lnTo>
                  <a:pt x="1920" y="1166"/>
                </a:lnTo>
                <a:lnTo>
                  <a:pt x="2001" y="1104"/>
                </a:lnTo>
                <a:lnTo>
                  <a:pt x="1909" y="1076"/>
                </a:lnTo>
                <a:lnTo>
                  <a:pt x="1861" y="986"/>
                </a:lnTo>
                <a:lnTo>
                  <a:pt x="1942" y="915"/>
                </a:lnTo>
                <a:lnTo>
                  <a:pt x="2092" y="956"/>
                </a:lnTo>
                <a:lnTo>
                  <a:pt x="2346" y="1226"/>
                </a:lnTo>
                <a:lnTo>
                  <a:pt x="2391" y="1142"/>
                </a:lnTo>
                <a:lnTo>
                  <a:pt x="2284" y="954"/>
                </a:lnTo>
                <a:lnTo>
                  <a:pt x="2266" y="825"/>
                </a:lnTo>
                <a:lnTo>
                  <a:pt x="2431" y="721"/>
                </a:lnTo>
                <a:lnTo>
                  <a:pt x="2415" y="627"/>
                </a:lnTo>
                <a:lnTo>
                  <a:pt x="2313" y="528"/>
                </a:lnTo>
                <a:lnTo>
                  <a:pt x="2241" y="356"/>
                </a:lnTo>
                <a:lnTo>
                  <a:pt x="2142" y="246"/>
                </a:lnTo>
                <a:lnTo>
                  <a:pt x="2106" y="146"/>
                </a:lnTo>
                <a:lnTo>
                  <a:pt x="1965" y="105"/>
                </a:lnTo>
                <a:lnTo>
                  <a:pt x="1777" y="0"/>
                </a:lnTo>
                <a:lnTo>
                  <a:pt x="1786" y="76"/>
                </a:lnTo>
                <a:lnTo>
                  <a:pt x="1911" y="221"/>
                </a:lnTo>
                <a:lnTo>
                  <a:pt x="2086" y="226"/>
                </a:lnTo>
                <a:lnTo>
                  <a:pt x="2061" y="331"/>
                </a:lnTo>
                <a:lnTo>
                  <a:pt x="2061" y="421"/>
                </a:lnTo>
                <a:lnTo>
                  <a:pt x="1926" y="416"/>
                </a:lnTo>
                <a:lnTo>
                  <a:pt x="1846" y="286"/>
                </a:lnTo>
                <a:lnTo>
                  <a:pt x="1771" y="371"/>
                </a:lnTo>
                <a:lnTo>
                  <a:pt x="1641" y="431"/>
                </a:lnTo>
                <a:lnTo>
                  <a:pt x="1566" y="481"/>
                </a:lnTo>
                <a:lnTo>
                  <a:pt x="1506" y="586"/>
                </a:lnTo>
                <a:lnTo>
                  <a:pt x="1591" y="671"/>
                </a:lnTo>
                <a:lnTo>
                  <a:pt x="1681" y="751"/>
                </a:lnTo>
                <a:lnTo>
                  <a:pt x="1491" y="761"/>
                </a:lnTo>
                <a:lnTo>
                  <a:pt x="1461" y="496"/>
                </a:lnTo>
                <a:lnTo>
                  <a:pt x="1356" y="416"/>
                </a:lnTo>
                <a:lnTo>
                  <a:pt x="1276" y="446"/>
                </a:lnTo>
                <a:lnTo>
                  <a:pt x="1216" y="526"/>
                </a:lnTo>
                <a:lnTo>
                  <a:pt x="1231" y="721"/>
                </a:lnTo>
                <a:lnTo>
                  <a:pt x="1185" y="806"/>
                </a:lnTo>
                <a:lnTo>
                  <a:pt x="1100" y="596"/>
                </a:lnTo>
                <a:lnTo>
                  <a:pt x="860" y="626"/>
                </a:lnTo>
                <a:lnTo>
                  <a:pt x="900" y="776"/>
                </a:lnTo>
                <a:lnTo>
                  <a:pt x="915" y="931"/>
                </a:lnTo>
                <a:lnTo>
                  <a:pt x="750" y="856"/>
                </a:lnTo>
                <a:lnTo>
                  <a:pt x="705" y="931"/>
                </a:lnTo>
                <a:lnTo>
                  <a:pt x="770" y="1006"/>
                </a:lnTo>
                <a:lnTo>
                  <a:pt x="725" y="1081"/>
                </a:lnTo>
                <a:lnTo>
                  <a:pt x="620" y="946"/>
                </a:lnTo>
                <a:lnTo>
                  <a:pt x="570" y="971"/>
                </a:lnTo>
                <a:lnTo>
                  <a:pt x="545" y="1286"/>
                </a:lnTo>
                <a:lnTo>
                  <a:pt x="425" y="1316"/>
                </a:lnTo>
                <a:lnTo>
                  <a:pt x="380" y="1411"/>
                </a:lnTo>
                <a:lnTo>
                  <a:pt x="405" y="1511"/>
                </a:lnTo>
                <a:lnTo>
                  <a:pt x="390" y="1636"/>
                </a:lnTo>
                <a:lnTo>
                  <a:pt x="335" y="1721"/>
                </a:lnTo>
                <a:lnTo>
                  <a:pt x="240" y="1726"/>
                </a:lnTo>
                <a:lnTo>
                  <a:pt x="95" y="1771"/>
                </a:lnTo>
                <a:lnTo>
                  <a:pt x="0" y="1891"/>
                </a:lnTo>
                <a:lnTo>
                  <a:pt x="0" y="1976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17" name="Freeform 5">
            <a:extLst>
              <a:ext uri="{FF2B5EF4-FFF2-40B4-BE49-F238E27FC236}">
                <a16:creationId xmlns:a16="http://schemas.microsoft.com/office/drawing/2014/main" id="{EA09501C-BC40-404B-A635-B44762AB0700}"/>
              </a:ext>
            </a:extLst>
          </p:cNvPr>
          <p:cNvSpPr>
            <a:spLocks/>
          </p:cNvSpPr>
          <p:nvPr/>
        </p:nvSpPr>
        <p:spPr bwMode="auto">
          <a:xfrm>
            <a:off x="4054663" y="2481654"/>
            <a:ext cx="804862" cy="1270000"/>
          </a:xfrm>
          <a:custGeom>
            <a:avLst/>
            <a:gdLst>
              <a:gd name="T0" fmla="*/ 10 w 2536"/>
              <a:gd name="T1" fmla="*/ 3645 h 3999"/>
              <a:gd name="T2" fmla="*/ 15 w 2536"/>
              <a:gd name="T3" fmla="*/ 3540 h 3999"/>
              <a:gd name="T4" fmla="*/ 195 w 2536"/>
              <a:gd name="T5" fmla="*/ 3475 h 3999"/>
              <a:gd name="T6" fmla="*/ 255 w 2536"/>
              <a:gd name="T7" fmla="*/ 3090 h 3999"/>
              <a:gd name="T8" fmla="*/ 645 w 2536"/>
              <a:gd name="T9" fmla="*/ 2710 h 3999"/>
              <a:gd name="T10" fmla="*/ 720 w 2536"/>
              <a:gd name="T11" fmla="*/ 2635 h 3999"/>
              <a:gd name="T12" fmla="*/ 445 w 2536"/>
              <a:gd name="T13" fmla="*/ 2575 h 3999"/>
              <a:gd name="T14" fmla="*/ 525 w 2536"/>
              <a:gd name="T15" fmla="*/ 2325 h 3999"/>
              <a:gd name="T16" fmla="*/ 630 w 2536"/>
              <a:gd name="T17" fmla="*/ 2130 h 3999"/>
              <a:gd name="T18" fmla="*/ 945 w 2536"/>
              <a:gd name="T19" fmla="*/ 1749 h 3999"/>
              <a:gd name="T20" fmla="*/ 1525 w 2536"/>
              <a:gd name="T21" fmla="*/ 1629 h 3999"/>
              <a:gd name="T22" fmla="*/ 1105 w 2536"/>
              <a:gd name="T23" fmla="*/ 1574 h 3999"/>
              <a:gd name="T24" fmla="*/ 1320 w 2536"/>
              <a:gd name="T25" fmla="*/ 1194 h 3999"/>
              <a:gd name="T26" fmla="*/ 1510 w 2536"/>
              <a:gd name="T27" fmla="*/ 1109 h 3999"/>
              <a:gd name="T28" fmla="*/ 1495 w 2536"/>
              <a:gd name="T29" fmla="*/ 899 h 3999"/>
              <a:gd name="T30" fmla="*/ 1660 w 2536"/>
              <a:gd name="T31" fmla="*/ 809 h 3999"/>
              <a:gd name="T32" fmla="*/ 1840 w 2536"/>
              <a:gd name="T33" fmla="*/ 734 h 3999"/>
              <a:gd name="T34" fmla="*/ 1885 w 2536"/>
              <a:gd name="T35" fmla="*/ 509 h 3999"/>
              <a:gd name="T36" fmla="*/ 1820 w 2536"/>
              <a:gd name="T37" fmla="*/ 324 h 3999"/>
              <a:gd name="T38" fmla="*/ 2170 w 2536"/>
              <a:gd name="T39" fmla="*/ 309 h 3999"/>
              <a:gd name="T40" fmla="*/ 2306 w 2536"/>
              <a:gd name="T41" fmla="*/ 0 h 3999"/>
              <a:gd name="T42" fmla="*/ 2495 w 2536"/>
              <a:gd name="T43" fmla="*/ 202 h 3999"/>
              <a:gd name="T44" fmla="*/ 2506 w 2536"/>
              <a:gd name="T45" fmla="*/ 606 h 3999"/>
              <a:gd name="T46" fmla="*/ 2170 w 2536"/>
              <a:gd name="T47" fmla="*/ 645 h 3999"/>
              <a:gd name="T48" fmla="*/ 1915 w 2536"/>
              <a:gd name="T49" fmla="*/ 954 h 3999"/>
              <a:gd name="T50" fmla="*/ 1736 w 2536"/>
              <a:gd name="T51" fmla="*/ 1293 h 3999"/>
              <a:gd name="T52" fmla="*/ 1897 w 2536"/>
              <a:gd name="T53" fmla="*/ 1654 h 3999"/>
              <a:gd name="T54" fmla="*/ 1514 w 2536"/>
              <a:gd name="T55" fmla="*/ 2344 h 3999"/>
              <a:gd name="T56" fmla="*/ 1455 w 2536"/>
              <a:gd name="T57" fmla="*/ 2715 h 3999"/>
              <a:gd name="T58" fmla="*/ 1066 w 2536"/>
              <a:gd name="T59" fmla="*/ 2755 h 3999"/>
              <a:gd name="T60" fmla="*/ 1135 w 2536"/>
              <a:gd name="T61" fmla="*/ 2983 h 3999"/>
              <a:gd name="T62" fmla="*/ 961 w 2536"/>
              <a:gd name="T63" fmla="*/ 3834 h 3999"/>
              <a:gd name="T64" fmla="*/ 610 w 2536"/>
              <a:gd name="T65" fmla="*/ 3855 h 3999"/>
              <a:gd name="T66" fmla="*/ 283 w 2536"/>
              <a:gd name="T67" fmla="*/ 3945 h 3999"/>
              <a:gd name="T68" fmla="*/ 105 w 2536"/>
              <a:gd name="T69" fmla="*/ 3900 h 3999"/>
              <a:gd name="T70" fmla="*/ 300 w 2536"/>
              <a:gd name="T71" fmla="*/ 3705 h 3999"/>
              <a:gd name="T72" fmla="*/ 90 w 2536"/>
              <a:gd name="T73" fmla="*/ 3750 h 399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536"/>
              <a:gd name="T112" fmla="*/ 0 h 3999"/>
              <a:gd name="T113" fmla="*/ 2536 w 2536"/>
              <a:gd name="T114" fmla="*/ 3999 h 399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536" h="3999">
                <a:moveTo>
                  <a:pt x="145" y="3645"/>
                </a:moveTo>
                <a:lnTo>
                  <a:pt x="10" y="3645"/>
                </a:lnTo>
                <a:lnTo>
                  <a:pt x="0" y="3645"/>
                </a:lnTo>
                <a:lnTo>
                  <a:pt x="15" y="3540"/>
                </a:lnTo>
                <a:lnTo>
                  <a:pt x="100" y="3435"/>
                </a:lnTo>
                <a:lnTo>
                  <a:pt x="195" y="3475"/>
                </a:lnTo>
                <a:lnTo>
                  <a:pt x="240" y="3385"/>
                </a:lnTo>
                <a:lnTo>
                  <a:pt x="255" y="3090"/>
                </a:lnTo>
                <a:lnTo>
                  <a:pt x="460" y="2820"/>
                </a:lnTo>
                <a:lnTo>
                  <a:pt x="645" y="2710"/>
                </a:lnTo>
                <a:lnTo>
                  <a:pt x="750" y="2710"/>
                </a:lnTo>
                <a:lnTo>
                  <a:pt x="720" y="2635"/>
                </a:lnTo>
                <a:lnTo>
                  <a:pt x="510" y="2665"/>
                </a:lnTo>
                <a:lnTo>
                  <a:pt x="445" y="2575"/>
                </a:lnTo>
                <a:lnTo>
                  <a:pt x="460" y="2370"/>
                </a:lnTo>
                <a:lnTo>
                  <a:pt x="525" y="2325"/>
                </a:lnTo>
                <a:lnTo>
                  <a:pt x="660" y="2310"/>
                </a:lnTo>
                <a:lnTo>
                  <a:pt x="630" y="2130"/>
                </a:lnTo>
                <a:lnTo>
                  <a:pt x="775" y="2025"/>
                </a:lnTo>
                <a:lnTo>
                  <a:pt x="945" y="1749"/>
                </a:lnTo>
                <a:lnTo>
                  <a:pt x="1120" y="1614"/>
                </a:lnTo>
                <a:lnTo>
                  <a:pt x="1525" y="1629"/>
                </a:lnTo>
                <a:lnTo>
                  <a:pt x="1455" y="1499"/>
                </a:lnTo>
                <a:lnTo>
                  <a:pt x="1105" y="1574"/>
                </a:lnTo>
                <a:lnTo>
                  <a:pt x="1150" y="1284"/>
                </a:lnTo>
                <a:lnTo>
                  <a:pt x="1320" y="1194"/>
                </a:lnTo>
                <a:lnTo>
                  <a:pt x="1405" y="1079"/>
                </a:lnTo>
                <a:lnTo>
                  <a:pt x="1510" y="1109"/>
                </a:lnTo>
                <a:lnTo>
                  <a:pt x="1615" y="1014"/>
                </a:lnTo>
                <a:lnTo>
                  <a:pt x="1495" y="899"/>
                </a:lnTo>
                <a:lnTo>
                  <a:pt x="1570" y="824"/>
                </a:lnTo>
                <a:lnTo>
                  <a:pt x="1660" y="809"/>
                </a:lnTo>
                <a:lnTo>
                  <a:pt x="1740" y="864"/>
                </a:lnTo>
                <a:lnTo>
                  <a:pt x="1840" y="734"/>
                </a:lnTo>
                <a:lnTo>
                  <a:pt x="1845" y="629"/>
                </a:lnTo>
                <a:lnTo>
                  <a:pt x="1885" y="509"/>
                </a:lnTo>
                <a:lnTo>
                  <a:pt x="1840" y="444"/>
                </a:lnTo>
                <a:lnTo>
                  <a:pt x="1820" y="324"/>
                </a:lnTo>
                <a:lnTo>
                  <a:pt x="2070" y="239"/>
                </a:lnTo>
                <a:lnTo>
                  <a:pt x="2170" y="309"/>
                </a:lnTo>
                <a:lnTo>
                  <a:pt x="2335" y="134"/>
                </a:lnTo>
                <a:lnTo>
                  <a:pt x="2306" y="0"/>
                </a:lnTo>
                <a:lnTo>
                  <a:pt x="2536" y="46"/>
                </a:lnTo>
                <a:lnTo>
                  <a:pt x="2495" y="202"/>
                </a:lnTo>
                <a:lnTo>
                  <a:pt x="2500" y="359"/>
                </a:lnTo>
                <a:lnTo>
                  <a:pt x="2506" y="606"/>
                </a:lnTo>
                <a:lnTo>
                  <a:pt x="2344" y="673"/>
                </a:lnTo>
                <a:lnTo>
                  <a:pt x="2170" y="645"/>
                </a:lnTo>
                <a:lnTo>
                  <a:pt x="1990" y="793"/>
                </a:lnTo>
                <a:lnTo>
                  <a:pt x="1915" y="954"/>
                </a:lnTo>
                <a:lnTo>
                  <a:pt x="1934" y="1194"/>
                </a:lnTo>
                <a:lnTo>
                  <a:pt x="1736" y="1293"/>
                </a:lnTo>
                <a:lnTo>
                  <a:pt x="1754" y="1453"/>
                </a:lnTo>
                <a:lnTo>
                  <a:pt x="1897" y="1654"/>
                </a:lnTo>
                <a:lnTo>
                  <a:pt x="1874" y="1816"/>
                </a:lnTo>
                <a:lnTo>
                  <a:pt x="1514" y="2344"/>
                </a:lnTo>
                <a:lnTo>
                  <a:pt x="1526" y="2715"/>
                </a:lnTo>
                <a:lnTo>
                  <a:pt x="1455" y="2715"/>
                </a:lnTo>
                <a:lnTo>
                  <a:pt x="1345" y="2856"/>
                </a:lnTo>
                <a:lnTo>
                  <a:pt x="1066" y="2755"/>
                </a:lnTo>
                <a:lnTo>
                  <a:pt x="1027" y="2824"/>
                </a:lnTo>
                <a:lnTo>
                  <a:pt x="1135" y="2983"/>
                </a:lnTo>
                <a:lnTo>
                  <a:pt x="1126" y="3627"/>
                </a:lnTo>
                <a:lnTo>
                  <a:pt x="961" y="3834"/>
                </a:lnTo>
                <a:lnTo>
                  <a:pt x="794" y="3880"/>
                </a:lnTo>
                <a:lnTo>
                  <a:pt x="610" y="3855"/>
                </a:lnTo>
                <a:lnTo>
                  <a:pt x="434" y="3870"/>
                </a:lnTo>
                <a:lnTo>
                  <a:pt x="283" y="3945"/>
                </a:lnTo>
                <a:lnTo>
                  <a:pt x="118" y="3999"/>
                </a:lnTo>
                <a:lnTo>
                  <a:pt x="105" y="3900"/>
                </a:lnTo>
                <a:lnTo>
                  <a:pt x="385" y="3765"/>
                </a:lnTo>
                <a:lnTo>
                  <a:pt x="300" y="3705"/>
                </a:lnTo>
                <a:lnTo>
                  <a:pt x="165" y="3790"/>
                </a:lnTo>
                <a:lnTo>
                  <a:pt x="90" y="3750"/>
                </a:lnTo>
                <a:lnTo>
                  <a:pt x="145" y="3645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18" name="Freeform 6">
            <a:extLst>
              <a:ext uri="{FF2B5EF4-FFF2-40B4-BE49-F238E27FC236}">
                <a16:creationId xmlns:a16="http://schemas.microsoft.com/office/drawing/2014/main" id="{038B7689-705D-435C-8C50-9E8435253685}"/>
              </a:ext>
            </a:extLst>
          </p:cNvPr>
          <p:cNvSpPr>
            <a:spLocks/>
          </p:cNvSpPr>
          <p:nvPr/>
        </p:nvSpPr>
        <p:spPr bwMode="auto">
          <a:xfrm>
            <a:off x="3749863" y="3699266"/>
            <a:ext cx="609600" cy="666750"/>
          </a:xfrm>
          <a:custGeom>
            <a:avLst/>
            <a:gdLst>
              <a:gd name="T0" fmla="*/ 843 w 1919"/>
              <a:gd name="T1" fmla="*/ 2100 h 2100"/>
              <a:gd name="T2" fmla="*/ 625 w 1919"/>
              <a:gd name="T3" fmla="*/ 2040 h 2100"/>
              <a:gd name="T4" fmla="*/ 554 w 1919"/>
              <a:gd name="T5" fmla="*/ 1955 h 2100"/>
              <a:gd name="T6" fmla="*/ 345 w 1919"/>
              <a:gd name="T7" fmla="*/ 1883 h 2100"/>
              <a:gd name="T8" fmla="*/ 205 w 1919"/>
              <a:gd name="T9" fmla="*/ 1760 h 2100"/>
              <a:gd name="T10" fmla="*/ 209 w 1919"/>
              <a:gd name="T11" fmla="*/ 1575 h 2100"/>
              <a:gd name="T12" fmla="*/ 404 w 1919"/>
              <a:gd name="T13" fmla="*/ 1515 h 2100"/>
              <a:gd name="T14" fmla="*/ 539 w 1919"/>
              <a:gd name="T15" fmla="*/ 1395 h 2100"/>
              <a:gd name="T16" fmla="*/ 404 w 1919"/>
              <a:gd name="T17" fmla="*/ 1235 h 2100"/>
              <a:gd name="T18" fmla="*/ 207 w 1919"/>
              <a:gd name="T19" fmla="*/ 1254 h 2100"/>
              <a:gd name="T20" fmla="*/ 127 w 1919"/>
              <a:gd name="T21" fmla="*/ 1383 h 2100"/>
              <a:gd name="T22" fmla="*/ 285 w 1919"/>
              <a:gd name="T23" fmla="*/ 1353 h 2100"/>
              <a:gd name="T24" fmla="*/ 104 w 1919"/>
              <a:gd name="T25" fmla="*/ 1550 h 2100"/>
              <a:gd name="T26" fmla="*/ 0 w 1919"/>
              <a:gd name="T27" fmla="*/ 1566 h 2100"/>
              <a:gd name="T28" fmla="*/ 30 w 1919"/>
              <a:gd name="T29" fmla="*/ 1443 h 2100"/>
              <a:gd name="T30" fmla="*/ 127 w 1919"/>
              <a:gd name="T31" fmla="*/ 1383 h 2100"/>
              <a:gd name="T32" fmla="*/ 284 w 1919"/>
              <a:gd name="T33" fmla="*/ 1355 h 2100"/>
              <a:gd name="T34" fmla="*/ 127 w 1919"/>
              <a:gd name="T35" fmla="*/ 1383 h 2100"/>
              <a:gd name="T36" fmla="*/ 208 w 1919"/>
              <a:gd name="T37" fmla="*/ 1253 h 2100"/>
              <a:gd name="T38" fmla="*/ 405 w 1919"/>
              <a:gd name="T39" fmla="*/ 1236 h 2100"/>
              <a:gd name="T40" fmla="*/ 207 w 1919"/>
              <a:gd name="T41" fmla="*/ 1254 h 2100"/>
              <a:gd name="T42" fmla="*/ 269 w 1919"/>
              <a:gd name="T43" fmla="*/ 1040 h 2100"/>
              <a:gd name="T44" fmla="*/ 328 w 1919"/>
              <a:gd name="T45" fmla="*/ 828 h 2100"/>
              <a:gd name="T46" fmla="*/ 204 w 1919"/>
              <a:gd name="T47" fmla="*/ 720 h 2100"/>
              <a:gd name="T48" fmla="*/ 354 w 1919"/>
              <a:gd name="T49" fmla="*/ 630 h 2100"/>
              <a:gd name="T50" fmla="*/ 539 w 1919"/>
              <a:gd name="T51" fmla="*/ 800 h 2100"/>
              <a:gd name="T52" fmla="*/ 539 w 1919"/>
              <a:gd name="T53" fmla="*/ 650 h 2100"/>
              <a:gd name="T54" fmla="*/ 644 w 1919"/>
              <a:gd name="T55" fmla="*/ 690 h 2100"/>
              <a:gd name="T56" fmla="*/ 614 w 1919"/>
              <a:gd name="T57" fmla="*/ 500 h 2100"/>
              <a:gd name="T58" fmla="*/ 809 w 1919"/>
              <a:gd name="T59" fmla="*/ 420 h 2100"/>
              <a:gd name="T60" fmla="*/ 854 w 1919"/>
              <a:gd name="T61" fmla="*/ 335 h 2100"/>
              <a:gd name="T62" fmla="*/ 804 w 1919"/>
              <a:gd name="T63" fmla="*/ 290 h 2100"/>
              <a:gd name="T64" fmla="*/ 609 w 1919"/>
              <a:gd name="T65" fmla="*/ 345 h 2100"/>
              <a:gd name="T66" fmla="*/ 549 w 1919"/>
              <a:gd name="T67" fmla="*/ 290 h 2100"/>
              <a:gd name="T68" fmla="*/ 729 w 1919"/>
              <a:gd name="T69" fmla="*/ 195 h 2100"/>
              <a:gd name="T70" fmla="*/ 839 w 1919"/>
              <a:gd name="T71" fmla="*/ 35 h 2100"/>
              <a:gd name="T72" fmla="*/ 1079 w 1919"/>
              <a:gd name="T73" fmla="*/ 165 h 2100"/>
              <a:gd name="T74" fmla="*/ 1244 w 1919"/>
              <a:gd name="T75" fmla="*/ 110 h 2100"/>
              <a:gd name="T76" fmla="*/ 1394 w 1919"/>
              <a:gd name="T77" fmla="*/ 35 h 2100"/>
              <a:gd name="T78" fmla="*/ 1569 w 1919"/>
              <a:gd name="T79" fmla="*/ 20 h 2100"/>
              <a:gd name="T80" fmla="*/ 1754 w 1919"/>
              <a:gd name="T81" fmla="*/ 45 h 2100"/>
              <a:gd name="T82" fmla="*/ 1919 w 1919"/>
              <a:gd name="T83" fmla="*/ 0 h 2100"/>
              <a:gd name="T84" fmla="*/ 1784 w 1919"/>
              <a:gd name="T85" fmla="*/ 330 h 2100"/>
              <a:gd name="T86" fmla="*/ 1724 w 1919"/>
              <a:gd name="T87" fmla="*/ 545 h 2100"/>
              <a:gd name="T88" fmla="*/ 1735 w 1919"/>
              <a:gd name="T89" fmla="*/ 701 h 2100"/>
              <a:gd name="T90" fmla="*/ 1873 w 1919"/>
              <a:gd name="T91" fmla="*/ 821 h 2100"/>
              <a:gd name="T92" fmla="*/ 1753 w 1919"/>
              <a:gd name="T93" fmla="*/ 1112 h 2100"/>
              <a:gd name="T94" fmla="*/ 1645 w 1919"/>
              <a:gd name="T95" fmla="*/ 1259 h 2100"/>
              <a:gd name="T96" fmla="*/ 1575 w 1919"/>
              <a:gd name="T97" fmla="*/ 1130 h 2100"/>
              <a:gd name="T98" fmla="*/ 1404 w 1919"/>
              <a:gd name="T99" fmla="*/ 1098 h 2100"/>
              <a:gd name="T100" fmla="*/ 1210 w 1919"/>
              <a:gd name="T101" fmla="*/ 1182 h 2100"/>
              <a:gd name="T102" fmla="*/ 1042 w 1919"/>
              <a:gd name="T103" fmla="*/ 1322 h 2100"/>
              <a:gd name="T104" fmla="*/ 916 w 1919"/>
              <a:gd name="T105" fmla="*/ 1545 h 2100"/>
              <a:gd name="T106" fmla="*/ 855 w 1919"/>
              <a:gd name="T107" fmla="*/ 1838 h 2100"/>
              <a:gd name="T108" fmla="*/ 843 w 1919"/>
              <a:gd name="T109" fmla="*/ 2100 h 21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919"/>
              <a:gd name="T166" fmla="*/ 0 h 2100"/>
              <a:gd name="T167" fmla="*/ 1919 w 1919"/>
              <a:gd name="T168" fmla="*/ 2100 h 210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919" h="2100">
                <a:moveTo>
                  <a:pt x="843" y="2100"/>
                </a:moveTo>
                <a:lnTo>
                  <a:pt x="625" y="2040"/>
                </a:lnTo>
                <a:lnTo>
                  <a:pt x="554" y="1955"/>
                </a:lnTo>
                <a:lnTo>
                  <a:pt x="345" y="1883"/>
                </a:lnTo>
                <a:lnTo>
                  <a:pt x="205" y="1760"/>
                </a:lnTo>
                <a:lnTo>
                  <a:pt x="209" y="1575"/>
                </a:lnTo>
                <a:lnTo>
                  <a:pt x="404" y="1515"/>
                </a:lnTo>
                <a:lnTo>
                  <a:pt x="539" y="1395"/>
                </a:lnTo>
                <a:lnTo>
                  <a:pt x="404" y="1235"/>
                </a:lnTo>
                <a:lnTo>
                  <a:pt x="207" y="1254"/>
                </a:lnTo>
                <a:lnTo>
                  <a:pt x="127" y="1383"/>
                </a:lnTo>
                <a:lnTo>
                  <a:pt x="285" y="1353"/>
                </a:lnTo>
                <a:lnTo>
                  <a:pt x="104" y="1550"/>
                </a:lnTo>
                <a:lnTo>
                  <a:pt x="0" y="1566"/>
                </a:lnTo>
                <a:lnTo>
                  <a:pt x="30" y="1443"/>
                </a:lnTo>
                <a:lnTo>
                  <a:pt x="127" y="1383"/>
                </a:lnTo>
                <a:lnTo>
                  <a:pt x="284" y="1355"/>
                </a:lnTo>
                <a:lnTo>
                  <a:pt x="127" y="1383"/>
                </a:lnTo>
                <a:lnTo>
                  <a:pt x="208" y="1253"/>
                </a:lnTo>
                <a:lnTo>
                  <a:pt x="405" y="1236"/>
                </a:lnTo>
                <a:lnTo>
                  <a:pt x="207" y="1254"/>
                </a:lnTo>
                <a:lnTo>
                  <a:pt x="269" y="1040"/>
                </a:lnTo>
                <a:lnTo>
                  <a:pt x="328" y="828"/>
                </a:lnTo>
                <a:lnTo>
                  <a:pt x="204" y="720"/>
                </a:lnTo>
                <a:lnTo>
                  <a:pt x="354" y="630"/>
                </a:lnTo>
                <a:lnTo>
                  <a:pt x="539" y="800"/>
                </a:lnTo>
                <a:lnTo>
                  <a:pt x="539" y="650"/>
                </a:lnTo>
                <a:lnTo>
                  <a:pt x="644" y="690"/>
                </a:lnTo>
                <a:lnTo>
                  <a:pt x="614" y="500"/>
                </a:lnTo>
                <a:lnTo>
                  <a:pt x="809" y="420"/>
                </a:lnTo>
                <a:lnTo>
                  <a:pt x="854" y="335"/>
                </a:lnTo>
                <a:lnTo>
                  <a:pt x="804" y="290"/>
                </a:lnTo>
                <a:lnTo>
                  <a:pt x="609" y="345"/>
                </a:lnTo>
                <a:lnTo>
                  <a:pt x="549" y="290"/>
                </a:lnTo>
                <a:lnTo>
                  <a:pt x="729" y="195"/>
                </a:lnTo>
                <a:lnTo>
                  <a:pt x="839" y="35"/>
                </a:lnTo>
                <a:lnTo>
                  <a:pt x="1079" y="165"/>
                </a:lnTo>
                <a:lnTo>
                  <a:pt x="1244" y="110"/>
                </a:lnTo>
                <a:lnTo>
                  <a:pt x="1394" y="35"/>
                </a:lnTo>
                <a:lnTo>
                  <a:pt x="1569" y="20"/>
                </a:lnTo>
                <a:lnTo>
                  <a:pt x="1754" y="45"/>
                </a:lnTo>
                <a:lnTo>
                  <a:pt x="1919" y="0"/>
                </a:lnTo>
                <a:lnTo>
                  <a:pt x="1784" y="330"/>
                </a:lnTo>
                <a:lnTo>
                  <a:pt x="1724" y="545"/>
                </a:lnTo>
                <a:lnTo>
                  <a:pt x="1735" y="701"/>
                </a:lnTo>
                <a:lnTo>
                  <a:pt x="1873" y="821"/>
                </a:lnTo>
                <a:lnTo>
                  <a:pt x="1753" y="1112"/>
                </a:lnTo>
                <a:lnTo>
                  <a:pt x="1645" y="1259"/>
                </a:lnTo>
                <a:lnTo>
                  <a:pt x="1575" y="1130"/>
                </a:lnTo>
                <a:lnTo>
                  <a:pt x="1404" y="1098"/>
                </a:lnTo>
                <a:lnTo>
                  <a:pt x="1210" y="1182"/>
                </a:lnTo>
                <a:lnTo>
                  <a:pt x="1042" y="1322"/>
                </a:lnTo>
                <a:lnTo>
                  <a:pt x="916" y="1545"/>
                </a:lnTo>
                <a:lnTo>
                  <a:pt x="855" y="1838"/>
                </a:lnTo>
                <a:lnTo>
                  <a:pt x="843" y="2100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19" name="Freeform 7">
            <a:extLst>
              <a:ext uri="{FF2B5EF4-FFF2-40B4-BE49-F238E27FC236}">
                <a16:creationId xmlns:a16="http://schemas.microsoft.com/office/drawing/2014/main" id="{5D3C65F9-DEFB-4AB8-8D4C-E09A22680FE7}"/>
              </a:ext>
            </a:extLst>
          </p:cNvPr>
          <p:cNvSpPr>
            <a:spLocks/>
          </p:cNvSpPr>
          <p:nvPr/>
        </p:nvSpPr>
        <p:spPr bwMode="auto">
          <a:xfrm>
            <a:off x="3506975" y="3927866"/>
            <a:ext cx="528638" cy="735013"/>
          </a:xfrm>
          <a:custGeom>
            <a:avLst/>
            <a:gdLst>
              <a:gd name="T0" fmla="*/ 1666 w 1666"/>
              <a:gd name="T1" fmla="*/ 2316 h 2316"/>
              <a:gd name="T2" fmla="*/ 1515 w 1666"/>
              <a:gd name="T3" fmla="*/ 2265 h 2316"/>
              <a:gd name="T4" fmla="*/ 1346 w 1666"/>
              <a:gd name="T5" fmla="*/ 2255 h 2316"/>
              <a:gd name="T6" fmla="*/ 1150 w 1666"/>
              <a:gd name="T7" fmla="*/ 1953 h 2316"/>
              <a:gd name="T8" fmla="*/ 1006 w 1666"/>
              <a:gd name="T9" fmla="*/ 1850 h 2316"/>
              <a:gd name="T10" fmla="*/ 866 w 1666"/>
              <a:gd name="T11" fmla="*/ 1832 h 2316"/>
              <a:gd name="T12" fmla="*/ 705 w 1666"/>
              <a:gd name="T13" fmla="*/ 1820 h 2316"/>
              <a:gd name="T14" fmla="*/ 571 w 1666"/>
              <a:gd name="T15" fmla="*/ 1953 h 2316"/>
              <a:gd name="T16" fmla="*/ 555 w 1666"/>
              <a:gd name="T17" fmla="*/ 2115 h 2316"/>
              <a:gd name="T18" fmla="*/ 371 w 1666"/>
              <a:gd name="T19" fmla="*/ 2297 h 2316"/>
              <a:gd name="T20" fmla="*/ 145 w 1666"/>
              <a:gd name="T21" fmla="*/ 2115 h 2316"/>
              <a:gd name="T22" fmla="*/ 115 w 1666"/>
              <a:gd name="T23" fmla="*/ 1710 h 2316"/>
              <a:gd name="T24" fmla="*/ 295 w 1666"/>
              <a:gd name="T25" fmla="*/ 1605 h 2316"/>
              <a:gd name="T26" fmla="*/ 355 w 1666"/>
              <a:gd name="T27" fmla="*/ 1475 h 2316"/>
              <a:gd name="T28" fmla="*/ 310 w 1666"/>
              <a:gd name="T29" fmla="*/ 1235 h 2316"/>
              <a:gd name="T30" fmla="*/ 190 w 1666"/>
              <a:gd name="T31" fmla="*/ 1275 h 2316"/>
              <a:gd name="T32" fmla="*/ 0 w 1666"/>
              <a:gd name="T33" fmla="*/ 1335 h 2316"/>
              <a:gd name="T34" fmla="*/ 10 w 1666"/>
              <a:gd name="T35" fmla="*/ 1025 h 2316"/>
              <a:gd name="T36" fmla="*/ 130 w 1666"/>
              <a:gd name="T37" fmla="*/ 1005 h 2316"/>
              <a:gd name="T38" fmla="*/ 165 w 1666"/>
              <a:gd name="T39" fmla="*/ 1125 h 2316"/>
              <a:gd name="T40" fmla="*/ 270 w 1666"/>
              <a:gd name="T41" fmla="*/ 1055 h 2316"/>
              <a:gd name="T42" fmla="*/ 235 w 1666"/>
              <a:gd name="T43" fmla="*/ 960 h 2316"/>
              <a:gd name="T44" fmla="*/ 450 w 1666"/>
              <a:gd name="T45" fmla="*/ 815 h 2316"/>
              <a:gd name="T46" fmla="*/ 510 w 1666"/>
              <a:gd name="T47" fmla="*/ 930 h 2316"/>
              <a:gd name="T48" fmla="*/ 525 w 1666"/>
              <a:gd name="T49" fmla="*/ 1080 h 2316"/>
              <a:gd name="T50" fmla="*/ 640 w 1666"/>
              <a:gd name="T51" fmla="*/ 1130 h 2316"/>
              <a:gd name="T52" fmla="*/ 745 w 1666"/>
              <a:gd name="T53" fmla="*/ 990 h 2316"/>
              <a:gd name="T54" fmla="*/ 640 w 1666"/>
              <a:gd name="T55" fmla="*/ 950 h 2316"/>
              <a:gd name="T56" fmla="*/ 610 w 1666"/>
              <a:gd name="T57" fmla="*/ 890 h 2316"/>
              <a:gd name="T58" fmla="*/ 600 w 1666"/>
              <a:gd name="T59" fmla="*/ 785 h 2316"/>
              <a:gd name="T60" fmla="*/ 660 w 1666"/>
              <a:gd name="T61" fmla="*/ 705 h 2316"/>
              <a:gd name="T62" fmla="*/ 490 w 1666"/>
              <a:gd name="T63" fmla="*/ 710 h 2316"/>
              <a:gd name="T64" fmla="*/ 465 w 1666"/>
              <a:gd name="T65" fmla="*/ 665 h 2316"/>
              <a:gd name="T66" fmla="*/ 565 w 1666"/>
              <a:gd name="T67" fmla="*/ 590 h 2316"/>
              <a:gd name="T68" fmla="*/ 700 w 1666"/>
              <a:gd name="T69" fmla="*/ 545 h 2316"/>
              <a:gd name="T70" fmla="*/ 780 w 1666"/>
              <a:gd name="T71" fmla="*/ 315 h 2316"/>
              <a:gd name="T72" fmla="*/ 970 w 1666"/>
              <a:gd name="T73" fmla="*/ 0 h 2316"/>
              <a:gd name="T74" fmla="*/ 1095 w 1666"/>
              <a:gd name="T75" fmla="*/ 110 h 2316"/>
              <a:gd name="T76" fmla="*/ 975 w 1666"/>
              <a:gd name="T77" fmla="*/ 530 h 2316"/>
              <a:gd name="T78" fmla="*/ 895 w 1666"/>
              <a:gd name="T79" fmla="*/ 660 h 2316"/>
              <a:gd name="T80" fmla="*/ 795 w 1666"/>
              <a:gd name="T81" fmla="*/ 725 h 2316"/>
              <a:gd name="T82" fmla="*/ 735 w 1666"/>
              <a:gd name="T83" fmla="*/ 975 h 2316"/>
              <a:gd name="T84" fmla="*/ 870 w 1666"/>
              <a:gd name="T85" fmla="*/ 1050 h 2316"/>
              <a:gd name="T86" fmla="*/ 970 w 1666"/>
              <a:gd name="T87" fmla="*/ 1040 h 2316"/>
              <a:gd name="T88" fmla="*/ 1105 w 1666"/>
              <a:gd name="T89" fmla="*/ 1160 h 2316"/>
              <a:gd name="T90" fmla="*/ 1320 w 1666"/>
              <a:gd name="T91" fmla="*/ 1235 h 2316"/>
              <a:gd name="T92" fmla="*/ 1390 w 1666"/>
              <a:gd name="T93" fmla="*/ 1320 h 2316"/>
              <a:gd name="T94" fmla="*/ 1612 w 1666"/>
              <a:gd name="T95" fmla="*/ 1382 h 2316"/>
              <a:gd name="T96" fmla="*/ 1640 w 1666"/>
              <a:gd name="T97" fmla="*/ 1580 h 2316"/>
              <a:gd name="T98" fmla="*/ 1618 w 1666"/>
              <a:gd name="T99" fmla="*/ 1827 h 2316"/>
              <a:gd name="T100" fmla="*/ 1620 w 1666"/>
              <a:gd name="T101" fmla="*/ 2075 h 2316"/>
              <a:gd name="T102" fmla="*/ 1666 w 1666"/>
              <a:gd name="T103" fmla="*/ 2316 h 231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666"/>
              <a:gd name="T157" fmla="*/ 0 h 2316"/>
              <a:gd name="T158" fmla="*/ 1666 w 1666"/>
              <a:gd name="T159" fmla="*/ 2316 h 231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666" h="2316">
                <a:moveTo>
                  <a:pt x="1666" y="2316"/>
                </a:moveTo>
                <a:lnTo>
                  <a:pt x="1515" y="2265"/>
                </a:lnTo>
                <a:lnTo>
                  <a:pt x="1346" y="2255"/>
                </a:lnTo>
                <a:lnTo>
                  <a:pt x="1150" y="1953"/>
                </a:lnTo>
                <a:lnTo>
                  <a:pt x="1006" y="1850"/>
                </a:lnTo>
                <a:lnTo>
                  <a:pt x="866" y="1832"/>
                </a:lnTo>
                <a:lnTo>
                  <a:pt x="705" y="1820"/>
                </a:lnTo>
                <a:lnTo>
                  <a:pt x="571" y="1953"/>
                </a:lnTo>
                <a:lnTo>
                  <a:pt x="555" y="2115"/>
                </a:lnTo>
                <a:lnTo>
                  <a:pt x="371" y="2297"/>
                </a:lnTo>
                <a:lnTo>
                  <a:pt x="145" y="2115"/>
                </a:lnTo>
                <a:lnTo>
                  <a:pt x="115" y="1710"/>
                </a:lnTo>
                <a:lnTo>
                  <a:pt x="295" y="1605"/>
                </a:lnTo>
                <a:lnTo>
                  <a:pt x="355" y="1475"/>
                </a:lnTo>
                <a:lnTo>
                  <a:pt x="310" y="1235"/>
                </a:lnTo>
                <a:lnTo>
                  <a:pt x="190" y="1275"/>
                </a:lnTo>
                <a:lnTo>
                  <a:pt x="0" y="1335"/>
                </a:lnTo>
                <a:lnTo>
                  <a:pt x="10" y="1025"/>
                </a:lnTo>
                <a:lnTo>
                  <a:pt x="130" y="1005"/>
                </a:lnTo>
                <a:lnTo>
                  <a:pt x="165" y="1125"/>
                </a:lnTo>
                <a:lnTo>
                  <a:pt x="270" y="1055"/>
                </a:lnTo>
                <a:lnTo>
                  <a:pt x="235" y="960"/>
                </a:lnTo>
                <a:lnTo>
                  <a:pt x="450" y="815"/>
                </a:lnTo>
                <a:lnTo>
                  <a:pt x="510" y="930"/>
                </a:lnTo>
                <a:lnTo>
                  <a:pt x="525" y="1080"/>
                </a:lnTo>
                <a:lnTo>
                  <a:pt x="640" y="1130"/>
                </a:lnTo>
                <a:lnTo>
                  <a:pt x="745" y="990"/>
                </a:lnTo>
                <a:lnTo>
                  <a:pt x="640" y="950"/>
                </a:lnTo>
                <a:lnTo>
                  <a:pt x="610" y="890"/>
                </a:lnTo>
                <a:lnTo>
                  <a:pt x="600" y="785"/>
                </a:lnTo>
                <a:lnTo>
                  <a:pt x="660" y="705"/>
                </a:lnTo>
                <a:lnTo>
                  <a:pt x="490" y="710"/>
                </a:lnTo>
                <a:lnTo>
                  <a:pt x="465" y="665"/>
                </a:lnTo>
                <a:lnTo>
                  <a:pt x="565" y="590"/>
                </a:lnTo>
                <a:lnTo>
                  <a:pt x="700" y="545"/>
                </a:lnTo>
                <a:lnTo>
                  <a:pt x="780" y="315"/>
                </a:lnTo>
                <a:lnTo>
                  <a:pt x="970" y="0"/>
                </a:lnTo>
                <a:lnTo>
                  <a:pt x="1095" y="110"/>
                </a:lnTo>
                <a:lnTo>
                  <a:pt x="975" y="530"/>
                </a:lnTo>
                <a:lnTo>
                  <a:pt x="895" y="660"/>
                </a:lnTo>
                <a:lnTo>
                  <a:pt x="795" y="725"/>
                </a:lnTo>
                <a:lnTo>
                  <a:pt x="735" y="975"/>
                </a:lnTo>
                <a:lnTo>
                  <a:pt x="870" y="1050"/>
                </a:lnTo>
                <a:lnTo>
                  <a:pt x="970" y="1040"/>
                </a:lnTo>
                <a:lnTo>
                  <a:pt x="1105" y="1160"/>
                </a:lnTo>
                <a:lnTo>
                  <a:pt x="1320" y="1235"/>
                </a:lnTo>
                <a:lnTo>
                  <a:pt x="1390" y="1320"/>
                </a:lnTo>
                <a:lnTo>
                  <a:pt x="1612" y="1382"/>
                </a:lnTo>
                <a:lnTo>
                  <a:pt x="1640" y="1580"/>
                </a:lnTo>
                <a:lnTo>
                  <a:pt x="1618" y="1827"/>
                </a:lnTo>
                <a:lnTo>
                  <a:pt x="1620" y="2075"/>
                </a:lnTo>
                <a:lnTo>
                  <a:pt x="1666" y="2316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0" name="Freeform 8">
            <a:extLst>
              <a:ext uri="{FF2B5EF4-FFF2-40B4-BE49-F238E27FC236}">
                <a16:creationId xmlns:a16="http://schemas.microsoft.com/office/drawing/2014/main" id="{2EBBDFA3-A8A8-43F8-8196-0F631D15F0D6}"/>
              </a:ext>
            </a:extLst>
          </p:cNvPr>
          <p:cNvSpPr>
            <a:spLocks/>
          </p:cNvSpPr>
          <p:nvPr/>
        </p:nvSpPr>
        <p:spPr bwMode="auto">
          <a:xfrm>
            <a:off x="3619688" y="4505716"/>
            <a:ext cx="534987" cy="1000125"/>
          </a:xfrm>
          <a:custGeom>
            <a:avLst/>
            <a:gdLst>
              <a:gd name="T0" fmla="*/ 16 w 1685"/>
              <a:gd name="T1" fmla="*/ 475 h 3150"/>
              <a:gd name="T2" fmla="*/ 0 w 1685"/>
              <a:gd name="T3" fmla="*/ 570 h 3150"/>
              <a:gd name="T4" fmla="*/ 75 w 1685"/>
              <a:gd name="T5" fmla="*/ 675 h 3150"/>
              <a:gd name="T6" fmla="*/ 60 w 1685"/>
              <a:gd name="T7" fmla="*/ 820 h 3150"/>
              <a:gd name="T8" fmla="*/ 185 w 1685"/>
              <a:gd name="T9" fmla="*/ 870 h 3150"/>
              <a:gd name="T10" fmla="*/ 180 w 1685"/>
              <a:gd name="T11" fmla="*/ 1000 h 3150"/>
              <a:gd name="T12" fmla="*/ 255 w 1685"/>
              <a:gd name="T13" fmla="*/ 1065 h 3150"/>
              <a:gd name="T14" fmla="*/ 380 w 1685"/>
              <a:gd name="T15" fmla="*/ 1120 h 3150"/>
              <a:gd name="T16" fmla="*/ 450 w 1685"/>
              <a:gd name="T17" fmla="*/ 1255 h 3150"/>
              <a:gd name="T18" fmla="*/ 570 w 1685"/>
              <a:gd name="T19" fmla="*/ 1585 h 3150"/>
              <a:gd name="T20" fmla="*/ 450 w 1685"/>
              <a:gd name="T21" fmla="*/ 1675 h 3150"/>
              <a:gd name="T22" fmla="*/ 360 w 1685"/>
              <a:gd name="T23" fmla="*/ 1810 h 3150"/>
              <a:gd name="T24" fmla="*/ 410 w 1685"/>
              <a:gd name="T25" fmla="*/ 2055 h 3150"/>
              <a:gd name="T26" fmla="*/ 450 w 1685"/>
              <a:gd name="T27" fmla="*/ 2185 h 3150"/>
              <a:gd name="T28" fmla="*/ 585 w 1685"/>
              <a:gd name="T29" fmla="*/ 2230 h 3150"/>
              <a:gd name="T30" fmla="*/ 660 w 1685"/>
              <a:gd name="T31" fmla="*/ 2260 h 3150"/>
              <a:gd name="T32" fmla="*/ 571 w 1685"/>
              <a:gd name="T33" fmla="*/ 2370 h 3150"/>
              <a:gd name="T34" fmla="*/ 810 w 1685"/>
              <a:gd name="T35" fmla="*/ 2544 h 3150"/>
              <a:gd name="T36" fmla="*/ 861 w 1685"/>
              <a:gd name="T37" fmla="*/ 2791 h 3150"/>
              <a:gd name="T38" fmla="*/ 1045 w 1685"/>
              <a:gd name="T39" fmla="*/ 3150 h 3150"/>
              <a:gd name="T40" fmla="*/ 1260 w 1685"/>
              <a:gd name="T41" fmla="*/ 3055 h 3150"/>
              <a:gd name="T42" fmla="*/ 1430 w 1685"/>
              <a:gd name="T43" fmla="*/ 2890 h 3150"/>
              <a:gd name="T44" fmla="*/ 1440 w 1685"/>
              <a:gd name="T45" fmla="*/ 2725 h 3150"/>
              <a:gd name="T46" fmla="*/ 1415 w 1685"/>
              <a:gd name="T47" fmla="*/ 2430 h 3150"/>
              <a:gd name="T48" fmla="*/ 1365 w 1685"/>
              <a:gd name="T49" fmla="*/ 2100 h 3150"/>
              <a:gd name="T50" fmla="*/ 1280 w 1685"/>
              <a:gd name="T51" fmla="*/ 1890 h 3150"/>
              <a:gd name="T52" fmla="*/ 1440 w 1685"/>
              <a:gd name="T53" fmla="*/ 1860 h 3150"/>
              <a:gd name="T54" fmla="*/ 1605 w 1685"/>
              <a:gd name="T55" fmla="*/ 1665 h 3150"/>
              <a:gd name="T56" fmla="*/ 1685 w 1685"/>
              <a:gd name="T57" fmla="*/ 1525 h 3150"/>
              <a:gd name="T58" fmla="*/ 1545 w 1685"/>
              <a:gd name="T59" fmla="*/ 1275 h 3150"/>
              <a:gd name="T60" fmla="*/ 1410 w 1685"/>
              <a:gd name="T61" fmla="*/ 1195 h 3150"/>
              <a:gd name="T62" fmla="*/ 1280 w 1685"/>
              <a:gd name="T63" fmla="*/ 1140 h 3150"/>
              <a:gd name="T64" fmla="*/ 1305 w 1685"/>
              <a:gd name="T65" fmla="*/ 960 h 3150"/>
              <a:gd name="T66" fmla="*/ 1280 w 1685"/>
              <a:gd name="T67" fmla="*/ 745 h 3150"/>
              <a:gd name="T68" fmla="*/ 1310 w 1685"/>
              <a:gd name="T69" fmla="*/ 495 h 3150"/>
              <a:gd name="T70" fmla="*/ 1155 w 1685"/>
              <a:gd name="T71" fmla="*/ 445 h 3150"/>
              <a:gd name="T72" fmla="*/ 990 w 1685"/>
              <a:gd name="T73" fmla="*/ 435 h 3150"/>
              <a:gd name="T74" fmla="*/ 795 w 1685"/>
              <a:gd name="T75" fmla="*/ 135 h 3150"/>
              <a:gd name="T76" fmla="*/ 650 w 1685"/>
              <a:gd name="T77" fmla="*/ 30 h 3150"/>
              <a:gd name="T78" fmla="*/ 510 w 1685"/>
              <a:gd name="T79" fmla="*/ 10 h 3150"/>
              <a:gd name="T80" fmla="*/ 350 w 1685"/>
              <a:gd name="T81" fmla="*/ 0 h 3150"/>
              <a:gd name="T82" fmla="*/ 215 w 1685"/>
              <a:gd name="T83" fmla="*/ 135 h 3150"/>
              <a:gd name="T84" fmla="*/ 200 w 1685"/>
              <a:gd name="T85" fmla="*/ 295 h 3150"/>
              <a:gd name="T86" fmla="*/ 16 w 1685"/>
              <a:gd name="T87" fmla="*/ 475 h 31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685"/>
              <a:gd name="T133" fmla="*/ 0 h 3150"/>
              <a:gd name="T134" fmla="*/ 1685 w 1685"/>
              <a:gd name="T135" fmla="*/ 3150 h 31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685" h="3150">
                <a:moveTo>
                  <a:pt x="16" y="475"/>
                </a:moveTo>
                <a:lnTo>
                  <a:pt x="0" y="570"/>
                </a:lnTo>
                <a:lnTo>
                  <a:pt x="75" y="675"/>
                </a:lnTo>
                <a:lnTo>
                  <a:pt x="60" y="820"/>
                </a:lnTo>
                <a:lnTo>
                  <a:pt x="185" y="870"/>
                </a:lnTo>
                <a:lnTo>
                  <a:pt x="180" y="1000"/>
                </a:lnTo>
                <a:lnTo>
                  <a:pt x="255" y="1065"/>
                </a:lnTo>
                <a:lnTo>
                  <a:pt x="380" y="1120"/>
                </a:lnTo>
                <a:lnTo>
                  <a:pt x="450" y="1255"/>
                </a:lnTo>
                <a:lnTo>
                  <a:pt x="570" y="1585"/>
                </a:lnTo>
                <a:lnTo>
                  <a:pt x="450" y="1675"/>
                </a:lnTo>
                <a:lnTo>
                  <a:pt x="360" y="1810"/>
                </a:lnTo>
                <a:lnTo>
                  <a:pt x="410" y="2055"/>
                </a:lnTo>
                <a:lnTo>
                  <a:pt x="450" y="2185"/>
                </a:lnTo>
                <a:lnTo>
                  <a:pt x="585" y="2230"/>
                </a:lnTo>
                <a:lnTo>
                  <a:pt x="660" y="2260"/>
                </a:lnTo>
                <a:lnTo>
                  <a:pt x="571" y="2370"/>
                </a:lnTo>
                <a:lnTo>
                  <a:pt x="810" y="2544"/>
                </a:lnTo>
                <a:lnTo>
                  <a:pt x="861" y="2791"/>
                </a:lnTo>
                <a:lnTo>
                  <a:pt x="1045" y="3150"/>
                </a:lnTo>
                <a:lnTo>
                  <a:pt x="1260" y="3055"/>
                </a:lnTo>
                <a:lnTo>
                  <a:pt x="1430" y="2890"/>
                </a:lnTo>
                <a:lnTo>
                  <a:pt x="1440" y="2725"/>
                </a:lnTo>
                <a:lnTo>
                  <a:pt x="1415" y="2430"/>
                </a:lnTo>
                <a:lnTo>
                  <a:pt x="1365" y="2100"/>
                </a:lnTo>
                <a:lnTo>
                  <a:pt x="1280" y="1890"/>
                </a:lnTo>
                <a:lnTo>
                  <a:pt x="1440" y="1860"/>
                </a:lnTo>
                <a:lnTo>
                  <a:pt x="1605" y="1665"/>
                </a:lnTo>
                <a:lnTo>
                  <a:pt x="1685" y="1525"/>
                </a:lnTo>
                <a:lnTo>
                  <a:pt x="1545" y="1275"/>
                </a:lnTo>
                <a:lnTo>
                  <a:pt x="1410" y="1195"/>
                </a:lnTo>
                <a:lnTo>
                  <a:pt x="1280" y="1140"/>
                </a:lnTo>
                <a:lnTo>
                  <a:pt x="1305" y="960"/>
                </a:lnTo>
                <a:lnTo>
                  <a:pt x="1280" y="745"/>
                </a:lnTo>
                <a:lnTo>
                  <a:pt x="1310" y="495"/>
                </a:lnTo>
                <a:lnTo>
                  <a:pt x="1155" y="445"/>
                </a:lnTo>
                <a:lnTo>
                  <a:pt x="990" y="435"/>
                </a:lnTo>
                <a:lnTo>
                  <a:pt x="795" y="135"/>
                </a:lnTo>
                <a:lnTo>
                  <a:pt x="650" y="30"/>
                </a:lnTo>
                <a:lnTo>
                  <a:pt x="510" y="10"/>
                </a:lnTo>
                <a:lnTo>
                  <a:pt x="350" y="0"/>
                </a:lnTo>
                <a:lnTo>
                  <a:pt x="215" y="135"/>
                </a:lnTo>
                <a:lnTo>
                  <a:pt x="200" y="295"/>
                </a:lnTo>
                <a:lnTo>
                  <a:pt x="16" y="475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1" name="Freeform 9">
            <a:extLst>
              <a:ext uri="{FF2B5EF4-FFF2-40B4-BE49-F238E27FC236}">
                <a16:creationId xmlns:a16="http://schemas.microsoft.com/office/drawing/2014/main" id="{39C675A3-FA89-4CF1-B5E4-79E9712D8705}"/>
              </a:ext>
            </a:extLst>
          </p:cNvPr>
          <p:cNvSpPr>
            <a:spLocks/>
          </p:cNvSpPr>
          <p:nvPr/>
        </p:nvSpPr>
        <p:spPr bwMode="auto">
          <a:xfrm>
            <a:off x="3243450" y="4585091"/>
            <a:ext cx="585788" cy="798513"/>
          </a:xfrm>
          <a:custGeom>
            <a:avLst/>
            <a:gdLst>
              <a:gd name="T0" fmla="*/ 978 w 1845"/>
              <a:gd name="T1" fmla="*/ 45 h 2517"/>
              <a:gd name="T2" fmla="*/ 555 w 1845"/>
              <a:gd name="T3" fmla="*/ 0 h 2517"/>
              <a:gd name="T4" fmla="*/ 333 w 1845"/>
              <a:gd name="T5" fmla="*/ 179 h 2517"/>
              <a:gd name="T6" fmla="*/ 124 w 1845"/>
              <a:gd name="T7" fmla="*/ 257 h 2517"/>
              <a:gd name="T8" fmla="*/ 6 w 1845"/>
              <a:gd name="T9" fmla="*/ 333 h 2517"/>
              <a:gd name="T10" fmla="*/ 0 w 1845"/>
              <a:gd name="T11" fmla="*/ 617 h 2517"/>
              <a:gd name="T12" fmla="*/ 213 w 1845"/>
              <a:gd name="T13" fmla="*/ 758 h 2517"/>
              <a:gd name="T14" fmla="*/ 300 w 1845"/>
              <a:gd name="T15" fmla="*/ 945 h 2517"/>
              <a:gd name="T16" fmla="*/ 394 w 1845"/>
              <a:gd name="T17" fmla="*/ 1004 h 2517"/>
              <a:gd name="T18" fmla="*/ 186 w 1845"/>
              <a:gd name="T19" fmla="*/ 1281 h 2517"/>
              <a:gd name="T20" fmla="*/ 333 w 1845"/>
              <a:gd name="T21" fmla="*/ 1365 h 2517"/>
              <a:gd name="T22" fmla="*/ 330 w 1845"/>
              <a:gd name="T23" fmla="*/ 1460 h 2517"/>
              <a:gd name="T24" fmla="*/ 457 w 1845"/>
              <a:gd name="T25" fmla="*/ 1506 h 2517"/>
              <a:gd name="T26" fmla="*/ 841 w 1845"/>
              <a:gd name="T27" fmla="*/ 1817 h 2517"/>
              <a:gd name="T28" fmla="*/ 898 w 1845"/>
              <a:gd name="T29" fmla="*/ 2001 h 2517"/>
              <a:gd name="T30" fmla="*/ 1102 w 1845"/>
              <a:gd name="T31" fmla="*/ 2099 h 2517"/>
              <a:gd name="T32" fmla="*/ 1130 w 1845"/>
              <a:gd name="T33" fmla="*/ 1995 h 2517"/>
              <a:gd name="T34" fmla="*/ 1245 w 1845"/>
              <a:gd name="T35" fmla="*/ 2012 h 2517"/>
              <a:gd name="T36" fmla="*/ 1336 w 1845"/>
              <a:gd name="T37" fmla="*/ 2288 h 2517"/>
              <a:gd name="T38" fmla="*/ 1521 w 1845"/>
              <a:gd name="T39" fmla="*/ 2517 h 2517"/>
              <a:gd name="T40" fmla="*/ 1639 w 1845"/>
              <a:gd name="T41" fmla="*/ 2415 h 2517"/>
              <a:gd name="T42" fmla="*/ 1671 w 1845"/>
              <a:gd name="T43" fmla="*/ 2325 h 2517"/>
              <a:gd name="T44" fmla="*/ 1564 w 1845"/>
              <a:gd name="T45" fmla="*/ 2165 h 2517"/>
              <a:gd name="T46" fmla="*/ 1753 w 1845"/>
              <a:gd name="T47" fmla="*/ 2120 h 2517"/>
              <a:gd name="T48" fmla="*/ 1845 w 1845"/>
              <a:gd name="T49" fmla="*/ 2012 h 2517"/>
              <a:gd name="T50" fmla="*/ 1773 w 1845"/>
              <a:gd name="T51" fmla="*/ 1980 h 2517"/>
              <a:gd name="T52" fmla="*/ 1635 w 1845"/>
              <a:gd name="T53" fmla="*/ 1937 h 2517"/>
              <a:gd name="T54" fmla="*/ 1590 w 1845"/>
              <a:gd name="T55" fmla="*/ 1785 h 2517"/>
              <a:gd name="T56" fmla="*/ 1545 w 1845"/>
              <a:gd name="T57" fmla="*/ 1560 h 2517"/>
              <a:gd name="T58" fmla="*/ 1632 w 1845"/>
              <a:gd name="T59" fmla="*/ 1427 h 2517"/>
              <a:gd name="T60" fmla="*/ 1756 w 1845"/>
              <a:gd name="T61" fmla="*/ 1337 h 2517"/>
              <a:gd name="T62" fmla="*/ 1638 w 1845"/>
              <a:gd name="T63" fmla="*/ 1011 h 2517"/>
              <a:gd name="T64" fmla="*/ 1567 w 1845"/>
              <a:gd name="T65" fmla="*/ 870 h 2517"/>
              <a:gd name="T66" fmla="*/ 1446 w 1845"/>
              <a:gd name="T67" fmla="*/ 819 h 2517"/>
              <a:gd name="T68" fmla="*/ 1366 w 1845"/>
              <a:gd name="T69" fmla="*/ 752 h 2517"/>
              <a:gd name="T70" fmla="*/ 1369 w 1845"/>
              <a:gd name="T71" fmla="*/ 620 h 2517"/>
              <a:gd name="T72" fmla="*/ 1246 w 1845"/>
              <a:gd name="T73" fmla="*/ 569 h 2517"/>
              <a:gd name="T74" fmla="*/ 1261 w 1845"/>
              <a:gd name="T75" fmla="*/ 425 h 2517"/>
              <a:gd name="T76" fmla="*/ 1185 w 1845"/>
              <a:gd name="T77" fmla="*/ 317 h 2517"/>
              <a:gd name="T78" fmla="*/ 1200 w 1845"/>
              <a:gd name="T79" fmla="*/ 225 h 2517"/>
              <a:gd name="T80" fmla="*/ 978 w 1845"/>
              <a:gd name="T81" fmla="*/ 45 h 251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845"/>
              <a:gd name="T124" fmla="*/ 0 h 2517"/>
              <a:gd name="T125" fmla="*/ 1845 w 1845"/>
              <a:gd name="T126" fmla="*/ 2517 h 251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845" h="2517">
                <a:moveTo>
                  <a:pt x="978" y="45"/>
                </a:moveTo>
                <a:lnTo>
                  <a:pt x="555" y="0"/>
                </a:lnTo>
                <a:lnTo>
                  <a:pt x="333" y="179"/>
                </a:lnTo>
                <a:lnTo>
                  <a:pt x="124" y="257"/>
                </a:lnTo>
                <a:lnTo>
                  <a:pt x="6" y="333"/>
                </a:lnTo>
                <a:lnTo>
                  <a:pt x="0" y="617"/>
                </a:lnTo>
                <a:lnTo>
                  <a:pt x="213" y="758"/>
                </a:lnTo>
                <a:lnTo>
                  <a:pt x="300" y="945"/>
                </a:lnTo>
                <a:lnTo>
                  <a:pt x="394" y="1004"/>
                </a:lnTo>
                <a:lnTo>
                  <a:pt x="186" y="1281"/>
                </a:lnTo>
                <a:lnTo>
                  <a:pt x="333" y="1365"/>
                </a:lnTo>
                <a:lnTo>
                  <a:pt x="330" y="1460"/>
                </a:lnTo>
                <a:lnTo>
                  <a:pt x="457" y="1506"/>
                </a:lnTo>
                <a:lnTo>
                  <a:pt x="841" y="1817"/>
                </a:lnTo>
                <a:lnTo>
                  <a:pt x="898" y="2001"/>
                </a:lnTo>
                <a:lnTo>
                  <a:pt x="1102" y="2099"/>
                </a:lnTo>
                <a:lnTo>
                  <a:pt x="1130" y="1995"/>
                </a:lnTo>
                <a:lnTo>
                  <a:pt x="1245" y="2012"/>
                </a:lnTo>
                <a:lnTo>
                  <a:pt x="1336" y="2288"/>
                </a:lnTo>
                <a:lnTo>
                  <a:pt x="1521" y="2517"/>
                </a:lnTo>
                <a:lnTo>
                  <a:pt x="1639" y="2415"/>
                </a:lnTo>
                <a:lnTo>
                  <a:pt x="1671" y="2325"/>
                </a:lnTo>
                <a:lnTo>
                  <a:pt x="1564" y="2165"/>
                </a:lnTo>
                <a:lnTo>
                  <a:pt x="1753" y="2120"/>
                </a:lnTo>
                <a:lnTo>
                  <a:pt x="1845" y="2012"/>
                </a:lnTo>
                <a:lnTo>
                  <a:pt x="1773" y="1980"/>
                </a:lnTo>
                <a:lnTo>
                  <a:pt x="1635" y="1937"/>
                </a:lnTo>
                <a:lnTo>
                  <a:pt x="1590" y="1785"/>
                </a:lnTo>
                <a:lnTo>
                  <a:pt x="1545" y="1560"/>
                </a:lnTo>
                <a:lnTo>
                  <a:pt x="1632" y="1427"/>
                </a:lnTo>
                <a:lnTo>
                  <a:pt x="1756" y="1337"/>
                </a:lnTo>
                <a:lnTo>
                  <a:pt x="1638" y="1011"/>
                </a:lnTo>
                <a:lnTo>
                  <a:pt x="1567" y="870"/>
                </a:lnTo>
                <a:lnTo>
                  <a:pt x="1446" y="819"/>
                </a:lnTo>
                <a:lnTo>
                  <a:pt x="1366" y="752"/>
                </a:lnTo>
                <a:lnTo>
                  <a:pt x="1369" y="620"/>
                </a:lnTo>
                <a:lnTo>
                  <a:pt x="1246" y="569"/>
                </a:lnTo>
                <a:lnTo>
                  <a:pt x="1261" y="425"/>
                </a:lnTo>
                <a:lnTo>
                  <a:pt x="1185" y="317"/>
                </a:lnTo>
                <a:lnTo>
                  <a:pt x="1200" y="225"/>
                </a:lnTo>
                <a:lnTo>
                  <a:pt x="978" y="45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2" name="Freeform 10">
            <a:extLst>
              <a:ext uri="{FF2B5EF4-FFF2-40B4-BE49-F238E27FC236}">
                <a16:creationId xmlns:a16="http://schemas.microsoft.com/office/drawing/2014/main" id="{7EB8C04F-F5C1-4F93-8EE6-CD7915450BD4}"/>
              </a:ext>
            </a:extLst>
          </p:cNvPr>
          <p:cNvSpPr>
            <a:spLocks/>
          </p:cNvSpPr>
          <p:nvPr/>
        </p:nvSpPr>
        <p:spPr bwMode="auto">
          <a:xfrm>
            <a:off x="2938650" y="4281879"/>
            <a:ext cx="681038" cy="423862"/>
          </a:xfrm>
          <a:custGeom>
            <a:avLst/>
            <a:gdLst>
              <a:gd name="T0" fmla="*/ 171 w 2145"/>
              <a:gd name="T1" fmla="*/ 1245 h 1335"/>
              <a:gd name="T2" fmla="*/ 498 w 2145"/>
              <a:gd name="T3" fmla="*/ 1285 h 1335"/>
              <a:gd name="T4" fmla="*/ 680 w 2145"/>
              <a:gd name="T5" fmla="*/ 1335 h 1335"/>
              <a:gd name="T6" fmla="*/ 1080 w 2145"/>
              <a:gd name="T7" fmla="*/ 1215 h 1335"/>
              <a:gd name="T8" fmla="*/ 1515 w 2145"/>
              <a:gd name="T9" fmla="*/ 955 h 1335"/>
              <a:gd name="T10" fmla="*/ 1903 w 2145"/>
              <a:gd name="T11" fmla="*/ 594 h 1335"/>
              <a:gd name="T12" fmla="*/ 2145 w 2145"/>
              <a:gd name="T13" fmla="*/ 360 h 1335"/>
              <a:gd name="T14" fmla="*/ 1792 w 2145"/>
              <a:gd name="T15" fmla="*/ 219 h 1335"/>
              <a:gd name="T16" fmla="*/ 1710 w 2145"/>
              <a:gd name="T17" fmla="*/ 45 h 1335"/>
              <a:gd name="T18" fmla="*/ 1550 w 2145"/>
              <a:gd name="T19" fmla="*/ 265 h 1335"/>
              <a:gd name="T20" fmla="*/ 1475 w 2145"/>
              <a:gd name="T21" fmla="*/ 420 h 1335"/>
              <a:gd name="T22" fmla="*/ 1455 w 2145"/>
              <a:gd name="T23" fmla="*/ 570 h 1335"/>
              <a:gd name="T24" fmla="*/ 1130 w 2145"/>
              <a:gd name="T25" fmla="*/ 390 h 1335"/>
              <a:gd name="T26" fmla="*/ 1445 w 2145"/>
              <a:gd name="T27" fmla="*/ 375 h 1335"/>
              <a:gd name="T28" fmla="*/ 1470 w 2145"/>
              <a:gd name="T29" fmla="*/ 280 h 1335"/>
              <a:gd name="T30" fmla="*/ 1505 w 2145"/>
              <a:gd name="T31" fmla="*/ 210 h 1335"/>
              <a:gd name="T32" fmla="*/ 1590 w 2145"/>
              <a:gd name="T33" fmla="*/ 0 h 1335"/>
              <a:gd name="T34" fmla="*/ 1430 w 2145"/>
              <a:gd name="T35" fmla="*/ 85 h 1335"/>
              <a:gd name="T36" fmla="*/ 1115 w 2145"/>
              <a:gd name="T37" fmla="*/ 340 h 1335"/>
              <a:gd name="T38" fmla="*/ 810 w 2145"/>
              <a:gd name="T39" fmla="*/ 400 h 1335"/>
              <a:gd name="T40" fmla="*/ 930 w 2145"/>
              <a:gd name="T41" fmla="*/ 610 h 1335"/>
              <a:gd name="T42" fmla="*/ 1365 w 2145"/>
              <a:gd name="T43" fmla="*/ 660 h 1335"/>
              <a:gd name="T44" fmla="*/ 960 w 2145"/>
              <a:gd name="T45" fmla="*/ 705 h 1335"/>
              <a:gd name="T46" fmla="*/ 770 w 2145"/>
              <a:gd name="T47" fmla="*/ 660 h 1335"/>
              <a:gd name="T48" fmla="*/ 545 w 2145"/>
              <a:gd name="T49" fmla="*/ 820 h 1335"/>
              <a:gd name="T50" fmla="*/ 825 w 2145"/>
              <a:gd name="T51" fmla="*/ 1020 h 1335"/>
              <a:gd name="T52" fmla="*/ 945 w 2145"/>
              <a:gd name="T53" fmla="*/ 1075 h 1335"/>
              <a:gd name="T54" fmla="*/ 800 w 2145"/>
              <a:gd name="T55" fmla="*/ 1180 h 1335"/>
              <a:gd name="T56" fmla="*/ 735 w 2145"/>
              <a:gd name="T57" fmla="*/ 1030 h 1335"/>
              <a:gd name="T58" fmla="*/ 530 w 2145"/>
              <a:gd name="T59" fmla="*/ 1005 h 1335"/>
              <a:gd name="T60" fmla="*/ 435 w 2145"/>
              <a:gd name="T61" fmla="*/ 970 h 1335"/>
              <a:gd name="T62" fmla="*/ 305 w 2145"/>
              <a:gd name="T63" fmla="*/ 1260 h 1335"/>
              <a:gd name="T64" fmla="*/ 255 w 2145"/>
              <a:gd name="T65" fmla="*/ 1110 h 1335"/>
              <a:gd name="T66" fmla="*/ 45 w 2145"/>
              <a:gd name="T67" fmla="*/ 1110 h 133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145"/>
              <a:gd name="T103" fmla="*/ 0 h 1335"/>
              <a:gd name="T104" fmla="*/ 2145 w 2145"/>
              <a:gd name="T105" fmla="*/ 1335 h 1335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145" h="1335">
                <a:moveTo>
                  <a:pt x="0" y="1186"/>
                </a:moveTo>
                <a:lnTo>
                  <a:pt x="171" y="1245"/>
                </a:lnTo>
                <a:lnTo>
                  <a:pt x="306" y="1260"/>
                </a:lnTo>
                <a:lnTo>
                  <a:pt x="498" y="1285"/>
                </a:lnTo>
                <a:lnTo>
                  <a:pt x="618" y="1200"/>
                </a:lnTo>
                <a:lnTo>
                  <a:pt x="680" y="1335"/>
                </a:lnTo>
                <a:lnTo>
                  <a:pt x="963" y="1290"/>
                </a:lnTo>
                <a:lnTo>
                  <a:pt x="1080" y="1215"/>
                </a:lnTo>
                <a:lnTo>
                  <a:pt x="1290" y="1135"/>
                </a:lnTo>
                <a:lnTo>
                  <a:pt x="1515" y="955"/>
                </a:lnTo>
                <a:lnTo>
                  <a:pt x="1935" y="1000"/>
                </a:lnTo>
                <a:lnTo>
                  <a:pt x="1903" y="594"/>
                </a:lnTo>
                <a:lnTo>
                  <a:pt x="2086" y="490"/>
                </a:lnTo>
                <a:lnTo>
                  <a:pt x="2145" y="360"/>
                </a:lnTo>
                <a:lnTo>
                  <a:pt x="2100" y="120"/>
                </a:lnTo>
                <a:lnTo>
                  <a:pt x="1792" y="219"/>
                </a:lnTo>
                <a:lnTo>
                  <a:pt x="1794" y="27"/>
                </a:lnTo>
                <a:lnTo>
                  <a:pt x="1710" y="45"/>
                </a:lnTo>
                <a:lnTo>
                  <a:pt x="1700" y="195"/>
                </a:lnTo>
                <a:lnTo>
                  <a:pt x="1550" y="265"/>
                </a:lnTo>
                <a:lnTo>
                  <a:pt x="1605" y="355"/>
                </a:lnTo>
                <a:lnTo>
                  <a:pt x="1475" y="420"/>
                </a:lnTo>
                <a:lnTo>
                  <a:pt x="1515" y="550"/>
                </a:lnTo>
                <a:lnTo>
                  <a:pt x="1455" y="570"/>
                </a:lnTo>
                <a:lnTo>
                  <a:pt x="1380" y="430"/>
                </a:lnTo>
                <a:lnTo>
                  <a:pt x="1130" y="390"/>
                </a:lnTo>
                <a:lnTo>
                  <a:pt x="1275" y="345"/>
                </a:lnTo>
                <a:lnTo>
                  <a:pt x="1445" y="375"/>
                </a:lnTo>
                <a:lnTo>
                  <a:pt x="1500" y="325"/>
                </a:lnTo>
                <a:lnTo>
                  <a:pt x="1470" y="280"/>
                </a:lnTo>
                <a:lnTo>
                  <a:pt x="1275" y="210"/>
                </a:lnTo>
                <a:lnTo>
                  <a:pt x="1505" y="210"/>
                </a:lnTo>
                <a:lnTo>
                  <a:pt x="1650" y="60"/>
                </a:lnTo>
                <a:lnTo>
                  <a:pt x="1590" y="0"/>
                </a:lnTo>
                <a:lnTo>
                  <a:pt x="1530" y="100"/>
                </a:lnTo>
                <a:lnTo>
                  <a:pt x="1430" y="85"/>
                </a:lnTo>
                <a:lnTo>
                  <a:pt x="1250" y="205"/>
                </a:lnTo>
                <a:lnTo>
                  <a:pt x="1115" y="340"/>
                </a:lnTo>
                <a:lnTo>
                  <a:pt x="990" y="340"/>
                </a:lnTo>
                <a:lnTo>
                  <a:pt x="810" y="400"/>
                </a:lnTo>
                <a:lnTo>
                  <a:pt x="905" y="480"/>
                </a:lnTo>
                <a:lnTo>
                  <a:pt x="930" y="610"/>
                </a:lnTo>
                <a:lnTo>
                  <a:pt x="1325" y="600"/>
                </a:lnTo>
                <a:lnTo>
                  <a:pt x="1365" y="660"/>
                </a:lnTo>
                <a:lnTo>
                  <a:pt x="1170" y="745"/>
                </a:lnTo>
                <a:lnTo>
                  <a:pt x="960" y="705"/>
                </a:lnTo>
                <a:lnTo>
                  <a:pt x="860" y="745"/>
                </a:lnTo>
                <a:lnTo>
                  <a:pt x="770" y="660"/>
                </a:lnTo>
                <a:lnTo>
                  <a:pt x="585" y="730"/>
                </a:lnTo>
                <a:lnTo>
                  <a:pt x="545" y="820"/>
                </a:lnTo>
                <a:lnTo>
                  <a:pt x="750" y="900"/>
                </a:lnTo>
                <a:lnTo>
                  <a:pt x="825" y="1020"/>
                </a:lnTo>
                <a:lnTo>
                  <a:pt x="935" y="990"/>
                </a:lnTo>
                <a:lnTo>
                  <a:pt x="945" y="1075"/>
                </a:lnTo>
                <a:lnTo>
                  <a:pt x="840" y="1080"/>
                </a:lnTo>
                <a:lnTo>
                  <a:pt x="800" y="1180"/>
                </a:lnTo>
                <a:lnTo>
                  <a:pt x="740" y="1170"/>
                </a:lnTo>
                <a:lnTo>
                  <a:pt x="735" y="1030"/>
                </a:lnTo>
                <a:lnTo>
                  <a:pt x="645" y="945"/>
                </a:lnTo>
                <a:lnTo>
                  <a:pt x="530" y="1005"/>
                </a:lnTo>
                <a:lnTo>
                  <a:pt x="485" y="1110"/>
                </a:lnTo>
                <a:lnTo>
                  <a:pt x="435" y="970"/>
                </a:lnTo>
                <a:lnTo>
                  <a:pt x="305" y="1095"/>
                </a:lnTo>
                <a:lnTo>
                  <a:pt x="305" y="1260"/>
                </a:lnTo>
                <a:lnTo>
                  <a:pt x="170" y="1245"/>
                </a:lnTo>
                <a:lnTo>
                  <a:pt x="255" y="1110"/>
                </a:lnTo>
                <a:lnTo>
                  <a:pt x="155" y="1075"/>
                </a:lnTo>
                <a:lnTo>
                  <a:pt x="45" y="1110"/>
                </a:lnTo>
                <a:lnTo>
                  <a:pt x="0" y="1186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3" name="Freeform 11">
            <a:extLst>
              <a:ext uri="{FF2B5EF4-FFF2-40B4-BE49-F238E27FC236}">
                <a16:creationId xmlns:a16="http://schemas.microsoft.com/office/drawing/2014/main" id="{61F354B2-EDE6-4149-9354-E5574A126BBD}"/>
              </a:ext>
            </a:extLst>
          </p:cNvPr>
          <p:cNvSpPr>
            <a:spLocks/>
          </p:cNvSpPr>
          <p:nvPr/>
        </p:nvSpPr>
        <p:spPr bwMode="auto">
          <a:xfrm>
            <a:off x="2754500" y="4658116"/>
            <a:ext cx="614363" cy="504825"/>
          </a:xfrm>
          <a:custGeom>
            <a:avLst/>
            <a:gdLst>
              <a:gd name="T0" fmla="*/ 0 w 1935"/>
              <a:gd name="T1" fmla="*/ 1005 h 1590"/>
              <a:gd name="T2" fmla="*/ 130 w 1935"/>
              <a:gd name="T3" fmla="*/ 1065 h 1590"/>
              <a:gd name="T4" fmla="*/ 685 w 1935"/>
              <a:gd name="T5" fmla="*/ 1030 h 1590"/>
              <a:gd name="T6" fmla="*/ 1075 w 1935"/>
              <a:gd name="T7" fmla="*/ 895 h 1590"/>
              <a:gd name="T8" fmla="*/ 1290 w 1935"/>
              <a:gd name="T9" fmla="*/ 1105 h 1590"/>
              <a:gd name="T10" fmla="*/ 1390 w 1935"/>
              <a:gd name="T11" fmla="*/ 865 h 1590"/>
              <a:gd name="T12" fmla="*/ 1540 w 1935"/>
              <a:gd name="T13" fmla="*/ 760 h 1590"/>
              <a:gd name="T14" fmla="*/ 1495 w 1935"/>
              <a:gd name="T15" fmla="*/ 990 h 1590"/>
              <a:gd name="T16" fmla="*/ 1450 w 1935"/>
              <a:gd name="T17" fmla="*/ 1140 h 1590"/>
              <a:gd name="T18" fmla="*/ 1120 w 1935"/>
              <a:gd name="T19" fmla="*/ 1105 h 1590"/>
              <a:gd name="T20" fmla="*/ 805 w 1935"/>
              <a:gd name="T21" fmla="*/ 1125 h 1590"/>
              <a:gd name="T22" fmla="*/ 271 w 1935"/>
              <a:gd name="T23" fmla="*/ 1156 h 1590"/>
              <a:gd name="T24" fmla="*/ 524 w 1935"/>
              <a:gd name="T25" fmla="*/ 1165 h 1590"/>
              <a:gd name="T26" fmla="*/ 854 w 1935"/>
              <a:gd name="T27" fmla="*/ 1275 h 1590"/>
              <a:gd name="T28" fmla="*/ 1258 w 1935"/>
              <a:gd name="T29" fmla="*/ 1468 h 1590"/>
              <a:gd name="T30" fmla="*/ 1616 w 1935"/>
              <a:gd name="T31" fmla="*/ 1380 h 1590"/>
              <a:gd name="T32" fmla="*/ 1868 w 1935"/>
              <a:gd name="T33" fmla="*/ 1230 h 1590"/>
              <a:gd name="T34" fmla="*/ 1725 w 1935"/>
              <a:gd name="T35" fmla="*/ 1050 h 1590"/>
              <a:gd name="T36" fmla="*/ 1935 w 1935"/>
              <a:gd name="T37" fmla="*/ 775 h 1590"/>
              <a:gd name="T38" fmla="*/ 1750 w 1935"/>
              <a:gd name="T39" fmla="*/ 525 h 1590"/>
              <a:gd name="T40" fmla="*/ 1545 w 1935"/>
              <a:gd name="T41" fmla="*/ 105 h 1590"/>
              <a:gd name="T42" fmla="*/ 1200 w 1935"/>
              <a:gd name="T43" fmla="*/ 15 h 1590"/>
              <a:gd name="T44" fmla="*/ 884 w 1935"/>
              <a:gd name="T45" fmla="*/ 76 h 1590"/>
              <a:gd name="T46" fmla="*/ 580 w 1935"/>
              <a:gd name="T47" fmla="*/ 0 h 1590"/>
              <a:gd name="T48" fmla="*/ 490 w 1935"/>
              <a:gd name="T49" fmla="*/ 160 h 1590"/>
              <a:gd name="T50" fmla="*/ 670 w 1935"/>
              <a:gd name="T51" fmla="*/ 180 h 1590"/>
              <a:gd name="T52" fmla="*/ 1035 w 1935"/>
              <a:gd name="T53" fmla="*/ 280 h 1590"/>
              <a:gd name="T54" fmla="*/ 910 w 1935"/>
              <a:gd name="T55" fmla="*/ 345 h 1590"/>
              <a:gd name="T56" fmla="*/ 435 w 1935"/>
              <a:gd name="T57" fmla="*/ 370 h 1590"/>
              <a:gd name="T58" fmla="*/ 270 w 1935"/>
              <a:gd name="T59" fmla="*/ 475 h 1590"/>
              <a:gd name="T60" fmla="*/ 370 w 1935"/>
              <a:gd name="T61" fmla="*/ 565 h 1590"/>
              <a:gd name="T62" fmla="*/ 360 w 1935"/>
              <a:gd name="T63" fmla="*/ 730 h 1590"/>
              <a:gd name="T64" fmla="*/ 370 w 1935"/>
              <a:gd name="T65" fmla="*/ 880 h 1590"/>
              <a:gd name="T66" fmla="*/ 195 w 1935"/>
              <a:gd name="T67" fmla="*/ 790 h 1590"/>
              <a:gd name="T68" fmla="*/ 25 w 1935"/>
              <a:gd name="T69" fmla="*/ 780 h 159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35"/>
              <a:gd name="T106" fmla="*/ 0 h 1590"/>
              <a:gd name="T107" fmla="*/ 1935 w 1935"/>
              <a:gd name="T108" fmla="*/ 1590 h 159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35" h="1590">
                <a:moveTo>
                  <a:pt x="25" y="780"/>
                </a:moveTo>
                <a:lnTo>
                  <a:pt x="0" y="1005"/>
                </a:lnTo>
                <a:lnTo>
                  <a:pt x="55" y="1135"/>
                </a:lnTo>
                <a:lnTo>
                  <a:pt x="130" y="1065"/>
                </a:lnTo>
                <a:lnTo>
                  <a:pt x="375" y="1060"/>
                </a:lnTo>
                <a:lnTo>
                  <a:pt x="685" y="1030"/>
                </a:lnTo>
                <a:lnTo>
                  <a:pt x="1000" y="1005"/>
                </a:lnTo>
                <a:lnTo>
                  <a:pt x="1075" y="895"/>
                </a:lnTo>
                <a:lnTo>
                  <a:pt x="1125" y="940"/>
                </a:lnTo>
                <a:lnTo>
                  <a:pt x="1290" y="1105"/>
                </a:lnTo>
                <a:lnTo>
                  <a:pt x="1365" y="1015"/>
                </a:lnTo>
                <a:lnTo>
                  <a:pt x="1390" y="865"/>
                </a:lnTo>
                <a:lnTo>
                  <a:pt x="1380" y="730"/>
                </a:lnTo>
                <a:lnTo>
                  <a:pt x="1540" y="760"/>
                </a:lnTo>
                <a:lnTo>
                  <a:pt x="1470" y="925"/>
                </a:lnTo>
                <a:lnTo>
                  <a:pt x="1495" y="990"/>
                </a:lnTo>
                <a:lnTo>
                  <a:pt x="1555" y="1090"/>
                </a:lnTo>
                <a:lnTo>
                  <a:pt x="1450" y="1140"/>
                </a:lnTo>
                <a:lnTo>
                  <a:pt x="1245" y="1180"/>
                </a:lnTo>
                <a:lnTo>
                  <a:pt x="1120" y="1105"/>
                </a:lnTo>
                <a:lnTo>
                  <a:pt x="1015" y="1105"/>
                </a:lnTo>
                <a:lnTo>
                  <a:pt x="805" y="1125"/>
                </a:lnTo>
                <a:lnTo>
                  <a:pt x="490" y="1105"/>
                </a:lnTo>
                <a:lnTo>
                  <a:pt x="271" y="1156"/>
                </a:lnTo>
                <a:lnTo>
                  <a:pt x="416" y="1215"/>
                </a:lnTo>
                <a:lnTo>
                  <a:pt x="524" y="1165"/>
                </a:lnTo>
                <a:lnTo>
                  <a:pt x="698" y="1210"/>
                </a:lnTo>
                <a:lnTo>
                  <a:pt x="854" y="1275"/>
                </a:lnTo>
                <a:lnTo>
                  <a:pt x="1006" y="1362"/>
                </a:lnTo>
                <a:lnTo>
                  <a:pt x="1258" y="1468"/>
                </a:lnTo>
                <a:lnTo>
                  <a:pt x="1513" y="1590"/>
                </a:lnTo>
                <a:lnTo>
                  <a:pt x="1616" y="1380"/>
                </a:lnTo>
                <a:lnTo>
                  <a:pt x="1802" y="1345"/>
                </a:lnTo>
                <a:lnTo>
                  <a:pt x="1868" y="1230"/>
                </a:lnTo>
                <a:lnTo>
                  <a:pt x="1875" y="1135"/>
                </a:lnTo>
                <a:lnTo>
                  <a:pt x="1725" y="1050"/>
                </a:lnTo>
                <a:lnTo>
                  <a:pt x="1830" y="910"/>
                </a:lnTo>
                <a:lnTo>
                  <a:pt x="1935" y="775"/>
                </a:lnTo>
                <a:lnTo>
                  <a:pt x="1840" y="715"/>
                </a:lnTo>
                <a:lnTo>
                  <a:pt x="1750" y="525"/>
                </a:lnTo>
                <a:lnTo>
                  <a:pt x="1540" y="385"/>
                </a:lnTo>
                <a:lnTo>
                  <a:pt x="1545" y="105"/>
                </a:lnTo>
                <a:lnTo>
                  <a:pt x="1260" y="150"/>
                </a:lnTo>
                <a:lnTo>
                  <a:pt x="1200" y="15"/>
                </a:lnTo>
                <a:lnTo>
                  <a:pt x="1075" y="100"/>
                </a:lnTo>
                <a:lnTo>
                  <a:pt x="884" y="76"/>
                </a:lnTo>
                <a:lnTo>
                  <a:pt x="749" y="58"/>
                </a:lnTo>
                <a:lnTo>
                  <a:pt x="580" y="0"/>
                </a:lnTo>
                <a:lnTo>
                  <a:pt x="520" y="75"/>
                </a:lnTo>
                <a:lnTo>
                  <a:pt x="490" y="160"/>
                </a:lnTo>
                <a:lnTo>
                  <a:pt x="570" y="205"/>
                </a:lnTo>
                <a:lnTo>
                  <a:pt x="670" y="180"/>
                </a:lnTo>
                <a:lnTo>
                  <a:pt x="825" y="255"/>
                </a:lnTo>
                <a:lnTo>
                  <a:pt x="1035" y="280"/>
                </a:lnTo>
                <a:lnTo>
                  <a:pt x="1215" y="355"/>
                </a:lnTo>
                <a:lnTo>
                  <a:pt x="910" y="345"/>
                </a:lnTo>
                <a:lnTo>
                  <a:pt x="600" y="310"/>
                </a:lnTo>
                <a:lnTo>
                  <a:pt x="435" y="370"/>
                </a:lnTo>
                <a:lnTo>
                  <a:pt x="240" y="390"/>
                </a:lnTo>
                <a:lnTo>
                  <a:pt x="270" y="475"/>
                </a:lnTo>
                <a:lnTo>
                  <a:pt x="475" y="505"/>
                </a:lnTo>
                <a:lnTo>
                  <a:pt x="370" y="565"/>
                </a:lnTo>
                <a:lnTo>
                  <a:pt x="355" y="655"/>
                </a:lnTo>
                <a:lnTo>
                  <a:pt x="360" y="730"/>
                </a:lnTo>
                <a:lnTo>
                  <a:pt x="465" y="805"/>
                </a:lnTo>
                <a:lnTo>
                  <a:pt x="370" y="880"/>
                </a:lnTo>
                <a:lnTo>
                  <a:pt x="255" y="870"/>
                </a:lnTo>
                <a:lnTo>
                  <a:pt x="195" y="790"/>
                </a:lnTo>
                <a:lnTo>
                  <a:pt x="90" y="825"/>
                </a:lnTo>
                <a:lnTo>
                  <a:pt x="25" y="780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4" name="Freeform 13">
            <a:extLst>
              <a:ext uri="{FF2B5EF4-FFF2-40B4-BE49-F238E27FC236}">
                <a16:creationId xmlns:a16="http://schemas.microsoft.com/office/drawing/2014/main" id="{8E0CC985-5E08-4AF2-919C-506FCB442248}"/>
              </a:ext>
            </a:extLst>
          </p:cNvPr>
          <p:cNvSpPr>
            <a:spLocks/>
          </p:cNvSpPr>
          <p:nvPr/>
        </p:nvSpPr>
        <p:spPr bwMode="auto">
          <a:xfrm>
            <a:off x="3210113" y="5048641"/>
            <a:ext cx="515937" cy="561975"/>
          </a:xfrm>
          <a:custGeom>
            <a:avLst/>
            <a:gdLst>
              <a:gd name="T0" fmla="*/ 1080 w 1624"/>
              <a:gd name="T1" fmla="*/ 1771 h 1771"/>
              <a:gd name="T2" fmla="*/ 1020 w 1624"/>
              <a:gd name="T3" fmla="*/ 1740 h 1771"/>
              <a:gd name="T4" fmla="*/ 935 w 1624"/>
              <a:gd name="T5" fmla="*/ 1531 h 1771"/>
              <a:gd name="T6" fmla="*/ 690 w 1624"/>
              <a:gd name="T7" fmla="*/ 1051 h 1771"/>
              <a:gd name="T8" fmla="*/ 510 w 1624"/>
              <a:gd name="T9" fmla="*/ 916 h 1771"/>
              <a:gd name="T10" fmla="*/ 335 w 1624"/>
              <a:gd name="T11" fmla="*/ 865 h 1771"/>
              <a:gd name="T12" fmla="*/ 170 w 1624"/>
              <a:gd name="T13" fmla="*/ 956 h 1771"/>
              <a:gd name="T14" fmla="*/ 0 w 1624"/>
              <a:gd name="T15" fmla="*/ 931 h 1771"/>
              <a:gd name="T16" fmla="*/ 80 w 1624"/>
              <a:gd name="T17" fmla="*/ 715 h 1771"/>
              <a:gd name="T18" fmla="*/ 35 w 1624"/>
              <a:gd name="T19" fmla="*/ 555 h 1771"/>
              <a:gd name="T20" fmla="*/ 80 w 1624"/>
              <a:gd name="T21" fmla="*/ 355 h 1771"/>
              <a:gd name="T22" fmla="*/ 180 w 1624"/>
              <a:gd name="T23" fmla="*/ 150 h 1771"/>
              <a:gd name="T24" fmla="*/ 365 w 1624"/>
              <a:gd name="T25" fmla="*/ 115 h 1771"/>
              <a:gd name="T26" fmla="*/ 435 w 1624"/>
              <a:gd name="T27" fmla="*/ 0 h 1771"/>
              <a:gd name="T28" fmla="*/ 560 w 1624"/>
              <a:gd name="T29" fmla="*/ 45 h 1771"/>
              <a:gd name="T30" fmla="*/ 945 w 1624"/>
              <a:gd name="T31" fmla="*/ 355 h 1771"/>
              <a:gd name="T32" fmla="*/ 1005 w 1624"/>
              <a:gd name="T33" fmla="*/ 540 h 1771"/>
              <a:gd name="T34" fmla="*/ 1205 w 1624"/>
              <a:gd name="T35" fmla="*/ 640 h 1771"/>
              <a:gd name="T36" fmla="*/ 1235 w 1624"/>
              <a:gd name="T37" fmla="*/ 535 h 1771"/>
              <a:gd name="T38" fmla="*/ 1350 w 1624"/>
              <a:gd name="T39" fmla="*/ 550 h 1771"/>
              <a:gd name="T40" fmla="*/ 1440 w 1624"/>
              <a:gd name="T41" fmla="*/ 825 h 1771"/>
              <a:gd name="T42" fmla="*/ 1624 w 1624"/>
              <a:gd name="T43" fmla="*/ 1056 h 1771"/>
              <a:gd name="T44" fmla="*/ 1594 w 1624"/>
              <a:gd name="T45" fmla="*/ 1338 h 1771"/>
              <a:gd name="T46" fmla="*/ 1570 w 1624"/>
              <a:gd name="T47" fmla="*/ 1470 h 1771"/>
              <a:gd name="T48" fmla="*/ 1572 w 1624"/>
              <a:gd name="T49" fmla="*/ 1586 h 1771"/>
              <a:gd name="T50" fmla="*/ 1552 w 1624"/>
              <a:gd name="T51" fmla="*/ 1618 h 1771"/>
              <a:gd name="T52" fmla="*/ 1460 w 1624"/>
              <a:gd name="T53" fmla="*/ 1528 h 1771"/>
              <a:gd name="T54" fmla="*/ 1350 w 1624"/>
              <a:gd name="T55" fmla="*/ 1531 h 1771"/>
              <a:gd name="T56" fmla="*/ 1230 w 1624"/>
              <a:gd name="T57" fmla="*/ 1526 h 1771"/>
              <a:gd name="T58" fmla="*/ 1200 w 1624"/>
              <a:gd name="T59" fmla="*/ 1606 h 1771"/>
              <a:gd name="T60" fmla="*/ 1235 w 1624"/>
              <a:gd name="T61" fmla="*/ 1726 h 1771"/>
              <a:gd name="T62" fmla="*/ 1080 w 1624"/>
              <a:gd name="T63" fmla="*/ 1771 h 17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624"/>
              <a:gd name="T97" fmla="*/ 0 h 1771"/>
              <a:gd name="T98" fmla="*/ 1624 w 1624"/>
              <a:gd name="T99" fmla="*/ 1771 h 177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624" h="1771">
                <a:moveTo>
                  <a:pt x="1080" y="1771"/>
                </a:moveTo>
                <a:lnTo>
                  <a:pt x="1020" y="1740"/>
                </a:lnTo>
                <a:lnTo>
                  <a:pt x="935" y="1531"/>
                </a:lnTo>
                <a:lnTo>
                  <a:pt x="690" y="1051"/>
                </a:lnTo>
                <a:lnTo>
                  <a:pt x="510" y="916"/>
                </a:lnTo>
                <a:lnTo>
                  <a:pt x="335" y="865"/>
                </a:lnTo>
                <a:lnTo>
                  <a:pt x="170" y="956"/>
                </a:lnTo>
                <a:lnTo>
                  <a:pt x="0" y="931"/>
                </a:lnTo>
                <a:lnTo>
                  <a:pt x="80" y="715"/>
                </a:lnTo>
                <a:lnTo>
                  <a:pt x="35" y="555"/>
                </a:lnTo>
                <a:lnTo>
                  <a:pt x="80" y="355"/>
                </a:lnTo>
                <a:lnTo>
                  <a:pt x="180" y="150"/>
                </a:lnTo>
                <a:lnTo>
                  <a:pt x="365" y="115"/>
                </a:lnTo>
                <a:lnTo>
                  <a:pt x="435" y="0"/>
                </a:lnTo>
                <a:lnTo>
                  <a:pt x="560" y="45"/>
                </a:lnTo>
                <a:lnTo>
                  <a:pt x="945" y="355"/>
                </a:lnTo>
                <a:lnTo>
                  <a:pt x="1005" y="540"/>
                </a:lnTo>
                <a:lnTo>
                  <a:pt x="1205" y="640"/>
                </a:lnTo>
                <a:lnTo>
                  <a:pt x="1235" y="535"/>
                </a:lnTo>
                <a:lnTo>
                  <a:pt x="1350" y="550"/>
                </a:lnTo>
                <a:lnTo>
                  <a:pt x="1440" y="825"/>
                </a:lnTo>
                <a:lnTo>
                  <a:pt x="1624" y="1056"/>
                </a:lnTo>
                <a:lnTo>
                  <a:pt x="1594" y="1338"/>
                </a:lnTo>
                <a:lnTo>
                  <a:pt x="1570" y="1470"/>
                </a:lnTo>
                <a:lnTo>
                  <a:pt x="1572" y="1586"/>
                </a:lnTo>
                <a:lnTo>
                  <a:pt x="1552" y="1618"/>
                </a:lnTo>
                <a:lnTo>
                  <a:pt x="1460" y="1528"/>
                </a:lnTo>
                <a:lnTo>
                  <a:pt x="1350" y="1531"/>
                </a:lnTo>
                <a:lnTo>
                  <a:pt x="1230" y="1526"/>
                </a:lnTo>
                <a:lnTo>
                  <a:pt x="1200" y="1606"/>
                </a:lnTo>
                <a:lnTo>
                  <a:pt x="1235" y="1726"/>
                </a:lnTo>
                <a:lnTo>
                  <a:pt x="1080" y="1771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5" name="Freeform 14">
            <a:extLst>
              <a:ext uri="{FF2B5EF4-FFF2-40B4-BE49-F238E27FC236}">
                <a16:creationId xmlns:a16="http://schemas.microsoft.com/office/drawing/2014/main" id="{0CA4C4FF-114D-419E-BC18-B14A19FE2C01}"/>
              </a:ext>
            </a:extLst>
          </p:cNvPr>
          <p:cNvSpPr>
            <a:spLocks/>
          </p:cNvSpPr>
          <p:nvPr/>
        </p:nvSpPr>
        <p:spPr bwMode="auto">
          <a:xfrm>
            <a:off x="3716525" y="5258191"/>
            <a:ext cx="234950" cy="314325"/>
          </a:xfrm>
          <a:custGeom>
            <a:avLst/>
            <a:gdLst>
              <a:gd name="T0" fmla="*/ 211 w 742"/>
              <a:gd name="T1" fmla="*/ 609 h 991"/>
              <a:gd name="T2" fmla="*/ 209 w 742"/>
              <a:gd name="T3" fmla="*/ 567 h 991"/>
              <a:gd name="T4" fmla="*/ 187 w 742"/>
              <a:gd name="T5" fmla="*/ 517 h 991"/>
              <a:gd name="T6" fmla="*/ 122 w 742"/>
              <a:gd name="T7" fmla="*/ 444 h 991"/>
              <a:gd name="T8" fmla="*/ 34 w 742"/>
              <a:gd name="T9" fmla="*/ 397 h 991"/>
              <a:gd name="T10" fmla="*/ 150 w 742"/>
              <a:gd name="T11" fmla="*/ 295 h 991"/>
              <a:gd name="T12" fmla="*/ 180 w 742"/>
              <a:gd name="T13" fmla="*/ 205 h 991"/>
              <a:gd name="T14" fmla="*/ 75 w 742"/>
              <a:gd name="T15" fmla="*/ 45 h 991"/>
              <a:gd name="T16" fmla="*/ 265 w 742"/>
              <a:gd name="T17" fmla="*/ 0 h 991"/>
              <a:gd name="T18" fmla="*/ 505 w 742"/>
              <a:gd name="T19" fmla="*/ 175 h 991"/>
              <a:gd name="T20" fmla="*/ 555 w 742"/>
              <a:gd name="T21" fmla="*/ 420 h 991"/>
              <a:gd name="T22" fmla="*/ 742 w 742"/>
              <a:gd name="T23" fmla="*/ 784 h 991"/>
              <a:gd name="T24" fmla="*/ 610 w 742"/>
              <a:gd name="T25" fmla="*/ 826 h 991"/>
              <a:gd name="T26" fmla="*/ 495 w 742"/>
              <a:gd name="T27" fmla="*/ 896 h 991"/>
              <a:gd name="T28" fmla="*/ 345 w 742"/>
              <a:gd name="T29" fmla="*/ 836 h 991"/>
              <a:gd name="T30" fmla="*/ 235 w 742"/>
              <a:gd name="T31" fmla="*/ 886 h 991"/>
              <a:gd name="T32" fmla="*/ 85 w 742"/>
              <a:gd name="T33" fmla="*/ 991 h 991"/>
              <a:gd name="T34" fmla="*/ 100 w 742"/>
              <a:gd name="T35" fmla="*/ 856 h 991"/>
              <a:gd name="T36" fmla="*/ 60 w 742"/>
              <a:gd name="T37" fmla="*/ 760 h 991"/>
              <a:gd name="T38" fmla="*/ 0 w 742"/>
              <a:gd name="T39" fmla="*/ 675 h 991"/>
              <a:gd name="T40" fmla="*/ 14 w 742"/>
              <a:gd name="T41" fmla="*/ 553 h 991"/>
              <a:gd name="T42" fmla="*/ 49 w 742"/>
              <a:gd name="T43" fmla="*/ 594 h 991"/>
              <a:gd name="T44" fmla="*/ 142 w 742"/>
              <a:gd name="T45" fmla="*/ 636 h 991"/>
              <a:gd name="T46" fmla="*/ 211 w 742"/>
              <a:gd name="T47" fmla="*/ 609 h 99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742"/>
              <a:gd name="T73" fmla="*/ 0 h 991"/>
              <a:gd name="T74" fmla="*/ 742 w 742"/>
              <a:gd name="T75" fmla="*/ 991 h 99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742" h="991">
                <a:moveTo>
                  <a:pt x="211" y="609"/>
                </a:moveTo>
                <a:lnTo>
                  <a:pt x="209" y="567"/>
                </a:lnTo>
                <a:lnTo>
                  <a:pt x="187" y="517"/>
                </a:lnTo>
                <a:lnTo>
                  <a:pt x="122" y="444"/>
                </a:lnTo>
                <a:lnTo>
                  <a:pt x="34" y="397"/>
                </a:lnTo>
                <a:lnTo>
                  <a:pt x="150" y="295"/>
                </a:lnTo>
                <a:lnTo>
                  <a:pt x="180" y="205"/>
                </a:lnTo>
                <a:lnTo>
                  <a:pt x="75" y="45"/>
                </a:lnTo>
                <a:lnTo>
                  <a:pt x="265" y="0"/>
                </a:lnTo>
                <a:lnTo>
                  <a:pt x="505" y="175"/>
                </a:lnTo>
                <a:lnTo>
                  <a:pt x="555" y="420"/>
                </a:lnTo>
                <a:lnTo>
                  <a:pt x="742" y="784"/>
                </a:lnTo>
                <a:lnTo>
                  <a:pt x="610" y="826"/>
                </a:lnTo>
                <a:lnTo>
                  <a:pt x="495" y="896"/>
                </a:lnTo>
                <a:lnTo>
                  <a:pt x="345" y="836"/>
                </a:lnTo>
                <a:lnTo>
                  <a:pt x="235" y="886"/>
                </a:lnTo>
                <a:lnTo>
                  <a:pt x="85" y="991"/>
                </a:lnTo>
                <a:lnTo>
                  <a:pt x="100" y="856"/>
                </a:lnTo>
                <a:lnTo>
                  <a:pt x="60" y="760"/>
                </a:lnTo>
                <a:lnTo>
                  <a:pt x="0" y="675"/>
                </a:lnTo>
                <a:lnTo>
                  <a:pt x="14" y="553"/>
                </a:lnTo>
                <a:lnTo>
                  <a:pt x="49" y="594"/>
                </a:lnTo>
                <a:lnTo>
                  <a:pt x="142" y="636"/>
                </a:lnTo>
                <a:lnTo>
                  <a:pt x="211" y="609"/>
                </a:lnTo>
                <a:close/>
              </a:path>
            </a:pathLst>
          </a:custGeom>
          <a:solidFill>
            <a:schemeClr val="bg2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6" name="Freeform 15">
            <a:extLst>
              <a:ext uri="{FF2B5EF4-FFF2-40B4-BE49-F238E27FC236}">
                <a16:creationId xmlns:a16="http://schemas.microsoft.com/office/drawing/2014/main" id="{7F8EBD93-860E-46A2-8EDC-164BA54E058C}"/>
              </a:ext>
            </a:extLst>
          </p:cNvPr>
          <p:cNvSpPr>
            <a:spLocks/>
          </p:cNvSpPr>
          <p:nvPr/>
        </p:nvSpPr>
        <p:spPr bwMode="auto">
          <a:xfrm>
            <a:off x="3735575" y="5507429"/>
            <a:ext cx="228600" cy="331787"/>
          </a:xfrm>
          <a:custGeom>
            <a:avLst/>
            <a:gdLst>
              <a:gd name="T0" fmla="*/ 550 w 719"/>
              <a:gd name="T1" fmla="*/ 1003 h 1048"/>
              <a:gd name="T2" fmla="*/ 465 w 719"/>
              <a:gd name="T3" fmla="*/ 1048 h 1048"/>
              <a:gd name="T4" fmla="*/ 329 w 719"/>
              <a:gd name="T5" fmla="*/ 1006 h 1048"/>
              <a:gd name="T6" fmla="*/ 331 w 719"/>
              <a:gd name="T7" fmla="*/ 760 h 1048"/>
              <a:gd name="T8" fmla="*/ 120 w 719"/>
              <a:gd name="T9" fmla="*/ 638 h 1048"/>
              <a:gd name="T10" fmla="*/ 10 w 719"/>
              <a:gd name="T11" fmla="*/ 517 h 1048"/>
              <a:gd name="T12" fmla="*/ 0 w 719"/>
              <a:gd name="T13" fmla="*/ 357 h 1048"/>
              <a:gd name="T14" fmla="*/ 26 w 719"/>
              <a:gd name="T15" fmla="*/ 208 h 1048"/>
              <a:gd name="T16" fmla="*/ 170 w 719"/>
              <a:gd name="T17" fmla="*/ 105 h 1048"/>
              <a:gd name="T18" fmla="*/ 286 w 719"/>
              <a:gd name="T19" fmla="*/ 54 h 1048"/>
              <a:gd name="T20" fmla="*/ 436 w 719"/>
              <a:gd name="T21" fmla="*/ 111 h 1048"/>
              <a:gd name="T22" fmla="*/ 551 w 719"/>
              <a:gd name="T23" fmla="*/ 43 h 1048"/>
              <a:gd name="T24" fmla="*/ 682 w 719"/>
              <a:gd name="T25" fmla="*/ 0 h 1048"/>
              <a:gd name="T26" fmla="*/ 719 w 719"/>
              <a:gd name="T27" fmla="*/ 171 h 1048"/>
              <a:gd name="T28" fmla="*/ 569 w 719"/>
              <a:gd name="T29" fmla="*/ 339 h 1048"/>
              <a:gd name="T30" fmla="*/ 645 w 719"/>
              <a:gd name="T31" fmla="*/ 492 h 1048"/>
              <a:gd name="T32" fmla="*/ 625 w 719"/>
              <a:gd name="T33" fmla="*/ 713 h 1048"/>
              <a:gd name="T34" fmla="*/ 595 w 719"/>
              <a:gd name="T35" fmla="*/ 893 h 1048"/>
              <a:gd name="T36" fmla="*/ 550 w 719"/>
              <a:gd name="T37" fmla="*/ 1003 h 104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719"/>
              <a:gd name="T58" fmla="*/ 0 h 1048"/>
              <a:gd name="T59" fmla="*/ 719 w 719"/>
              <a:gd name="T60" fmla="*/ 1048 h 104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719" h="1048">
                <a:moveTo>
                  <a:pt x="550" y="1003"/>
                </a:moveTo>
                <a:lnTo>
                  <a:pt x="465" y="1048"/>
                </a:lnTo>
                <a:lnTo>
                  <a:pt x="329" y="1006"/>
                </a:lnTo>
                <a:lnTo>
                  <a:pt x="331" y="760"/>
                </a:lnTo>
                <a:lnTo>
                  <a:pt x="120" y="638"/>
                </a:lnTo>
                <a:lnTo>
                  <a:pt x="10" y="517"/>
                </a:lnTo>
                <a:lnTo>
                  <a:pt x="0" y="357"/>
                </a:lnTo>
                <a:lnTo>
                  <a:pt x="26" y="208"/>
                </a:lnTo>
                <a:lnTo>
                  <a:pt x="170" y="105"/>
                </a:lnTo>
                <a:lnTo>
                  <a:pt x="286" y="54"/>
                </a:lnTo>
                <a:lnTo>
                  <a:pt x="436" y="111"/>
                </a:lnTo>
                <a:lnTo>
                  <a:pt x="551" y="43"/>
                </a:lnTo>
                <a:lnTo>
                  <a:pt x="682" y="0"/>
                </a:lnTo>
                <a:lnTo>
                  <a:pt x="719" y="171"/>
                </a:lnTo>
                <a:lnTo>
                  <a:pt x="569" y="339"/>
                </a:lnTo>
                <a:lnTo>
                  <a:pt x="645" y="492"/>
                </a:lnTo>
                <a:lnTo>
                  <a:pt x="625" y="713"/>
                </a:lnTo>
                <a:lnTo>
                  <a:pt x="595" y="893"/>
                </a:lnTo>
                <a:lnTo>
                  <a:pt x="550" y="1003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7" name="Freeform 16">
            <a:extLst>
              <a:ext uri="{FF2B5EF4-FFF2-40B4-BE49-F238E27FC236}">
                <a16:creationId xmlns:a16="http://schemas.microsoft.com/office/drawing/2014/main" id="{F231B8F6-4603-4730-AFD2-6C666C78153A}"/>
              </a:ext>
            </a:extLst>
          </p:cNvPr>
          <p:cNvSpPr>
            <a:spLocks/>
          </p:cNvSpPr>
          <p:nvPr/>
        </p:nvSpPr>
        <p:spPr bwMode="auto">
          <a:xfrm>
            <a:off x="3097400" y="5323279"/>
            <a:ext cx="465138" cy="530225"/>
          </a:xfrm>
          <a:custGeom>
            <a:avLst/>
            <a:gdLst>
              <a:gd name="T0" fmla="*/ 0 w 1465"/>
              <a:gd name="T1" fmla="*/ 380 h 1671"/>
              <a:gd name="T2" fmla="*/ 0 w 1465"/>
              <a:gd name="T3" fmla="*/ 545 h 1671"/>
              <a:gd name="T4" fmla="*/ 160 w 1465"/>
              <a:gd name="T5" fmla="*/ 530 h 1671"/>
              <a:gd name="T6" fmla="*/ 251 w 1465"/>
              <a:gd name="T7" fmla="*/ 653 h 1671"/>
              <a:gd name="T8" fmla="*/ 269 w 1465"/>
              <a:gd name="T9" fmla="*/ 828 h 1671"/>
              <a:gd name="T10" fmla="*/ 235 w 1465"/>
              <a:gd name="T11" fmla="*/ 961 h 1671"/>
              <a:gd name="T12" fmla="*/ 458 w 1465"/>
              <a:gd name="T13" fmla="*/ 1340 h 1671"/>
              <a:gd name="T14" fmla="*/ 667 w 1465"/>
              <a:gd name="T15" fmla="*/ 1386 h 1671"/>
              <a:gd name="T16" fmla="*/ 827 w 1465"/>
              <a:gd name="T17" fmla="*/ 1505 h 1671"/>
              <a:gd name="T18" fmla="*/ 881 w 1465"/>
              <a:gd name="T19" fmla="*/ 1416 h 1671"/>
              <a:gd name="T20" fmla="*/ 985 w 1465"/>
              <a:gd name="T21" fmla="*/ 1365 h 1671"/>
              <a:gd name="T22" fmla="*/ 1105 w 1465"/>
              <a:gd name="T23" fmla="*/ 1551 h 1671"/>
              <a:gd name="T24" fmla="*/ 1244 w 1465"/>
              <a:gd name="T25" fmla="*/ 1671 h 1671"/>
              <a:gd name="T26" fmla="*/ 1290 w 1465"/>
              <a:gd name="T27" fmla="*/ 1546 h 1671"/>
              <a:gd name="T28" fmla="*/ 1390 w 1465"/>
              <a:gd name="T29" fmla="*/ 1491 h 1671"/>
              <a:gd name="T30" fmla="*/ 1435 w 1465"/>
              <a:gd name="T31" fmla="*/ 1356 h 1671"/>
              <a:gd name="T32" fmla="*/ 1465 w 1465"/>
              <a:gd name="T33" fmla="*/ 1140 h 1671"/>
              <a:gd name="T34" fmla="*/ 1435 w 1465"/>
              <a:gd name="T35" fmla="*/ 906 h 1671"/>
              <a:gd name="T36" fmla="*/ 1375 w 1465"/>
              <a:gd name="T37" fmla="*/ 876 h 1671"/>
              <a:gd name="T38" fmla="*/ 1288 w 1465"/>
              <a:gd name="T39" fmla="*/ 662 h 1671"/>
              <a:gd name="T40" fmla="*/ 1045 w 1465"/>
              <a:gd name="T41" fmla="*/ 186 h 1671"/>
              <a:gd name="T42" fmla="*/ 863 w 1465"/>
              <a:gd name="T43" fmla="*/ 51 h 1671"/>
              <a:gd name="T44" fmla="*/ 689 w 1465"/>
              <a:gd name="T45" fmla="*/ 0 h 1671"/>
              <a:gd name="T46" fmla="*/ 523 w 1465"/>
              <a:gd name="T47" fmla="*/ 90 h 1671"/>
              <a:gd name="T48" fmla="*/ 355 w 1465"/>
              <a:gd name="T49" fmla="*/ 66 h 1671"/>
              <a:gd name="T50" fmla="*/ 164 w 1465"/>
              <a:gd name="T51" fmla="*/ 209 h 1671"/>
              <a:gd name="T52" fmla="*/ 0 w 1465"/>
              <a:gd name="T53" fmla="*/ 380 h 167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465"/>
              <a:gd name="T82" fmla="*/ 0 h 1671"/>
              <a:gd name="T83" fmla="*/ 1465 w 1465"/>
              <a:gd name="T84" fmla="*/ 1671 h 1671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465" h="1671">
                <a:moveTo>
                  <a:pt x="0" y="380"/>
                </a:moveTo>
                <a:lnTo>
                  <a:pt x="0" y="545"/>
                </a:lnTo>
                <a:lnTo>
                  <a:pt x="160" y="530"/>
                </a:lnTo>
                <a:lnTo>
                  <a:pt x="251" y="653"/>
                </a:lnTo>
                <a:lnTo>
                  <a:pt x="269" y="828"/>
                </a:lnTo>
                <a:lnTo>
                  <a:pt x="235" y="961"/>
                </a:lnTo>
                <a:lnTo>
                  <a:pt x="458" y="1340"/>
                </a:lnTo>
                <a:lnTo>
                  <a:pt x="667" y="1386"/>
                </a:lnTo>
                <a:lnTo>
                  <a:pt x="827" y="1505"/>
                </a:lnTo>
                <a:lnTo>
                  <a:pt x="881" y="1416"/>
                </a:lnTo>
                <a:lnTo>
                  <a:pt x="985" y="1365"/>
                </a:lnTo>
                <a:lnTo>
                  <a:pt x="1105" y="1551"/>
                </a:lnTo>
                <a:lnTo>
                  <a:pt x="1244" y="1671"/>
                </a:lnTo>
                <a:lnTo>
                  <a:pt x="1290" y="1546"/>
                </a:lnTo>
                <a:lnTo>
                  <a:pt x="1390" y="1491"/>
                </a:lnTo>
                <a:lnTo>
                  <a:pt x="1435" y="1356"/>
                </a:lnTo>
                <a:lnTo>
                  <a:pt x="1465" y="1140"/>
                </a:lnTo>
                <a:lnTo>
                  <a:pt x="1435" y="906"/>
                </a:lnTo>
                <a:lnTo>
                  <a:pt x="1375" y="876"/>
                </a:lnTo>
                <a:lnTo>
                  <a:pt x="1288" y="662"/>
                </a:lnTo>
                <a:lnTo>
                  <a:pt x="1045" y="186"/>
                </a:lnTo>
                <a:lnTo>
                  <a:pt x="863" y="51"/>
                </a:lnTo>
                <a:lnTo>
                  <a:pt x="689" y="0"/>
                </a:lnTo>
                <a:lnTo>
                  <a:pt x="523" y="90"/>
                </a:lnTo>
                <a:lnTo>
                  <a:pt x="355" y="66"/>
                </a:lnTo>
                <a:lnTo>
                  <a:pt x="164" y="209"/>
                </a:lnTo>
                <a:lnTo>
                  <a:pt x="0" y="380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28" name="Freeform 17">
            <a:extLst>
              <a:ext uri="{FF2B5EF4-FFF2-40B4-BE49-F238E27FC236}">
                <a16:creationId xmlns:a16="http://schemas.microsoft.com/office/drawing/2014/main" id="{F8B8506B-990B-4184-BBCE-84D8C5FFDE77}"/>
              </a:ext>
            </a:extLst>
          </p:cNvPr>
          <p:cNvSpPr>
            <a:spLocks/>
          </p:cNvSpPr>
          <p:nvPr/>
        </p:nvSpPr>
        <p:spPr bwMode="auto">
          <a:xfrm>
            <a:off x="2781488" y="5420116"/>
            <a:ext cx="315912" cy="550863"/>
          </a:xfrm>
          <a:custGeom>
            <a:avLst/>
            <a:gdLst>
              <a:gd name="T0" fmla="*/ 110 w 995"/>
              <a:gd name="T1" fmla="*/ 609 h 1735"/>
              <a:gd name="T2" fmla="*/ 50 w 995"/>
              <a:gd name="T3" fmla="*/ 569 h 1735"/>
              <a:gd name="T4" fmla="*/ 5 w 995"/>
              <a:gd name="T5" fmla="*/ 479 h 1735"/>
              <a:gd name="T6" fmla="*/ 30 w 995"/>
              <a:gd name="T7" fmla="*/ 429 h 1735"/>
              <a:gd name="T8" fmla="*/ 0 w 995"/>
              <a:gd name="T9" fmla="*/ 329 h 1735"/>
              <a:gd name="T10" fmla="*/ 150 w 995"/>
              <a:gd name="T11" fmla="*/ 279 h 1735"/>
              <a:gd name="T12" fmla="*/ 315 w 995"/>
              <a:gd name="T13" fmla="*/ 269 h 1735"/>
              <a:gd name="T14" fmla="*/ 410 w 995"/>
              <a:gd name="T15" fmla="*/ 219 h 1735"/>
              <a:gd name="T16" fmla="*/ 525 w 995"/>
              <a:gd name="T17" fmla="*/ 194 h 1735"/>
              <a:gd name="T18" fmla="*/ 570 w 995"/>
              <a:gd name="T19" fmla="*/ 69 h 1735"/>
              <a:gd name="T20" fmla="*/ 718 w 995"/>
              <a:gd name="T21" fmla="*/ 0 h 1735"/>
              <a:gd name="T22" fmla="*/ 816 w 995"/>
              <a:gd name="T23" fmla="*/ 134 h 1735"/>
              <a:gd name="T24" fmla="*/ 995 w 995"/>
              <a:gd name="T25" fmla="*/ 74 h 1735"/>
              <a:gd name="T26" fmla="*/ 995 w 995"/>
              <a:gd name="T27" fmla="*/ 234 h 1735"/>
              <a:gd name="T28" fmla="*/ 920 w 995"/>
              <a:gd name="T29" fmla="*/ 444 h 1735"/>
              <a:gd name="T30" fmla="*/ 889 w 995"/>
              <a:gd name="T31" fmla="*/ 614 h 1735"/>
              <a:gd name="T32" fmla="*/ 841 w 995"/>
              <a:gd name="T33" fmla="*/ 839 h 1735"/>
              <a:gd name="T34" fmla="*/ 725 w 995"/>
              <a:gd name="T35" fmla="*/ 940 h 1735"/>
              <a:gd name="T36" fmla="*/ 645 w 995"/>
              <a:gd name="T37" fmla="*/ 1060 h 1735"/>
              <a:gd name="T38" fmla="*/ 600 w 995"/>
              <a:gd name="T39" fmla="*/ 1255 h 1735"/>
              <a:gd name="T40" fmla="*/ 635 w 995"/>
              <a:gd name="T41" fmla="*/ 1470 h 1735"/>
              <a:gd name="T42" fmla="*/ 590 w 995"/>
              <a:gd name="T43" fmla="*/ 1615 h 1735"/>
              <a:gd name="T44" fmla="*/ 420 w 995"/>
              <a:gd name="T45" fmla="*/ 1675 h 1735"/>
              <a:gd name="T46" fmla="*/ 275 w 995"/>
              <a:gd name="T47" fmla="*/ 1735 h 1735"/>
              <a:gd name="T48" fmla="*/ 315 w 995"/>
              <a:gd name="T49" fmla="*/ 1615 h 1735"/>
              <a:gd name="T50" fmla="*/ 260 w 995"/>
              <a:gd name="T51" fmla="*/ 1525 h 1735"/>
              <a:gd name="T52" fmla="*/ 140 w 995"/>
              <a:gd name="T53" fmla="*/ 1510 h 1735"/>
              <a:gd name="T54" fmla="*/ 90 w 995"/>
              <a:gd name="T55" fmla="*/ 1015 h 1735"/>
              <a:gd name="T56" fmla="*/ 225 w 995"/>
              <a:gd name="T57" fmla="*/ 1020 h 1735"/>
              <a:gd name="T58" fmla="*/ 360 w 995"/>
              <a:gd name="T59" fmla="*/ 1120 h 1735"/>
              <a:gd name="T60" fmla="*/ 545 w 995"/>
              <a:gd name="T61" fmla="*/ 1080 h 1735"/>
              <a:gd name="T62" fmla="*/ 575 w 995"/>
              <a:gd name="T63" fmla="*/ 1030 h 1735"/>
              <a:gd name="T64" fmla="*/ 450 w 995"/>
              <a:gd name="T65" fmla="*/ 1030 h 1735"/>
              <a:gd name="T66" fmla="*/ 380 w 995"/>
              <a:gd name="T67" fmla="*/ 955 h 1735"/>
              <a:gd name="T68" fmla="*/ 335 w 995"/>
              <a:gd name="T69" fmla="*/ 910 h 1735"/>
              <a:gd name="T70" fmla="*/ 390 w 995"/>
              <a:gd name="T71" fmla="*/ 824 h 1735"/>
              <a:gd name="T72" fmla="*/ 485 w 995"/>
              <a:gd name="T73" fmla="*/ 849 h 1735"/>
              <a:gd name="T74" fmla="*/ 510 w 995"/>
              <a:gd name="T75" fmla="*/ 729 h 1735"/>
              <a:gd name="T76" fmla="*/ 615 w 995"/>
              <a:gd name="T77" fmla="*/ 714 h 1735"/>
              <a:gd name="T78" fmla="*/ 660 w 995"/>
              <a:gd name="T79" fmla="*/ 659 h 1735"/>
              <a:gd name="T80" fmla="*/ 485 w 995"/>
              <a:gd name="T81" fmla="*/ 639 h 1735"/>
              <a:gd name="T82" fmla="*/ 455 w 995"/>
              <a:gd name="T83" fmla="*/ 554 h 1735"/>
              <a:gd name="T84" fmla="*/ 560 w 995"/>
              <a:gd name="T85" fmla="*/ 464 h 1735"/>
              <a:gd name="T86" fmla="*/ 615 w 995"/>
              <a:gd name="T87" fmla="*/ 369 h 1735"/>
              <a:gd name="T88" fmla="*/ 510 w 995"/>
              <a:gd name="T89" fmla="*/ 384 h 1735"/>
              <a:gd name="T90" fmla="*/ 425 w 995"/>
              <a:gd name="T91" fmla="*/ 479 h 1735"/>
              <a:gd name="T92" fmla="*/ 360 w 995"/>
              <a:gd name="T93" fmla="*/ 459 h 1735"/>
              <a:gd name="T94" fmla="*/ 330 w 995"/>
              <a:gd name="T95" fmla="*/ 494 h 1735"/>
              <a:gd name="T96" fmla="*/ 350 w 995"/>
              <a:gd name="T97" fmla="*/ 584 h 1735"/>
              <a:gd name="T98" fmla="*/ 320 w 995"/>
              <a:gd name="T99" fmla="*/ 659 h 1735"/>
              <a:gd name="T100" fmla="*/ 230 w 995"/>
              <a:gd name="T101" fmla="*/ 699 h 1735"/>
              <a:gd name="T102" fmla="*/ 230 w 995"/>
              <a:gd name="T103" fmla="*/ 599 h 1735"/>
              <a:gd name="T104" fmla="*/ 225 w 995"/>
              <a:gd name="T105" fmla="*/ 494 h 1735"/>
              <a:gd name="T106" fmla="*/ 150 w 995"/>
              <a:gd name="T107" fmla="*/ 419 h 1735"/>
              <a:gd name="T108" fmla="*/ 155 w 995"/>
              <a:gd name="T109" fmla="*/ 534 h 1735"/>
              <a:gd name="T110" fmla="*/ 110 w 995"/>
              <a:gd name="T111" fmla="*/ 609 h 173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995"/>
              <a:gd name="T169" fmla="*/ 0 h 1735"/>
              <a:gd name="T170" fmla="*/ 995 w 995"/>
              <a:gd name="T171" fmla="*/ 1735 h 173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995" h="1735">
                <a:moveTo>
                  <a:pt x="110" y="609"/>
                </a:moveTo>
                <a:lnTo>
                  <a:pt x="50" y="569"/>
                </a:lnTo>
                <a:lnTo>
                  <a:pt x="5" y="479"/>
                </a:lnTo>
                <a:lnTo>
                  <a:pt x="30" y="429"/>
                </a:lnTo>
                <a:lnTo>
                  <a:pt x="0" y="329"/>
                </a:lnTo>
                <a:lnTo>
                  <a:pt x="150" y="279"/>
                </a:lnTo>
                <a:lnTo>
                  <a:pt x="315" y="269"/>
                </a:lnTo>
                <a:lnTo>
                  <a:pt x="410" y="219"/>
                </a:lnTo>
                <a:lnTo>
                  <a:pt x="525" y="194"/>
                </a:lnTo>
                <a:lnTo>
                  <a:pt x="570" y="69"/>
                </a:lnTo>
                <a:lnTo>
                  <a:pt x="718" y="0"/>
                </a:lnTo>
                <a:lnTo>
                  <a:pt x="816" y="134"/>
                </a:lnTo>
                <a:lnTo>
                  <a:pt x="995" y="74"/>
                </a:lnTo>
                <a:lnTo>
                  <a:pt x="995" y="234"/>
                </a:lnTo>
                <a:lnTo>
                  <a:pt x="920" y="444"/>
                </a:lnTo>
                <a:lnTo>
                  <a:pt x="889" y="614"/>
                </a:lnTo>
                <a:lnTo>
                  <a:pt x="841" y="839"/>
                </a:lnTo>
                <a:lnTo>
                  <a:pt x="725" y="940"/>
                </a:lnTo>
                <a:lnTo>
                  <a:pt x="645" y="1060"/>
                </a:lnTo>
                <a:lnTo>
                  <a:pt x="600" y="1255"/>
                </a:lnTo>
                <a:lnTo>
                  <a:pt x="635" y="1470"/>
                </a:lnTo>
                <a:lnTo>
                  <a:pt x="590" y="1615"/>
                </a:lnTo>
                <a:lnTo>
                  <a:pt x="420" y="1675"/>
                </a:lnTo>
                <a:lnTo>
                  <a:pt x="275" y="1735"/>
                </a:lnTo>
                <a:lnTo>
                  <a:pt x="315" y="1615"/>
                </a:lnTo>
                <a:lnTo>
                  <a:pt x="260" y="1525"/>
                </a:lnTo>
                <a:lnTo>
                  <a:pt x="140" y="1510"/>
                </a:lnTo>
                <a:lnTo>
                  <a:pt x="90" y="1015"/>
                </a:lnTo>
                <a:lnTo>
                  <a:pt x="225" y="1020"/>
                </a:lnTo>
                <a:lnTo>
                  <a:pt x="360" y="1120"/>
                </a:lnTo>
                <a:lnTo>
                  <a:pt x="545" y="1080"/>
                </a:lnTo>
                <a:lnTo>
                  <a:pt x="575" y="1030"/>
                </a:lnTo>
                <a:lnTo>
                  <a:pt x="450" y="1030"/>
                </a:lnTo>
                <a:lnTo>
                  <a:pt x="380" y="955"/>
                </a:lnTo>
                <a:lnTo>
                  <a:pt x="335" y="910"/>
                </a:lnTo>
                <a:lnTo>
                  <a:pt x="390" y="824"/>
                </a:lnTo>
                <a:lnTo>
                  <a:pt x="485" y="849"/>
                </a:lnTo>
                <a:lnTo>
                  <a:pt x="510" y="729"/>
                </a:lnTo>
                <a:lnTo>
                  <a:pt x="615" y="714"/>
                </a:lnTo>
                <a:lnTo>
                  <a:pt x="660" y="659"/>
                </a:lnTo>
                <a:lnTo>
                  <a:pt x="485" y="639"/>
                </a:lnTo>
                <a:lnTo>
                  <a:pt x="455" y="554"/>
                </a:lnTo>
                <a:lnTo>
                  <a:pt x="560" y="464"/>
                </a:lnTo>
                <a:lnTo>
                  <a:pt x="615" y="369"/>
                </a:lnTo>
                <a:lnTo>
                  <a:pt x="510" y="384"/>
                </a:lnTo>
                <a:lnTo>
                  <a:pt x="425" y="479"/>
                </a:lnTo>
                <a:lnTo>
                  <a:pt x="360" y="459"/>
                </a:lnTo>
                <a:lnTo>
                  <a:pt x="330" y="494"/>
                </a:lnTo>
                <a:lnTo>
                  <a:pt x="350" y="584"/>
                </a:lnTo>
                <a:lnTo>
                  <a:pt x="320" y="659"/>
                </a:lnTo>
                <a:lnTo>
                  <a:pt x="230" y="699"/>
                </a:lnTo>
                <a:lnTo>
                  <a:pt x="230" y="599"/>
                </a:lnTo>
                <a:lnTo>
                  <a:pt x="225" y="494"/>
                </a:lnTo>
                <a:lnTo>
                  <a:pt x="150" y="419"/>
                </a:lnTo>
                <a:lnTo>
                  <a:pt x="155" y="534"/>
                </a:lnTo>
                <a:lnTo>
                  <a:pt x="110" y="609"/>
                </a:lnTo>
                <a:close/>
              </a:path>
            </a:pathLst>
          </a:custGeom>
          <a:solidFill>
            <a:schemeClr val="tx2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b="1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29" name="Freeform 18">
            <a:extLst>
              <a:ext uri="{FF2B5EF4-FFF2-40B4-BE49-F238E27FC236}">
                <a16:creationId xmlns:a16="http://schemas.microsoft.com/office/drawing/2014/main" id="{D4FE1152-6ED4-4995-A83A-B28513D53003}"/>
              </a:ext>
            </a:extLst>
          </p:cNvPr>
          <p:cNvSpPr>
            <a:spLocks/>
          </p:cNvSpPr>
          <p:nvPr/>
        </p:nvSpPr>
        <p:spPr bwMode="auto">
          <a:xfrm>
            <a:off x="3064063" y="5491554"/>
            <a:ext cx="428625" cy="550862"/>
          </a:xfrm>
          <a:custGeom>
            <a:avLst/>
            <a:gdLst>
              <a:gd name="T0" fmla="*/ 636 w 1351"/>
              <a:gd name="T1" fmla="*/ 1736 h 1736"/>
              <a:gd name="T2" fmla="*/ 836 w 1351"/>
              <a:gd name="T3" fmla="*/ 1571 h 1736"/>
              <a:gd name="T4" fmla="*/ 931 w 1351"/>
              <a:gd name="T5" fmla="*/ 1486 h 1736"/>
              <a:gd name="T6" fmla="*/ 1061 w 1351"/>
              <a:gd name="T7" fmla="*/ 1441 h 1736"/>
              <a:gd name="T8" fmla="*/ 1111 w 1351"/>
              <a:gd name="T9" fmla="*/ 1331 h 1736"/>
              <a:gd name="T10" fmla="*/ 1181 w 1351"/>
              <a:gd name="T11" fmla="*/ 1181 h 1736"/>
              <a:gd name="T12" fmla="*/ 1301 w 1351"/>
              <a:gd name="T13" fmla="*/ 1181 h 1736"/>
              <a:gd name="T14" fmla="*/ 1351 w 1351"/>
              <a:gd name="T15" fmla="*/ 1141 h 1736"/>
              <a:gd name="T16" fmla="*/ 1211 w 1351"/>
              <a:gd name="T17" fmla="*/ 1021 h 1736"/>
              <a:gd name="T18" fmla="*/ 1091 w 1351"/>
              <a:gd name="T19" fmla="*/ 835 h 1736"/>
              <a:gd name="T20" fmla="*/ 986 w 1351"/>
              <a:gd name="T21" fmla="*/ 886 h 1736"/>
              <a:gd name="T22" fmla="*/ 931 w 1351"/>
              <a:gd name="T23" fmla="*/ 976 h 1736"/>
              <a:gd name="T24" fmla="*/ 776 w 1351"/>
              <a:gd name="T25" fmla="*/ 855 h 1736"/>
              <a:gd name="T26" fmla="*/ 566 w 1351"/>
              <a:gd name="T27" fmla="*/ 810 h 1736"/>
              <a:gd name="T28" fmla="*/ 341 w 1351"/>
              <a:gd name="T29" fmla="*/ 435 h 1736"/>
              <a:gd name="T30" fmla="*/ 376 w 1351"/>
              <a:gd name="T31" fmla="*/ 300 h 1736"/>
              <a:gd name="T32" fmla="*/ 356 w 1351"/>
              <a:gd name="T33" fmla="*/ 120 h 1736"/>
              <a:gd name="T34" fmla="*/ 267 w 1351"/>
              <a:gd name="T35" fmla="*/ 0 h 1736"/>
              <a:gd name="T36" fmla="*/ 105 w 1351"/>
              <a:gd name="T37" fmla="*/ 15 h 1736"/>
              <a:gd name="T38" fmla="*/ 32 w 1351"/>
              <a:gd name="T39" fmla="*/ 217 h 1736"/>
              <a:gd name="T40" fmla="*/ 0 w 1351"/>
              <a:gd name="T41" fmla="*/ 390 h 1736"/>
              <a:gd name="T42" fmla="*/ 71 w 1351"/>
              <a:gd name="T43" fmla="*/ 652 h 1736"/>
              <a:gd name="T44" fmla="*/ 27 w 1351"/>
              <a:gd name="T45" fmla="*/ 870 h 1736"/>
              <a:gd name="T46" fmla="*/ 284 w 1351"/>
              <a:gd name="T47" fmla="*/ 940 h 1736"/>
              <a:gd name="T48" fmla="*/ 282 w 1351"/>
              <a:gd name="T49" fmla="*/ 1093 h 1736"/>
              <a:gd name="T50" fmla="*/ 222 w 1351"/>
              <a:gd name="T51" fmla="*/ 1303 h 1736"/>
              <a:gd name="T52" fmla="*/ 301 w 1351"/>
              <a:gd name="T53" fmla="*/ 1486 h 1736"/>
              <a:gd name="T54" fmla="*/ 497 w 1351"/>
              <a:gd name="T55" fmla="*/ 1578 h 1736"/>
              <a:gd name="T56" fmla="*/ 524 w 1351"/>
              <a:gd name="T57" fmla="*/ 1720 h 1736"/>
              <a:gd name="T58" fmla="*/ 636 w 1351"/>
              <a:gd name="T59" fmla="*/ 1736 h 17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351"/>
              <a:gd name="T91" fmla="*/ 0 h 1736"/>
              <a:gd name="T92" fmla="*/ 1351 w 1351"/>
              <a:gd name="T93" fmla="*/ 1736 h 17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351" h="1736">
                <a:moveTo>
                  <a:pt x="636" y="1736"/>
                </a:moveTo>
                <a:lnTo>
                  <a:pt x="836" y="1571"/>
                </a:lnTo>
                <a:lnTo>
                  <a:pt x="931" y="1486"/>
                </a:lnTo>
                <a:lnTo>
                  <a:pt x="1061" y="1441"/>
                </a:lnTo>
                <a:lnTo>
                  <a:pt x="1111" y="1331"/>
                </a:lnTo>
                <a:lnTo>
                  <a:pt x="1181" y="1181"/>
                </a:lnTo>
                <a:lnTo>
                  <a:pt x="1301" y="1181"/>
                </a:lnTo>
                <a:lnTo>
                  <a:pt x="1351" y="1141"/>
                </a:lnTo>
                <a:lnTo>
                  <a:pt x="1211" y="1021"/>
                </a:lnTo>
                <a:lnTo>
                  <a:pt x="1091" y="835"/>
                </a:lnTo>
                <a:lnTo>
                  <a:pt x="986" y="886"/>
                </a:lnTo>
                <a:lnTo>
                  <a:pt x="931" y="976"/>
                </a:lnTo>
                <a:lnTo>
                  <a:pt x="776" y="855"/>
                </a:lnTo>
                <a:lnTo>
                  <a:pt x="566" y="810"/>
                </a:lnTo>
                <a:lnTo>
                  <a:pt x="341" y="435"/>
                </a:lnTo>
                <a:lnTo>
                  <a:pt x="376" y="300"/>
                </a:lnTo>
                <a:lnTo>
                  <a:pt x="356" y="120"/>
                </a:lnTo>
                <a:lnTo>
                  <a:pt x="267" y="0"/>
                </a:lnTo>
                <a:lnTo>
                  <a:pt x="105" y="15"/>
                </a:lnTo>
                <a:lnTo>
                  <a:pt x="32" y="217"/>
                </a:lnTo>
                <a:lnTo>
                  <a:pt x="0" y="390"/>
                </a:lnTo>
                <a:lnTo>
                  <a:pt x="71" y="652"/>
                </a:lnTo>
                <a:lnTo>
                  <a:pt x="27" y="870"/>
                </a:lnTo>
                <a:lnTo>
                  <a:pt x="284" y="940"/>
                </a:lnTo>
                <a:lnTo>
                  <a:pt x="282" y="1093"/>
                </a:lnTo>
                <a:lnTo>
                  <a:pt x="222" y="1303"/>
                </a:lnTo>
                <a:lnTo>
                  <a:pt x="301" y="1486"/>
                </a:lnTo>
                <a:lnTo>
                  <a:pt x="497" y="1578"/>
                </a:lnTo>
                <a:lnTo>
                  <a:pt x="524" y="1720"/>
                </a:lnTo>
                <a:lnTo>
                  <a:pt x="636" y="1736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0" name="Freeform 19">
            <a:extLst>
              <a:ext uri="{FF2B5EF4-FFF2-40B4-BE49-F238E27FC236}">
                <a16:creationId xmlns:a16="http://schemas.microsoft.com/office/drawing/2014/main" id="{E822B9B5-2983-4F33-9368-67D212D02BE6}"/>
              </a:ext>
            </a:extLst>
          </p:cNvPr>
          <p:cNvSpPr>
            <a:spLocks/>
          </p:cNvSpPr>
          <p:nvPr/>
        </p:nvSpPr>
        <p:spPr bwMode="auto">
          <a:xfrm>
            <a:off x="2870388" y="5613791"/>
            <a:ext cx="395287" cy="471488"/>
          </a:xfrm>
          <a:custGeom>
            <a:avLst/>
            <a:gdLst>
              <a:gd name="T0" fmla="*/ 36 w 1246"/>
              <a:gd name="T1" fmla="*/ 1170 h 1485"/>
              <a:gd name="T2" fmla="*/ 206 w 1246"/>
              <a:gd name="T3" fmla="*/ 1230 h 1485"/>
              <a:gd name="T4" fmla="*/ 401 w 1246"/>
              <a:gd name="T5" fmla="*/ 1215 h 1485"/>
              <a:gd name="T6" fmla="*/ 321 w 1246"/>
              <a:gd name="T7" fmla="*/ 1310 h 1485"/>
              <a:gd name="T8" fmla="*/ 341 w 1246"/>
              <a:gd name="T9" fmla="*/ 1400 h 1485"/>
              <a:gd name="T10" fmla="*/ 576 w 1246"/>
              <a:gd name="T11" fmla="*/ 1380 h 1485"/>
              <a:gd name="T12" fmla="*/ 791 w 1246"/>
              <a:gd name="T13" fmla="*/ 1485 h 1485"/>
              <a:gd name="T14" fmla="*/ 1246 w 1246"/>
              <a:gd name="T15" fmla="*/ 1350 h 1485"/>
              <a:gd name="T16" fmla="*/ 1136 w 1246"/>
              <a:gd name="T17" fmla="*/ 1335 h 1485"/>
              <a:gd name="T18" fmla="*/ 1106 w 1246"/>
              <a:gd name="T19" fmla="*/ 1190 h 1485"/>
              <a:gd name="T20" fmla="*/ 911 w 1246"/>
              <a:gd name="T21" fmla="*/ 1100 h 1485"/>
              <a:gd name="T22" fmla="*/ 831 w 1246"/>
              <a:gd name="T23" fmla="*/ 915 h 1485"/>
              <a:gd name="T24" fmla="*/ 891 w 1246"/>
              <a:gd name="T25" fmla="*/ 705 h 1485"/>
              <a:gd name="T26" fmla="*/ 896 w 1246"/>
              <a:gd name="T27" fmla="*/ 555 h 1485"/>
              <a:gd name="T28" fmla="*/ 636 w 1246"/>
              <a:gd name="T29" fmla="*/ 485 h 1485"/>
              <a:gd name="T30" fmla="*/ 681 w 1246"/>
              <a:gd name="T31" fmla="*/ 270 h 1485"/>
              <a:gd name="T32" fmla="*/ 611 w 1246"/>
              <a:gd name="T33" fmla="*/ 0 h 1485"/>
              <a:gd name="T34" fmla="*/ 561 w 1246"/>
              <a:gd name="T35" fmla="*/ 230 h 1485"/>
              <a:gd name="T36" fmla="*/ 448 w 1246"/>
              <a:gd name="T37" fmla="*/ 326 h 1485"/>
              <a:gd name="T38" fmla="*/ 364 w 1246"/>
              <a:gd name="T39" fmla="*/ 452 h 1485"/>
              <a:gd name="T40" fmla="*/ 321 w 1246"/>
              <a:gd name="T41" fmla="*/ 645 h 1485"/>
              <a:gd name="T42" fmla="*/ 356 w 1246"/>
              <a:gd name="T43" fmla="*/ 860 h 1485"/>
              <a:gd name="T44" fmla="*/ 310 w 1246"/>
              <a:gd name="T45" fmla="*/ 1004 h 1485"/>
              <a:gd name="T46" fmla="*/ 139 w 1246"/>
              <a:gd name="T47" fmla="*/ 1067 h 1485"/>
              <a:gd name="T48" fmla="*/ 0 w 1246"/>
              <a:gd name="T49" fmla="*/ 1124 h 1485"/>
              <a:gd name="T50" fmla="*/ 36 w 1246"/>
              <a:gd name="T51" fmla="*/ 1170 h 1485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46"/>
              <a:gd name="T79" fmla="*/ 0 h 1485"/>
              <a:gd name="T80" fmla="*/ 1246 w 1246"/>
              <a:gd name="T81" fmla="*/ 1485 h 1485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46" h="1485">
                <a:moveTo>
                  <a:pt x="36" y="1170"/>
                </a:moveTo>
                <a:lnTo>
                  <a:pt x="206" y="1230"/>
                </a:lnTo>
                <a:lnTo>
                  <a:pt x="401" y="1215"/>
                </a:lnTo>
                <a:lnTo>
                  <a:pt x="321" y="1310"/>
                </a:lnTo>
                <a:lnTo>
                  <a:pt x="341" y="1400"/>
                </a:lnTo>
                <a:lnTo>
                  <a:pt x="576" y="1380"/>
                </a:lnTo>
                <a:lnTo>
                  <a:pt x="791" y="1485"/>
                </a:lnTo>
                <a:lnTo>
                  <a:pt x="1246" y="1350"/>
                </a:lnTo>
                <a:lnTo>
                  <a:pt x="1136" y="1335"/>
                </a:lnTo>
                <a:lnTo>
                  <a:pt x="1106" y="1190"/>
                </a:lnTo>
                <a:lnTo>
                  <a:pt x="911" y="1100"/>
                </a:lnTo>
                <a:lnTo>
                  <a:pt x="831" y="915"/>
                </a:lnTo>
                <a:lnTo>
                  <a:pt x="891" y="705"/>
                </a:lnTo>
                <a:lnTo>
                  <a:pt x="896" y="555"/>
                </a:lnTo>
                <a:lnTo>
                  <a:pt x="636" y="485"/>
                </a:lnTo>
                <a:lnTo>
                  <a:pt x="681" y="270"/>
                </a:lnTo>
                <a:lnTo>
                  <a:pt x="611" y="0"/>
                </a:lnTo>
                <a:lnTo>
                  <a:pt x="561" y="230"/>
                </a:lnTo>
                <a:lnTo>
                  <a:pt x="448" y="326"/>
                </a:lnTo>
                <a:lnTo>
                  <a:pt x="364" y="452"/>
                </a:lnTo>
                <a:lnTo>
                  <a:pt x="321" y="645"/>
                </a:lnTo>
                <a:lnTo>
                  <a:pt x="356" y="860"/>
                </a:lnTo>
                <a:lnTo>
                  <a:pt x="310" y="1004"/>
                </a:lnTo>
                <a:lnTo>
                  <a:pt x="139" y="1067"/>
                </a:lnTo>
                <a:lnTo>
                  <a:pt x="0" y="1124"/>
                </a:lnTo>
                <a:lnTo>
                  <a:pt x="36" y="1170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1" name="Freeform 20">
            <a:extLst>
              <a:ext uri="{FF2B5EF4-FFF2-40B4-BE49-F238E27FC236}">
                <a16:creationId xmlns:a16="http://schemas.microsoft.com/office/drawing/2014/main" id="{8E58B6B1-357A-4D8F-B173-A367B001843A}"/>
              </a:ext>
            </a:extLst>
          </p:cNvPr>
          <p:cNvSpPr>
            <a:spLocks/>
          </p:cNvSpPr>
          <p:nvPr/>
        </p:nvSpPr>
        <p:spPr bwMode="auto">
          <a:xfrm>
            <a:off x="4364225" y="2375291"/>
            <a:ext cx="288925" cy="261938"/>
          </a:xfrm>
          <a:custGeom>
            <a:avLst/>
            <a:gdLst>
              <a:gd name="T0" fmla="*/ 182 w 182"/>
              <a:gd name="T1" fmla="*/ 45 h 165"/>
              <a:gd name="T2" fmla="*/ 167 w 182"/>
              <a:gd name="T3" fmla="*/ 31 h 165"/>
              <a:gd name="T4" fmla="*/ 152 w 182"/>
              <a:gd name="T5" fmla="*/ 45 h 165"/>
              <a:gd name="T6" fmla="*/ 149 w 182"/>
              <a:gd name="T7" fmla="*/ 64 h 165"/>
              <a:gd name="T8" fmla="*/ 141 w 182"/>
              <a:gd name="T9" fmla="*/ 76 h 165"/>
              <a:gd name="T10" fmla="*/ 126 w 182"/>
              <a:gd name="T11" fmla="*/ 75 h 165"/>
              <a:gd name="T12" fmla="*/ 135 w 182"/>
              <a:gd name="T13" fmla="*/ 45 h 165"/>
              <a:gd name="T14" fmla="*/ 120 w 182"/>
              <a:gd name="T15" fmla="*/ 21 h 165"/>
              <a:gd name="T16" fmla="*/ 96 w 182"/>
              <a:gd name="T17" fmla="*/ 43 h 165"/>
              <a:gd name="T18" fmla="*/ 79 w 182"/>
              <a:gd name="T19" fmla="*/ 42 h 165"/>
              <a:gd name="T20" fmla="*/ 71 w 182"/>
              <a:gd name="T21" fmla="*/ 0 h 165"/>
              <a:gd name="T22" fmla="*/ 53 w 182"/>
              <a:gd name="T23" fmla="*/ 28 h 165"/>
              <a:gd name="T24" fmla="*/ 56 w 182"/>
              <a:gd name="T25" fmla="*/ 49 h 165"/>
              <a:gd name="T26" fmla="*/ 26 w 182"/>
              <a:gd name="T27" fmla="*/ 48 h 165"/>
              <a:gd name="T28" fmla="*/ 15 w 182"/>
              <a:gd name="T29" fmla="*/ 48 h 165"/>
              <a:gd name="T30" fmla="*/ 17 w 182"/>
              <a:gd name="T31" fmla="*/ 63 h 165"/>
              <a:gd name="T32" fmla="*/ 0 w 182"/>
              <a:gd name="T33" fmla="*/ 84 h 165"/>
              <a:gd name="T34" fmla="*/ 23 w 182"/>
              <a:gd name="T35" fmla="*/ 96 h 165"/>
              <a:gd name="T36" fmla="*/ 33 w 182"/>
              <a:gd name="T37" fmla="*/ 88 h 165"/>
              <a:gd name="T38" fmla="*/ 56 w 182"/>
              <a:gd name="T39" fmla="*/ 67 h 165"/>
              <a:gd name="T40" fmla="*/ 79 w 182"/>
              <a:gd name="T41" fmla="*/ 87 h 165"/>
              <a:gd name="T42" fmla="*/ 79 w 182"/>
              <a:gd name="T43" fmla="*/ 42 h 165"/>
              <a:gd name="T44" fmla="*/ 95 w 182"/>
              <a:gd name="T45" fmla="*/ 55 h 165"/>
              <a:gd name="T46" fmla="*/ 93 w 182"/>
              <a:gd name="T47" fmla="*/ 75 h 165"/>
              <a:gd name="T48" fmla="*/ 86 w 182"/>
              <a:gd name="T49" fmla="*/ 102 h 165"/>
              <a:gd name="T50" fmla="*/ 75 w 182"/>
              <a:gd name="T51" fmla="*/ 127 h 165"/>
              <a:gd name="T52" fmla="*/ 54 w 182"/>
              <a:gd name="T53" fmla="*/ 156 h 165"/>
              <a:gd name="T54" fmla="*/ 68 w 182"/>
              <a:gd name="T55" fmla="*/ 165 h 165"/>
              <a:gd name="T56" fmla="*/ 92 w 182"/>
              <a:gd name="T57" fmla="*/ 147 h 165"/>
              <a:gd name="T58" fmla="*/ 117 w 182"/>
              <a:gd name="T59" fmla="*/ 156 h 165"/>
              <a:gd name="T60" fmla="*/ 122 w 182"/>
              <a:gd name="T61" fmla="*/ 118 h 165"/>
              <a:gd name="T62" fmla="*/ 140 w 182"/>
              <a:gd name="T63" fmla="*/ 132 h 165"/>
              <a:gd name="T64" fmla="*/ 149 w 182"/>
              <a:gd name="T65" fmla="*/ 115 h 165"/>
              <a:gd name="T66" fmla="*/ 167 w 182"/>
              <a:gd name="T67" fmla="*/ 111 h 165"/>
              <a:gd name="T68" fmla="*/ 176 w 182"/>
              <a:gd name="T69" fmla="*/ 76 h 165"/>
              <a:gd name="T70" fmla="*/ 182 w 182"/>
              <a:gd name="T71" fmla="*/ 45 h 16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82"/>
              <a:gd name="T109" fmla="*/ 0 h 165"/>
              <a:gd name="T110" fmla="*/ 182 w 182"/>
              <a:gd name="T111" fmla="*/ 165 h 16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82" h="165">
                <a:moveTo>
                  <a:pt x="182" y="45"/>
                </a:moveTo>
                <a:lnTo>
                  <a:pt x="167" y="31"/>
                </a:lnTo>
                <a:lnTo>
                  <a:pt x="152" y="45"/>
                </a:lnTo>
                <a:lnTo>
                  <a:pt x="149" y="64"/>
                </a:lnTo>
                <a:lnTo>
                  <a:pt x="141" y="76"/>
                </a:lnTo>
                <a:lnTo>
                  <a:pt x="126" y="75"/>
                </a:lnTo>
                <a:lnTo>
                  <a:pt x="135" y="45"/>
                </a:lnTo>
                <a:lnTo>
                  <a:pt x="120" y="21"/>
                </a:lnTo>
                <a:lnTo>
                  <a:pt x="96" y="43"/>
                </a:lnTo>
                <a:lnTo>
                  <a:pt x="79" y="42"/>
                </a:lnTo>
                <a:lnTo>
                  <a:pt x="71" y="0"/>
                </a:lnTo>
                <a:lnTo>
                  <a:pt x="53" y="28"/>
                </a:lnTo>
                <a:lnTo>
                  <a:pt x="56" y="49"/>
                </a:lnTo>
                <a:lnTo>
                  <a:pt x="26" y="48"/>
                </a:lnTo>
                <a:lnTo>
                  <a:pt x="15" y="48"/>
                </a:lnTo>
                <a:lnTo>
                  <a:pt x="17" y="63"/>
                </a:lnTo>
                <a:lnTo>
                  <a:pt x="0" y="84"/>
                </a:lnTo>
                <a:lnTo>
                  <a:pt x="23" y="96"/>
                </a:lnTo>
                <a:lnTo>
                  <a:pt x="33" y="88"/>
                </a:lnTo>
                <a:lnTo>
                  <a:pt x="56" y="67"/>
                </a:lnTo>
                <a:lnTo>
                  <a:pt x="79" y="87"/>
                </a:lnTo>
                <a:lnTo>
                  <a:pt x="79" y="42"/>
                </a:lnTo>
                <a:lnTo>
                  <a:pt x="95" y="55"/>
                </a:lnTo>
                <a:lnTo>
                  <a:pt x="93" y="75"/>
                </a:lnTo>
                <a:lnTo>
                  <a:pt x="86" y="102"/>
                </a:lnTo>
                <a:lnTo>
                  <a:pt x="75" y="127"/>
                </a:lnTo>
                <a:lnTo>
                  <a:pt x="54" y="156"/>
                </a:lnTo>
                <a:lnTo>
                  <a:pt x="68" y="165"/>
                </a:lnTo>
                <a:lnTo>
                  <a:pt x="92" y="147"/>
                </a:lnTo>
                <a:lnTo>
                  <a:pt x="117" y="156"/>
                </a:lnTo>
                <a:lnTo>
                  <a:pt x="122" y="118"/>
                </a:lnTo>
                <a:lnTo>
                  <a:pt x="140" y="132"/>
                </a:lnTo>
                <a:lnTo>
                  <a:pt x="149" y="115"/>
                </a:lnTo>
                <a:lnTo>
                  <a:pt x="167" y="111"/>
                </a:lnTo>
                <a:lnTo>
                  <a:pt x="176" y="76"/>
                </a:lnTo>
                <a:lnTo>
                  <a:pt x="182" y="45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2" name="Freeform 21">
            <a:extLst>
              <a:ext uri="{FF2B5EF4-FFF2-40B4-BE49-F238E27FC236}">
                <a16:creationId xmlns:a16="http://schemas.microsoft.com/office/drawing/2014/main" id="{6D3DD1E2-843A-4773-83CF-75075290417D}"/>
              </a:ext>
            </a:extLst>
          </p:cNvPr>
          <p:cNvSpPr>
            <a:spLocks/>
          </p:cNvSpPr>
          <p:nvPr/>
        </p:nvSpPr>
        <p:spPr bwMode="auto">
          <a:xfrm>
            <a:off x="4705538" y="2153041"/>
            <a:ext cx="114300" cy="200025"/>
          </a:xfrm>
          <a:custGeom>
            <a:avLst/>
            <a:gdLst>
              <a:gd name="T0" fmla="*/ 1 w 72"/>
              <a:gd name="T1" fmla="*/ 54 h 126"/>
              <a:gd name="T2" fmla="*/ 0 w 72"/>
              <a:gd name="T3" fmla="*/ 126 h 126"/>
              <a:gd name="T4" fmla="*/ 36 w 72"/>
              <a:gd name="T5" fmla="*/ 104 h 126"/>
              <a:gd name="T6" fmla="*/ 60 w 72"/>
              <a:gd name="T7" fmla="*/ 87 h 126"/>
              <a:gd name="T8" fmla="*/ 60 w 72"/>
              <a:gd name="T9" fmla="*/ 57 h 126"/>
              <a:gd name="T10" fmla="*/ 72 w 72"/>
              <a:gd name="T11" fmla="*/ 15 h 126"/>
              <a:gd name="T12" fmla="*/ 57 w 72"/>
              <a:gd name="T13" fmla="*/ 0 h 126"/>
              <a:gd name="T14" fmla="*/ 21 w 72"/>
              <a:gd name="T15" fmla="*/ 17 h 126"/>
              <a:gd name="T16" fmla="*/ 16 w 72"/>
              <a:gd name="T17" fmla="*/ 33 h 126"/>
              <a:gd name="T18" fmla="*/ 1 w 72"/>
              <a:gd name="T19" fmla="*/ 54 h 12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2"/>
              <a:gd name="T31" fmla="*/ 0 h 126"/>
              <a:gd name="T32" fmla="*/ 72 w 72"/>
              <a:gd name="T33" fmla="*/ 126 h 12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2" h="126">
                <a:moveTo>
                  <a:pt x="1" y="54"/>
                </a:moveTo>
                <a:lnTo>
                  <a:pt x="0" y="126"/>
                </a:lnTo>
                <a:lnTo>
                  <a:pt x="36" y="104"/>
                </a:lnTo>
                <a:lnTo>
                  <a:pt x="60" y="87"/>
                </a:lnTo>
                <a:lnTo>
                  <a:pt x="60" y="57"/>
                </a:lnTo>
                <a:lnTo>
                  <a:pt x="72" y="15"/>
                </a:lnTo>
                <a:lnTo>
                  <a:pt x="57" y="0"/>
                </a:lnTo>
                <a:lnTo>
                  <a:pt x="21" y="17"/>
                </a:lnTo>
                <a:lnTo>
                  <a:pt x="16" y="33"/>
                </a:lnTo>
                <a:lnTo>
                  <a:pt x="1" y="54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3" name="Freeform 22">
            <a:extLst>
              <a:ext uri="{FF2B5EF4-FFF2-40B4-BE49-F238E27FC236}">
                <a16:creationId xmlns:a16="http://schemas.microsoft.com/office/drawing/2014/main" id="{BD46D839-3929-43E7-B0BA-00F8B0E0BFF7}"/>
              </a:ext>
            </a:extLst>
          </p:cNvPr>
          <p:cNvSpPr>
            <a:spLocks/>
          </p:cNvSpPr>
          <p:nvPr/>
        </p:nvSpPr>
        <p:spPr bwMode="auto">
          <a:xfrm>
            <a:off x="4267388" y="2634054"/>
            <a:ext cx="76200" cy="69850"/>
          </a:xfrm>
          <a:custGeom>
            <a:avLst/>
            <a:gdLst>
              <a:gd name="T0" fmla="*/ 0 w 48"/>
              <a:gd name="T1" fmla="*/ 3 h 44"/>
              <a:gd name="T2" fmla="*/ 7 w 48"/>
              <a:gd name="T3" fmla="*/ 23 h 44"/>
              <a:gd name="T4" fmla="*/ 6 w 48"/>
              <a:gd name="T5" fmla="*/ 44 h 44"/>
              <a:gd name="T6" fmla="*/ 27 w 48"/>
              <a:gd name="T7" fmla="*/ 42 h 44"/>
              <a:gd name="T8" fmla="*/ 48 w 48"/>
              <a:gd name="T9" fmla="*/ 18 h 44"/>
              <a:gd name="T10" fmla="*/ 34 w 48"/>
              <a:gd name="T11" fmla="*/ 0 h 44"/>
              <a:gd name="T12" fmla="*/ 0 w 48"/>
              <a:gd name="T13" fmla="*/ 3 h 4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8"/>
              <a:gd name="T22" fmla="*/ 0 h 44"/>
              <a:gd name="T23" fmla="*/ 48 w 48"/>
              <a:gd name="T24" fmla="*/ 44 h 4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8" h="44">
                <a:moveTo>
                  <a:pt x="0" y="3"/>
                </a:moveTo>
                <a:lnTo>
                  <a:pt x="7" y="23"/>
                </a:lnTo>
                <a:lnTo>
                  <a:pt x="6" y="44"/>
                </a:lnTo>
                <a:lnTo>
                  <a:pt x="27" y="42"/>
                </a:lnTo>
                <a:lnTo>
                  <a:pt x="48" y="18"/>
                </a:lnTo>
                <a:lnTo>
                  <a:pt x="34" y="0"/>
                </a:lnTo>
                <a:lnTo>
                  <a:pt x="0" y="3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4" name="Freeform 23">
            <a:extLst>
              <a:ext uri="{FF2B5EF4-FFF2-40B4-BE49-F238E27FC236}">
                <a16:creationId xmlns:a16="http://schemas.microsoft.com/office/drawing/2014/main" id="{C420168B-3465-4D75-8ACC-1F8DBAA708D6}"/>
              </a:ext>
            </a:extLst>
          </p:cNvPr>
          <p:cNvSpPr>
            <a:spLocks/>
          </p:cNvSpPr>
          <p:nvPr/>
        </p:nvSpPr>
        <p:spPr bwMode="auto">
          <a:xfrm>
            <a:off x="4515038" y="2280041"/>
            <a:ext cx="77787" cy="119063"/>
          </a:xfrm>
          <a:custGeom>
            <a:avLst/>
            <a:gdLst>
              <a:gd name="T0" fmla="*/ 22 w 49"/>
              <a:gd name="T1" fmla="*/ 21 h 75"/>
              <a:gd name="T2" fmla="*/ 3 w 49"/>
              <a:gd name="T3" fmla="*/ 45 h 75"/>
              <a:gd name="T4" fmla="*/ 0 w 49"/>
              <a:gd name="T5" fmla="*/ 75 h 75"/>
              <a:gd name="T6" fmla="*/ 22 w 49"/>
              <a:gd name="T7" fmla="*/ 57 h 75"/>
              <a:gd name="T8" fmla="*/ 40 w 49"/>
              <a:gd name="T9" fmla="*/ 48 h 75"/>
              <a:gd name="T10" fmla="*/ 39 w 49"/>
              <a:gd name="T11" fmla="*/ 33 h 75"/>
              <a:gd name="T12" fmla="*/ 49 w 49"/>
              <a:gd name="T13" fmla="*/ 0 h 75"/>
              <a:gd name="T14" fmla="*/ 34 w 49"/>
              <a:gd name="T15" fmla="*/ 0 h 75"/>
              <a:gd name="T16" fmla="*/ 22 w 49"/>
              <a:gd name="T17" fmla="*/ 21 h 7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9"/>
              <a:gd name="T28" fmla="*/ 0 h 75"/>
              <a:gd name="T29" fmla="*/ 49 w 49"/>
              <a:gd name="T30" fmla="*/ 75 h 7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9" h="75">
                <a:moveTo>
                  <a:pt x="22" y="21"/>
                </a:moveTo>
                <a:lnTo>
                  <a:pt x="3" y="45"/>
                </a:lnTo>
                <a:lnTo>
                  <a:pt x="0" y="75"/>
                </a:lnTo>
                <a:lnTo>
                  <a:pt x="22" y="57"/>
                </a:lnTo>
                <a:lnTo>
                  <a:pt x="40" y="48"/>
                </a:lnTo>
                <a:lnTo>
                  <a:pt x="39" y="33"/>
                </a:lnTo>
                <a:lnTo>
                  <a:pt x="49" y="0"/>
                </a:lnTo>
                <a:lnTo>
                  <a:pt x="34" y="0"/>
                </a:lnTo>
                <a:lnTo>
                  <a:pt x="22" y="21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5" name="Freeform 24">
            <a:extLst>
              <a:ext uri="{FF2B5EF4-FFF2-40B4-BE49-F238E27FC236}">
                <a16:creationId xmlns:a16="http://schemas.microsoft.com/office/drawing/2014/main" id="{0D0E50C0-8E9E-42B1-9F69-624E92D67227}"/>
              </a:ext>
            </a:extLst>
          </p:cNvPr>
          <p:cNvSpPr>
            <a:spLocks/>
          </p:cNvSpPr>
          <p:nvPr/>
        </p:nvSpPr>
        <p:spPr bwMode="auto">
          <a:xfrm>
            <a:off x="4359463" y="2556266"/>
            <a:ext cx="84137" cy="115888"/>
          </a:xfrm>
          <a:custGeom>
            <a:avLst/>
            <a:gdLst>
              <a:gd name="T0" fmla="*/ 26 w 53"/>
              <a:gd name="T1" fmla="*/ 21 h 73"/>
              <a:gd name="T2" fmla="*/ 0 w 53"/>
              <a:gd name="T3" fmla="*/ 55 h 73"/>
              <a:gd name="T4" fmla="*/ 15 w 53"/>
              <a:gd name="T5" fmla="*/ 73 h 73"/>
              <a:gd name="T6" fmla="*/ 26 w 53"/>
              <a:gd name="T7" fmla="*/ 57 h 73"/>
              <a:gd name="T8" fmla="*/ 44 w 53"/>
              <a:gd name="T9" fmla="*/ 48 h 73"/>
              <a:gd name="T10" fmla="*/ 51 w 53"/>
              <a:gd name="T11" fmla="*/ 28 h 73"/>
              <a:gd name="T12" fmla="*/ 53 w 53"/>
              <a:gd name="T13" fmla="*/ 0 h 73"/>
              <a:gd name="T14" fmla="*/ 38 w 53"/>
              <a:gd name="T15" fmla="*/ 0 h 73"/>
              <a:gd name="T16" fmla="*/ 26 w 53"/>
              <a:gd name="T17" fmla="*/ 21 h 7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3"/>
              <a:gd name="T28" fmla="*/ 0 h 73"/>
              <a:gd name="T29" fmla="*/ 53 w 53"/>
              <a:gd name="T30" fmla="*/ 73 h 7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3" h="73">
                <a:moveTo>
                  <a:pt x="26" y="21"/>
                </a:moveTo>
                <a:lnTo>
                  <a:pt x="0" y="55"/>
                </a:lnTo>
                <a:lnTo>
                  <a:pt x="15" y="73"/>
                </a:lnTo>
                <a:lnTo>
                  <a:pt x="26" y="57"/>
                </a:lnTo>
                <a:lnTo>
                  <a:pt x="44" y="48"/>
                </a:lnTo>
                <a:lnTo>
                  <a:pt x="51" y="28"/>
                </a:lnTo>
                <a:lnTo>
                  <a:pt x="53" y="0"/>
                </a:lnTo>
                <a:lnTo>
                  <a:pt x="38" y="0"/>
                </a:lnTo>
                <a:lnTo>
                  <a:pt x="26" y="21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6" name="Freeform 25">
            <a:extLst>
              <a:ext uri="{FF2B5EF4-FFF2-40B4-BE49-F238E27FC236}">
                <a16:creationId xmlns:a16="http://schemas.microsoft.com/office/drawing/2014/main" id="{592A5FC5-8620-48B3-BAB4-791B22A7DA9B}"/>
              </a:ext>
            </a:extLst>
          </p:cNvPr>
          <p:cNvSpPr>
            <a:spLocks/>
          </p:cNvSpPr>
          <p:nvPr/>
        </p:nvSpPr>
        <p:spPr bwMode="auto">
          <a:xfrm>
            <a:off x="4500750" y="2634054"/>
            <a:ext cx="114300" cy="80962"/>
          </a:xfrm>
          <a:custGeom>
            <a:avLst/>
            <a:gdLst>
              <a:gd name="T0" fmla="*/ 35 w 72"/>
              <a:gd name="T1" fmla="*/ 24 h 51"/>
              <a:gd name="T2" fmla="*/ 7 w 72"/>
              <a:gd name="T3" fmla="*/ 35 h 51"/>
              <a:gd name="T4" fmla="*/ 0 w 72"/>
              <a:gd name="T5" fmla="*/ 50 h 51"/>
              <a:gd name="T6" fmla="*/ 24 w 72"/>
              <a:gd name="T7" fmla="*/ 51 h 51"/>
              <a:gd name="T8" fmla="*/ 48 w 72"/>
              <a:gd name="T9" fmla="*/ 42 h 51"/>
              <a:gd name="T10" fmla="*/ 72 w 72"/>
              <a:gd name="T11" fmla="*/ 36 h 51"/>
              <a:gd name="T12" fmla="*/ 70 w 72"/>
              <a:gd name="T13" fmla="*/ 0 h 51"/>
              <a:gd name="T14" fmla="*/ 57 w 72"/>
              <a:gd name="T15" fmla="*/ 2 h 51"/>
              <a:gd name="T16" fmla="*/ 49 w 72"/>
              <a:gd name="T17" fmla="*/ 14 h 51"/>
              <a:gd name="T18" fmla="*/ 35 w 72"/>
              <a:gd name="T19" fmla="*/ 24 h 5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2"/>
              <a:gd name="T31" fmla="*/ 0 h 51"/>
              <a:gd name="T32" fmla="*/ 72 w 72"/>
              <a:gd name="T33" fmla="*/ 51 h 5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2" h="51">
                <a:moveTo>
                  <a:pt x="35" y="24"/>
                </a:moveTo>
                <a:lnTo>
                  <a:pt x="7" y="35"/>
                </a:lnTo>
                <a:lnTo>
                  <a:pt x="0" y="50"/>
                </a:lnTo>
                <a:lnTo>
                  <a:pt x="24" y="51"/>
                </a:lnTo>
                <a:lnTo>
                  <a:pt x="48" y="42"/>
                </a:lnTo>
                <a:lnTo>
                  <a:pt x="72" y="36"/>
                </a:lnTo>
                <a:lnTo>
                  <a:pt x="70" y="0"/>
                </a:lnTo>
                <a:lnTo>
                  <a:pt x="57" y="2"/>
                </a:lnTo>
                <a:lnTo>
                  <a:pt x="49" y="14"/>
                </a:lnTo>
                <a:lnTo>
                  <a:pt x="35" y="24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7" name="Freeform 26">
            <a:extLst>
              <a:ext uri="{FF2B5EF4-FFF2-40B4-BE49-F238E27FC236}">
                <a16:creationId xmlns:a16="http://schemas.microsoft.com/office/drawing/2014/main" id="{7213DC9A-8347-496C-AE6D-F76ABE5EBEA2}"/>
              </a:ext>
            </a:extLst>
          </p:cNvPr>
          <p:cNvSpPr>
            <a:spLocks/>
          </p:cNvSpPr>
          <p:nvPr/>
        </p:nvSpPr>
        <p:spPr bwMode="auto">
          <a:xfrm>
            <a:off x="4181663" y="2672154"/>
            <a:ext cx="76200" cy="117475"/>
          </a:xfrm>
          <a:custGeom>
            <a:avLst/>
            <a:gdLst>
              <a:gd name="T0" fmla="*/ 22 w 48"/>
              <a:gd name="T1" fmla="*/ 20 h 74"/>
              <a:gd name="T2" fmla="*/ 3 w 48"/>
              <a:gd name="T3" fmla="*/ 24 h 74"/>
              <a:gd name="T4" fmla="*/ 0 w 48"/>
              <a:gd name="T5" fmla="*/ 50 h 74"/>
              <a:gd name="T6" fmla="*/ 0 w 48"/>
              <a:gd name="T7" fmla="*/ 74 h 74"/>
              <a:gd name="T8" fmla="*/ 22 w 48"/>
              <a:gd name="T9" fmla="*/ 56 h 74"/>
              <a:gd name="T10" fmla="*/ 33 w 48"/>
              <a:gd name="T11" fmla="*/ 42 h 74"/>
              <a:gd name="T12" fmla="*/ 48 w 48"/>
              <a:gd name="T13" fmla="*/ 24 h 74"/>
              <a:gd name="T14" fmla="*/ 46 w 48"/>
              <a:gd name="T15" fmla="*/ 9 h 74"/>
              <a:gd name="T16" fmla="*/ 33 w 48"/>
              <a:gd name="T17" fmla="*/ 0 h 74"/>
              <a:gd name="T18" fmla="*/ 22 w 48"/>
              <a:gd name="T19" fmla="*/ 20 h 7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8"/>
              <a:gd name="T31" fmla="*/ 0 h 74"/>
              <a:gd name="T32" fmla="*/ 48 w 48"/>
              <a:gd name="T33" fmla="*/ 74 h 7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8" h="74">
                <a:moveTo>
                  <a:pt x="22" y="20"/>
                </a:moveTo>
                <a:lnTo>
                  <a:pt x="3" y="24"/>
                </a:lnTo>
                <a:lnTo>
                  <a:pt x="0" y="50"/>
                </a:lnTo>
                <a:lnTo>
                  <a:pt x="0" y="74"/>
                </a:lnTo>
                <a:lnTo>
                  <a:pt x="22" y="56"/>
                </a:lnTo>
                <a:lnTo>
                  <a:pt x="33" y="42"/>
                </a:lnTo>
                <a:lnTo>
                  <a:pt x="48" y="24"/>
                </a:lnTo>
                <a:lnTo>
                  <a:pt x="46" y="9"/>
                </a:lnTo>
                <a:lnTo>
                  <a:pt x="33" y="0"/>
                </a:lnTo>
                <a:lnTo>
                  <a:pt x="22" y="20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8" name="Freeform 27">
            <a:extLst>
              <a:ext uri="{FF2B5EF4-FFF2-40B4-BE49-F238E27FC236}">
                <a16:creationId xmlns:a16="http://schemas.microsoft.com/office/drawing/2014/main" id="{E6961990-3B23-48FA-BED4-8FC0C599C6DE}"/>
              </a:ext>
            </a:extLst>
          </p:cNvPr>
          <p:cNvSpPr>
            <a:spLocks/>
          </p:cNvSpPr>
          <p:nvPr/>
        </p:nvSpPr>
        <p:spPr bwMode="auto">
          <a:xfrm>
            <a:off x="4438838" y="2738829"/>
            <a:ext cx="61912" cy="109537"/>
          </a:xfrm>
          <a:custGeom>
            <a:avLst/>
            <a:gdLst>
              <a:gd name="T0" fmla="*/ 22 w 39"/>
              <a:gd name="T1" fmla="*/ 15 h 69"/>
              <a:gd name="T2" fmla="*/ 16 w 39"/>
              <a:gd name="T3" fmla="*/ 41 h 69"/>
              <a:gd name="T4" fmla="*/ 1 w 39"/>
              <a:gd name="T5" fmla="*/ 56 h 69"/>
              <a:gd name="T6" fmla="*/ 0 w 39"/>
              <a:gd name="T7" fmla="*/ 69 h 69"/>
              <a:gd name="T8" fmla="*/ 16 w 39"/>
              <a:gd name="T9" fmla="*/ 62 h 69"/>
              <a:gd name="T10" fmla="*/ 34 w 39"/>
              <a:gd name="T11" fmla="*/ 47 h 69"/>
              <a:gd name="T12" fmla="*/ 39 w 39"/>
              <a:gd name="T13" fmla="*/ 27 h 69"/>
              <a:gd name="T14" fmla="*/ 34 w 39"/>
              <a:gd name="T15" fmla="*/ 0 h 69"/>
              <a:gd name="T16" fmla="*/ 19 w 39"/>
              <a:gd name="T17" fmla="*/ 5 h 69"/>
              <a:gd name="T18" fmla="*/ 22 w 39"/>
              <a:gd name="T19" fmla="*/ 15 h 6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"/>
              <a:gd name="T31" fmla="*/ 0 h 69"/>
              <a:gd name="T32" fmla="*/ 39 w 39"/>
              <a:gd name="T33" fmla="*/ 69 h 6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" h="69">
                <a:moveTo>
                  <a:pt x="22" y="15"/>
                </a:moveTo>
                <a:lnTo>
                  <a:pt x="16" y="41"/>
                </a:lnTo>
                <a:lnTo>
                  <a:pt x="1" y="56"/>
                </a:lnTo>
                <a:lnTo>
                  <a:pt x="0" y="69"/>
                </a:lnTo>
                <a:lnTo>
                  <a:pt x="16" y="62"/>
                </a:lnTo>
                <a:lnTo>
                  <a:pt x="34" y="47"/>
                </a:lnTo>
                <a:lnTo>
                  <a:pt x="39" y="27"/>
                </a:lnTo>
                <a:lnTo>
                  <a:pt x="34" y="0"/>
                </a:lnTo>
                <a:lnTo>
                  <a:pt x="19" y="5"/>
                </a:lnTo>
                <a:lnTo>
                  <a:pt x="22" y="15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39" name="Freeform 28">
            <a:extLst>
              <a:ext uri="{FF2B5EF4-FFF2-40B4-BE49-F238E27FC236}">
                <a16:creationId xmlns:a16="http://schemas.microsoft.com/office/drawing/2014/main" id="{6DAAEA3C-7D76-406F-925F-C434C277672C}"/>
              </a:ext>
            </a:extLst>
          </p:cNvPr>
          <p:cNvSpPr>
            <a:spLocks/>
          </p:cNvSpPr>
          <p:nvPr/>
        </p:nvSpPr>
        <p:spPr bwMode="auto">
          <a:xfrm>
            <a:off x="3435538" y="4169166"/>
            <a:ext cx="114300" cy="82550"/>
          </a:xfrm>
          <a:custGeom>
            <a:avLst/>
            <a:gdLst>
              <a:gd name="T0" fmla="*/ 29 w 72"/>
              <a:gd name="T1" fmla="*/ 16 h 52"/>
              <a:gd name="T2" fmla="*/ 0 w 72"/>
              <a:gd name="T3" fmla="*/ 41 h 52"/>
              <a:gd name="T4" fmla="*/ 15 w 72"/>
              <a:gd name="T5" fmla="*/ 52 h 52"/>
              <a:gd name="T6" fmla="*/ 42 w 72"/>
              <a:gd name="T7" fmla="*/ 40 h 52"/>
              <a:gd name="T8" fmla="*/ 72 w 72"/>
              <a:gd name="T9" fmla="*/ 31 h 52"/>
              <a:gd name="T10" fmla="*/ 63 w 72"/>
              <a:gd name="T11" fmla="*/ 14 h 52"/>
              <a:gd name="T12" fmla="*/ 46 w 72"/>
              <a:gd name="T13" fmla="*/ 0 h 52"/>
              <a:gd name="T14" fmla="*/ 29 w 72"/>
              <a:gd name="T15" fmla="*/ 16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2"/>
              <a:gd name="T25" fmla="*/ 0 h 52"/>
              <a:gd name="T26" fmla="*/ 72 w 72"/>
              <a:gd name="T27" fmla="*/ 52 h 5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2" h="52">
                <a:moveTo>
                  <a:pt x="29" y="16"/>
                </a:moveTo>
                <a:lnTo>
                  <a:pt x="0" y="41"/>
                </a:lnTo>
                <a:lnTo>
                  <a:pt x="15" y="52"/>
                </a:lnTo>
                <a:lnTo>
                  <a:pt x="42" y="40"/>
                </a:lnTo>
                <a:lnTo>
                  <a:pt x="72" y="31"/>
                </a:lnTo>
                <a:lnTo>
                  <a:pt x="63" y="14"/>
                </a:lnTo>
                <a:lnTo>
                  <a:pt x="46" y="0"/>
                </a:lnTo>
                <a:lnTo>
                  <a:pt x="29" y="16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0" name="Freeform 29">
            <a:extLst>
              <a:ext uri="{FF2B5EF4-FFF2-40B4-BE49-F238E27FC236}">
                <a16:creationId xmlns:a16="http://schemas.microsoft.com/office/drawing/2014/main" id="{F3A38E7F-182D-4E35-8C9C-69265A9339EF}"/>
              </a:ext>
            </a:extLst>
          </p:cNvPr>
          <p:cNvSpPr>
            <a:spLocks/>
          </p:cNvSpPr>
          <p:nvPr/>
        </p:nvSpPr>
        <p:spPr bwMode="auto">
          <a:xfrm>
            <a:off x="3457763" y="4123129"/>
            <a:ext cx="63500" cy="44450"/>
          </a:xfrm>
          <a:custGeom>
            <a:avLst/>
            <a:gdLst>
              <a:gd name="T0" fmla="*/ 13 w 40"/>
              <a:gd name="T1" fmla="*/ 3 h 28"/>
              <a:gd name="T2" fmla="*/ 0 w 40"/>
              <a:gd name="T3" fmla="*/ 15 h 28"/>
              <a:gd name="T4" fmla="*/ 6 w 40"/>
              <a:gd name="T5" fmla="*/ 28 h 28"/>
              <a:gd name="T6" fmla="*/ 34 w 40"/>
              <a:gd name="T7" fmla="*/ 16 h 28"/>
              <a:gd name="T8" fmla="*/ 40 w 40"/>
              <a:gd name="T9" fmla="*/ 6 h 28"/>
              <a:gd name="T10" fmla="*/ 27 w 40"/>
              <a:gd name="T11" fmla="*/ 0 h 28"/>
              <a:gd name="T12" fmla="*/ 13 w 40"/>
              <a:gd name="T13" fmla="*/ 3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28"/>
              <a:gd name="T23" fmla="*/ 40 w 40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28">
                <a:moveTo>
                  <a:pt x="13" y="3"/>
                </a:moveTo>
                <a:lnTo>
                  <a:pt x="0" y="15"/>
                </a:lnTo>
                <a:lnTo>
                  <a:pt x="6" y="28"/>
                </a:lnTo>
                <a:lnTo>
                  <a:pt x="34" y="16"/>
                </a:lnTo>
                <a:lnTo>
                  <a:pt x="40" y="6"/>
                </a:lnTo>
                <a:lnTo>
                  <a:pt x="27" y="0"/>
                </a:lnTo>
                <a:lnTo>
                  <a:pt x="13" y="3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1" name="Freeform 30">
            <a:extLst>
              <a:ext uri="{FF2B5EF4-FFF2-40B4-BE49-F238E27FC236}">
                <a16:creationId xmlns:a16="http://schemas.microsoft.com/office/drawing/2014/main" id="{BA8555B2-C621-406D-9887-E8536743A35E}"/>
              </a:ext>
            </a:extLst>
          </p:cNvPr>
          <p:cNvSpPr>
            <a:spLocks/>
          </p:cNvSpPr>
          <p:nvPr/>
        </p:nvSpPr>
        <p:spPr bwMode="auto">
          <a:xfrm>
            <a:off x="3354575" y="4239016"/>
            <a:ext cx="55563" cy="41275"/>
          </a:xfrm>
          <a:custGeom>
            <a:avLst/>
            <a:gdLst>
              <a:gd name="T0" fmla="*/ 8 w 35"/>
              <a:gd name="T1" fmla="*/ 3 h 26"/>
              <a:gd name="T2" fmla="*/ 0 w 35"/>
              <a:gd name="T3" fmla="*/ 15 h 26"/>
              <a:gd name="T4" fmla="*/ 9 w 35"/>
              <a:gd name="T5" fmla="*/ 26 h 26"/>
              <a:gd name="T6" fmla="*/ 29 w 35"/>
              <a:gd name="T7" fmla="*/ 16 h 26"/>
              <a:gd name="T8" fmla="*/ 35 w 35"/>
              <a:gd name="T9" fmla="*/ 6 h 26"/>
              <a:gd name="T10" fmla="*/ 22 w 35"/>
              <a:gd name="T11" fmla="*/ 0 h 26"/>
              <a:gd name="T12" fmla="*/ 8 w 35"/>
              <a:gd name="T13" fmla="*/ 3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5"/>
              <a:gd name="T22" fmla="*/ 0 h 26"/>
              <a:gd name="T23" fmla="*/ 35 w 35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5" h="26">
                <a:moveTo>
                  <a:pt x="8" y="3"/>
                </a:moveTo>
                <a:lnTo>
                  <a:pt x="0" y="15"/>
                </a:lnTo>
                <a:lnTo>
                  <a:pt x="9" y="26"/>
                </a:lnTo>
                <a:lnTo>
                  <a:pt x="29" y="16"/>
                </a:lnTo>
                <a:lnTo>
                  <a:pt x="35" y="6"/>
                </a:lnTo>
                <a:lnTo>
                  <a:pt x="22" y="0"/>
                </a:lnTo>
                <a:lnTo>
                  <a:pt x="8" y="3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2" name="Freeform 31">
            <a:extLst>
              <a:ext uri="{FF2B5EF4-FFF2-40B4-BE49-F238E27FC236}">
                <a16:creationId xmlns:a16="http://schemas.microsoft.com/office/drawing/2014/main" id="{9449AA11-6FE7-4C09-9489-9E9B5609AB35}"/>
              </a:ext>
            </a:extLst>
          </p:cNvPr>
          <p:cNvSpPr>
            <a:spLocks/>
          </p:cNvSpPr>
          <p:nvPr/>
        </p:nvSpPr>
        <p:spPr bwMode="auto">
          <a:xfrm>
            <a:off x="4134038" y="3189679"/>
            <a:ext cx="49212" cy="76200"/>
          </a:xfrm>
          <a:custGeom>
            <a:avLst/>
            <a:gdLst>
              <a:gd name="T0" fmla="*/ 0 w 31"/>
              <a:gd name="T1" fmla="*/ 0 h 48"/>
              <a:gd name="T2" fmla="*/ 10 w 31"/>
              <a:gd name="T3" fmla="*/ 27 h 48"/>
              <a:gd name="T4" fmla="*/ 13 w 31"/>
              <a:gd name="T5" fmla="*/ 48 h 48"/>
              <a:gd name="T6" fmla="*/ 30 w 31"/>
              <a:gd name="T7" fmla="*/ 46 h 48"/>
              <a:gd name="T8" fmla="*/ 31 w 31"/>
              <a:gd name="T9" fmla="*/ 18 h 48"/>
              <a:gd name="T10" fmla="*/ 17 w 31"/>
              <a:gd name="T11" fmla="*/ 0 h 48"/>
              <a:gd name="T12" fmla="*/ 0 w 31"/>
              <a:gd name="T13" fmla="*/ 0 h 4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1"/>
              <a:gd name="T22" fmla="*/ 0 h 48"/>
              <a:gd name="T23" fmla="*/ 31 w 31"/>
              <a:gd name="T24" fmla="*/ 48 h 4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1" h="48">
                <a:moveTo>
                  <a:pt x="0" y="0"/>
                </a:moveTo>
                <a:lnTo>
                  <a:pt x="10" y="27"/>
                </a:lnTo>
                <a:lnTo>
                  <a:pt x="13" y="48"/>
                </a:lnTo>
                <a:lnTo>
                  <a:pt x="30" y="46"/>
                </a:lnTo>
                <a:lnTo>
                  <a:pt x="31" y="18"/>
                </a:lnTo>
                <a:lnTo>
                  <a:pt x="1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3" name="Freeform 32">
            <a:extLst>
              <a:ext uri="{FF2B5EF4-FFF2-40B4-BE49-F238E27FC236}">
                <a16:creationId xmlns:a16="http://schemas.microsoft.com/office/drawing/2014/main" id="{E0F7C896-77C9-460F-A4B1-49517A6FB3F1}"/>
              </a:ext>
            </a:extLst>
          </p:cNvPr>
          <p:cNvSpPr>
            <a:spLocks/>
          </p:cNvSpPr>
          <p:nvPr/>
        </p:nvSpPr>
        <p:spPr bwMode="auto">
          <a:xfrm>
            <a:off x="4076888" y="3329379"/>
            <a:ext cx="76200" cy="136525"/>
          </a:xfrm>
          <a:custGeom>
            <a:avLst/>
            <a:gdLst>
              <a:gd name="T0" fmla="*/ 15 w 48"/>
              <a:gd name="T1" fmla="*/ 18 h 86"/>
              <a:gd name="T2" fmla="*/ 25 w 48"/>
              <a:gd name="T3" fmla="*/ 48 h 86"/>
              <a:gd name="T4" fmla="*/ 15 w 48"/>
              <a:gd name="T5" fmla="*/ 65 h 86"/>
              <a:gd name="T6" fmla="*/ 0 w 48"/>
              <a:gd name="T7" fmla="*/ 57 h 86"/>
              <a:gd name="T8" fmla="*/ 0 w 48"/>
              <a:gd name="T9" fmla="*/ 74 h 86"/>
              <a:gd name="T10" fmla="*/ 12 w 48"/>
              <a:gd name="T11" fmla="*/ 86 h 86"/>
              <a:gd name="T12" fmla="*/ 27 w 48"/>
              <a:gd name="T13" fmla="*/ 66 h 86"/>
              <a:gd name="T14" fmla="*/ 43 w 48"/>
              <a:gd name="T15" fmla="*/ 57 h 86"/>
              <a:gd name="T16" fmla="*/ 48 w 48"/>
              <a:gd name="T17" fmla="*/ 27 h 86"/>
              <a:gd name="T18" fmla="*/ 36 w 48"/>
              <a:gd name="T19" fmla="*/ 0 h 86"/>
              <a:gd name="T20" fmla="*/ 15 w 48"/>
              <a:gd name="T21" fmla="*/ 18 h 8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8"/>
              <a:gd name="T34" fmla="*/ 0 h 86"/>
              <a:gd name="T35" fmla="*/ 48 w 48"/>
              <a:gd name="T36" fmla="*/ 86 h 8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8" h="86">
                <a:moveTo>
                  <a:pt x="15" y="18"/>
                </a:moveTo>
                <a:lnTo>
                  <a:pt x="25" y="48"/>
                </a:lnTo>
                <a:lnTo>
                  <a:pt x="15" y="65"/>
                </a:lnTo>
                <a:lnTo>
                  <a:pt x="0" y="57"/>
                </a:lnTo>
                <a:lnTo>
                  <a:pt x="0" y="74"/>
                </a:lnTo>
                <a:lnTo>
                  <a:pt x="12" y="86"/>
                </a:lnTo>
                <a:lnTo>
                  <a:pt x="27" y="66"/>
                </a:lnTo>
                <a:lnTo>
                  <a:pt x="43" y="57"/>
                </a:lnTo>
                <a:lnTo>
                  <a:pt x="48" y="27"/>
                </a:lnTo>
                <a:lnTo>
                  <a:pt x="36" y="0"/>
                </a:lnTo>
                <a:lnTo>
                  <a:pt x="15" y="18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4" name="Freeform 33">
            <a:extLst>
              <a:ext uri="{FF2B5EF4-FFF2-40B4-BE49-F238E27FC236}">
                <a16:creationId xmlns:a16="http://schemas.microsoft.com/office/drawing/2014/main" id="{50300FAC-86A3-4888-BC8E-8F589B8D68E7}"/>
              </a:ext>
            </a:extLst>
          </p:cNvPr>
          <p:cNvSpPr>
            <a:spLocks/>
          </p:cNvSpPr>
          <p:nvPr/>
        </p:nvSpPr>
        <p:spPr bwMode="auto">
          <a:xfrm>
            <a:off x="3435538" y="4169166"/>
            <a:ext cx="114300" cy="82550"/>
          </a:xfrm>
          <a:custGeom>
            <a:avLst/>
            <a:gdLst>
              <a:gd name="T0" fmla="*/ 29 w 72"/>
              <a:gd name="T1" fmla="*/ 16 h 52"/>
              <a:gd name="T2" fmla="*/ 0 w 72"/>
              <a:gd name="T3" fmla="*/ 41 h 52"/>
              <a:gd name="T4" fmla="*/ 15 w 72"/>
              <a:gd name="T5" fmla="*/ 52 h 52"/>
              <a:gd name="T6" fmla="*/ 42 w 72"/>
              <a:gd name="T7" fmla="*/ 40 h 52"/>
              <a:gd name="T8" fmla="*/ 72 w 72"/>
              <a:gd name="T9" fmla="*/ 31 h 52"/>
              <a:gd name="T10" fmla="*/ 63 w 72"/>
              <a:gd name="T11" fmla="*/ 14 h 52"/>
              <a:gd name="T12" fmla="*/ 46 w 72"/>
              <a:gd name="T13" fmla="*/ 0 h 52"/>
              <a:gd name="T14" fmla="*/ 29 w 72"/>
              <a:gd name="T15" fmla="*/ 16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2"/>
              <a:gd name="T25" fmla="*/ 0 h 52"/>
              <a:gd name="T26" fmla="*/ 72 w 72"/>
              <a:gd name="T27" fmla="*/ 52 h 5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2" h="52">
                <a:moveTo>
                  <a:pt x="29" y="16"/>
                </a:moveTo>
                <a:lnTo>
                  <a:pt x="0" y="41"/>
                </a:lnTo>
                <a:lnTo>
                  <a:pt x="15" y="52"/>
                </a:lnTo>
                <a:lnTo>
                  <a:pt x="42" y="40"/>
                </a:lnTo>
                <a:lnTo>
                  <a:pt x="72" y="31"/>
                </a:lnTo>
                <a:lnTo>
                  <a:pt x="63" y="14"/>
                </a:lnTo>
                <a:lnTo>
                  <a:pt x="46" y="0"/>
                </a:lnTo>
                <a:lnTo>
                  <a:pt x="29" y="16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5" name="Freeform 34">
            <a:extLst>
              <a:ext uri="{FF2B5EF4-FFF2-40B4-BE49-F238E27FC236}">
                <a16:creationId xmlns:a16="http://schemas.microsoft.com/office/drawing/2014/main" id="{09FE9206-CBC7-4547-9FC9-2E3C557545EF}"/>
              </a:ext>
            </a:extLst>
          </p:cNvPr>
          <p:cNvSpPr>
            <a:spLocks/>
          </p:cNvSpPr>
          <p:nvPr/>
        </p:nvSpPr>
        <p:spPr bwMode="auto">
          <a:xfrm>
            <a:off x="3457763" y="4123129"/>
            <a:ext cx="63500" cy="44450"/>
          </a:xfrm>
          <a:custGeom>
            <a:avLst/>
            <a:gdLst>
              <a:gd name="T0" fmla="*/ 13 w 40"/>
              <a:gd name="T1" fmla="*/ 3 h 28"/>
              <a:gd name="T2" fmla="*/ 0 w 40"/>
              <a:gd name="T3" fmla="*/ 15 h 28"/>
              <a:gd name="T4" fmla="*/ 6 w 40"/>
              <a:gd name="T5" fmla="*/ 28 h 28"/>
              <a:gd name="T6" fmla="*/ 34 w 40"/>
              <a:gd name="T7" fmla="*/ 16 h 28"/>
              <a:gd name="T8" fmla="*/ 40 w 40"/>
              <a:gd name="T9" fmla="*/ 6 h 28"/>
              <a:gd name="T10" fmla="*/ 27 w 40"/>
              <a:gd name="T11" fmla="*/ 0 h 28"/>
              <a:gd name="T12" fmla="*/ 13 w 40"/>
              <a:gd name="T13" fmla="*/ 3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28"/>
              <a:gd name="T23" fmla="*/ 40 w 40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28">
                <a:moveTo>
                  <a:pt x="13" y="3"/>
                </a:moveTo>
                <a:lnTo>
                  <a:pt x="0" y="15"/>
                </a:lnTo>
                <a:lnTo>
                  <a:pt x="6" y="28"/>
                </a:lnTo>
                <a:lnTo>
                  <a:pt x="34" y="16"/>
                </a:lnTo>
                <a:lnTo>
                  <a:pt x="40" y="6"/>
                </a:lnTo>
                <a:lnTo>
                  <a:pt x="27" y="0"/>
                </a:lnTo>
                <a:lnTo>
                  <a:pt x="13" y="3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6" name="Freeform 35">
            <a:extLst>
              <a:ext uri="{FF2B5EF4-FFF2-40B4-BE49-F238E27FC236}">
                <a16:creationId xmlns:a16="http://schemas.microsoft.com/office/drawing/2014/main" id="{80ED5E7E-FF9C-4EDA-8866-3809C462A4C9}"/>
              </a:ext>
            </a:extLst>
          </p:cNvPr>
          <p:cNvSpPr>
            <a:spLocks/>
          </p:cNvSpPr>
          <p:nvPr/>
        </p:nvSpPr>
        <p:spPr bwMode="auto">
          <a:xfrm>
            <a:off x="3049775" y="4496191"/>
            <a:ext cx="55563" cy="74613"/>
          </a:xfrm>
          <a:custGeom>
            <a:avLst/>
            <a:gdLst>
              <a:gd name="T0" fmla="*/ 9 w 35"/>
              <a:gd name="T1" fmla="*/ 21 h 47"/>
              <a:gd name="T2" fmla="*/ 0 w 35"/>
              <a:gd name="T3" fmla="*/ 36 h 47"/>
              <a:gd name="T4" fmla="*/ 14 w 35"/>
              <a:gd name="T5" fmla="*/ 47 h 47"/>
              <a:gd name="T6" fmla="*/ 27 w 35"/>
              <a:gd name="T7" fmla="*/ 39 h 47"/>
              <a:gd name="T8" fmla="*/ 35 w 35"/>
              <a:gd name="T9" fmla="*/ 14 h 47"/>
              <a:gd name="T10" fmla="*/ 30 w 35"/>
              <a:gd name="T11" fmla="*/ 0 h 47"/>
              <a:gd name="T12" fmla="*/ 9 w 35"/>
              <a:gd name="T13" fmla="*/ 21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5"/>
              <a:gd name="T22" fmla="*/ 0 h 47"/>
              <a:gd name="T23" fmla="*/ 35 w 35"/>
              <a:gd name="T24" fmla="*/ 47 h 4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5" h="47">
                <a:moveTo>
                  <a:pt x="9" y="21"/>
                </a:moveTo>
                <a:lnTo>
                  <a:pt x="0" y="36"/>
                </a:lnTo>
                <a:lnTo>
                  <a:pt x="14" y="47"/>
                </a:lnTo>
                <a:lnTo>
                  <a:pt x="27" y="39"/>
                </a:lnTo>
                <a:lnTo>
                  <a:pt x="35" y="14"/>
                </a:lnTo>
                <a:lnTo>
                  <a:pt x="30" y="0"/>
                </a:lnTo>
                <a:lnTo>
                  <a:pt x="9" y="21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7" name="Freeform 36">
            <a:extLst>
              <a:ext uri="{FF2B5EF4-FFF2-40B4-BE49-F238E27FC236}">
                <a16:creationId xmlns:a16="http://schemas.microsoft.com/office/drawing/2014/main" id="{614224F9-5196-4834-950F-1F88E1A5A1A8}"/>
              </a:ext>
            </a:extLst>
          </p:cNvPr>
          <p:cNvSpPr>
            <a:spLocks/>
          </p:cNvSpPr>
          <p:nvPr/>
        </p:nvSpPr>
        <p:spPr bwMode="auto">
          <a:xfrm>
            <a:off x="3354575" y="4239016"/>
            <a:ext cx="55563" cy="41275"/>
          </a:xfrm>
          <a:custGeom>
            <a:avLst/>
            <a:gdLst>
              <a:gd name="T0" fmla="*/ 8 w 35"/>
              <a:gd name="T1" fmla="*/ 3 h 26"/>
              <a:gd name="T2" fmla="*/ 0 w 35"/>
              <a:gd name="T3" fmla="*/ 15 h 26"/>
              <a:gd name="T4" fmla="*/ 9 w 35"/>
              <a:gd name="T5" fmla="*/ 26 h 26"/>
              <a:gd name="T6" fmla="*/ 29 w 35"/>
              <a:gd name="T7" fmla="*/ 16 h 26"/>
              <a:gd name="T8" fmla="*/ 35 w 35"/>
              <a:gd name="T9" fmla="*/ 6 h 26"/>
              <a:gd name="T10" fmla="*/ 22 w 35"/>
              <a:gd name="T11" fmla="*/ 0 h 26"/>
              <a:gd name="T12" fmla="*/ 8 w 35"/>
              <a:gd name="T13" fmla="*/ 3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5"/>
              <a:gd name="T22" fmla="*/ 0 h 26"/>
              <a:gd name="T23" fmla="*/ 35 w 35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5" h="26">
                <a:moveTo>
                  <a:pt x="8" y="3"/>
                </a:moveTo>
                <a:lnTo>
                  <a:pt x="0" y="15"/>
                </a:lnTo>
                <a:lnTo>
                  <a:pt x="9" y="26"/>
                </a:lnTo>
                <a:lnTo>
                  <a:pt x="29" y="16"/>
                </a:lnTo>
                <a:lnTo>
                  <a:pt x="35" y="6"/>
                </a:lnTo>
                <a:lnTo>
                  <a:pt x="22" y="0"/>
                </a:lnTo>
                <a:lnTo>
                  <a:pt x="8" y="3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8" name="Freeform 37">
            <a:extLst>
              <a:ext uri="{FF2B5EF4-FFF2-40B4-BE49-F238E27FC236}">
                <a16:creationId xmlns:a16="http://schemas.microsoft.com/office/drawing/2014/main" id="{2EBC3AB1-90AF-4DA5-9BD9-6743B30722CD}"/>
              </a:ext>
            </a:extLst>
          </p:cNvPr>
          <p:cNvSpPr>
            <a:spLocks/>
          </p:cNvSpPr>
          <p:nvPr/>
        </p:nvSpPr>
        <p:spPr bwMode="auto">
          <a:xfrm>
            <a:off x="3116450" y="4426341"/>
            <a:ext cx="74613" cy="63500"/>
          </a:xfrm>
          <a:custGeom>
            <a:avLst/>
            <a:gdLst>
              <a:gd name="T0" fmla="*/ 13 w 47"/>
              <a:gd name="T1" fmla="*/ 21 h 40"/>
              <a:gd name="T2" fmla="*/ 0 w 47"/>
              <a:gd name="T3" fmla="*/ 35 h 40"/>
              <a:gd name="T4" fmla="*/ 11 w 47"/>
              <a:gd name="T5" fmla="*/ 40 h 40"/>
              <a:gd name="T6" fmla="*/ 24 w 47"/>
              <a:gd name="T7" fmla="*/ 29 h 40"/>
              <a:gd name="T8" fmla="*/ 47 w 47"/>
              <a:gd name="T9" fmla="*/ 10 h 40"/>
              <a:gd name="T10" fmla="*/ 34 w 47"/>
              <a:gd name="T11" fmla="*/ 0 h 40"/>
              <a:gd name="T12" fmla="*/ 13 w 47"/>
              <a:gd name="T13" fmla="*/ 21 h 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7"/>
              <a:gd name="T22" fmla="*/ 0 h 40"/>
              <a:gd name="T23" fmla="*/ 47 w 47"/>
              <a:gd name="T24" fmla="*/ 40 h 4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7" h="40">
                <a:moveTo>
                  <a:pt x="13" y="21"/>
                </a:moveTo>
                <a:lnTo>
                  <a:pt x="0" y="35"/>
                </a:lnTo>
                <a:lnTo>
                  <a:pt x="11" y="40"/>
                </a:lnTo>
                <a:lnTo>
                  <a:pt x="24" y="29"/>
                </a:lnTo>
                <a:lnTo>
                  <a:pt x="47" y="10"/>
                </a:lnTo>
                <a:lnTo>
                  <a:pt x="34" y="0"/>
                </a:lnTo>
                <a:lnTo>
                  <a:pt x="13" y="21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49" name="Freeform 38">
            <a:extLst>
              <a:ext uri="{FF2B5EF4-FFF2-40B4-BE49-F238E27FC236}">
                <a16:creationId xmlns:a16="http://schemas.microsoft.com/office/drawing/2014/main" id="{FCC52761-BFC8-4749-877D-639A9D10ABA2}"/>
              </a:ext>
            </a:extLst>
          </p:cNvPr>
          <p:cNvSpPr>
            <a:spLocks/>
          </p:cNvSpPr>
          <p:nvPr/>
        </p:nvSpPr>
        <p:spPr bwMode="auto">
          <a:xfrm>
            <a:off x="5273863" y="1662504"/>
            <a:ext cx="165100" cy="169862"/>
          </a:xfrm>
          <a:custGeom>
            <a:avLst/>
            <a:gdLst>
              <a:gd name="T0" fmla="*/ 5 w 104"/>
              <a:gd name="T1" fmla="*/ 82 h 107"/>
              <a:gd name="T2" fmla="*/ 33 w 104"/>
              <a:gd name="T3" fmla="*/ 84 h 107"/>
              <a:gd name="T4" fmla="*/ 35 w 104"/>
              <a:gd name="T5" fmla="*/ 107 h 107"/>
              <a:gd name="T6" fmla="*/ 57 w 104"/>
              <a:gd name="T7" fmla="*/ 87 h 107"/>
              <a:gd name="T8" fmla="*/ 72 w 104"/>
              <a:gd name="T9" fmla="*/ 93 h 107"/>
              <a:gd name="T10" fmla="*/ 84 w 104"/>
              <a:gd name="T11" fmla="*/ 69 h 107"/>
              <a:gd name="T12" fmla="*/ 96 w 104"/>
              <a:gd name="T13" fmla="*/ 48 h 107"/>
              <a:gd name="T14" fmla="*/ 104 w 104"/>
              <a:gd name="T15" fmla="*/ 29 h 107"/>
              <a:gd name="T16" fmla="*/ 89 w 104"/>
              <a:gd name="T17" fmla="*/ 0 h 107"/>
              <a:gd name="T18" fmla="*/ 71 w 104"/>
              <a:gd name="T19" fmla="*/ 45 h 107"/>
              <a:gd name="T20" fmla="*/ 32 w 104"/>
              <a:gd name="T21" fmla="*/ 65 h 107"/>
              <a:gd name="T22" fmla="*/ 0 w 104"/>
              <a:gd name="T23" fmla="*/ 69 h 107"/>
              <a:gd name="T24" fmla="*/ 5 w 104"/>
              <a:gd name="T25" fmla="*/ 82 h 10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4"/>
              <a:gd name="T40" fmla="*/ 0 h 107"/>
              <a:gd name="T41" fmla="*/ 104 w 104"/>
              <a:gd name="T42" fmla="*/ 107 h 10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4" h="107">
                <a:moveTo>
                  <a:pt x="5" y="82"/>
                </a:moveTo>
                <a:lnTo>
                  <a:pt x="33" y="84"/>
                </a:lnTo>
                <a:lnTo>
                  <a:pt x="35" y="107"/>
                </a:lnTo>
                <a:lnTo>
                  <a:pt x="57" y="87"/>
                </a:lnTo>
                <a:lnTo>
                  <a:pt x="72" y="93"/>
                </a:lnTo>
                <a:lnTo>
                  <a:pt x="84" y="69"/>
                </a:lnTo>
                <a:lnTo>
                  <a:pt x="96" y="48"/>
                </a:lnTo>
                <a:lnTo>
                  <a:pt x="104" y="29"/>
                </a:lnTo>
                <a:lnTo>
                  <a:pt x="89" y="0"/>
                </a:lnTo>
                <a:lnTo>
                  <a:pt x="71" y="45"/>
                </a:lnTo>
                <a:lnTo>
                  <a:pt x="32" y="65"/>
                </a:lnTo>
                <a:lnTo>
                  <a:pt x="0" y="69"/>
                </a:lnTo>
                <a:lnTo>
                  <a:pt x="5" y="82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0" name="Freeform 39">
            <a:extLst>
              <a:ext uri="{FF2B5EF4-FFF2-40B4-BE49-F238E27FC236}">
                <a16:creationId xmlns:a16="http://schemas.microsoft.com/office/drawing/2014/main" id="{6A6096BF-B5FA-494C-8B00-CBDF4D07A9CC}"/>
              </a:ext>
            </a:extLst>
          </p:cNvPr>
          <p:cNvSpPr>
            <a:spLocks/>
          </p:cNvSpPr>
          <p:nvPr/>
        </p:nvSpPr>
        <p:spPr bwMode="auto">
          <a:xfrm>
            <a:off x="5619938" y="1533916"/>
            <a:ext cx="111125" cy="74613"/>
          </a:xfrm>
          <a:custGeom>
            <a:avLst/>
            <a:gdLst>
              <a:gd name="T0" fmla="*/ 58 w 70"/>
              <a:gd name="T1" fmla="*/ 47 h 47"/>
              <a:gd name="T2" fmla="*/ 13 w 70"/>
              <a:gd name="T3" fmla="*/ 41 h 47"/>
              <a:gd name="T4" fmla="*/ 0 w 70"/>
              <a:gd name="T5" fmla="*/ 24 h 47"/>
              <a:gd name="T6" fmla="*/ 33 w 70"/>
              <a:gd name="T7" fmla="*/ 0 h 47"/>
              <a:gd name="T8" fmla="*/ 46 w 70"/>
              <a:gd name="T9" fmla="*/ 17 h 47"/>
              <a:gd name="T10" fmla="*/ 70 w 70"/>
              <a:gd name="T11" fmla="*/ 30 h 47"/>
              <a:gd name="T12" fmla="*/ 58 w 70"/>
              <a:gd name="T13" fmla="*/ 47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0"/>
              <a:gd name="T22" fmla="*/ 0 h 47"/>
              <a:gd name="T23" fmla="*/ 70 w 70"/>
              <a:gd name="T24" fmla="*/ 47 h 4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0" h="47">
                <a:moveTo>
                  <a:pt x="58" y="47"/>
                </a:moveTo>
                <a:lnTo>
                  <a:pt x="13" y="41"/>
                </a:lnTo>
                <a:lnTo>
                  <a:pt x="0" y="24"/>
                </a:lnTo>
                <a:lnTo>
                  <a:pt x="33" y="0"/>
                </a:lnTo>
                <a:lnTo>
                  <a:pt x="46" y="17"/>
                </a:lnTo>
                <a:lnTo>
                  <a:pt x="70" y="30"/>
                </a:lnTo>
                <a:lnTo>
                  <a:pt x="58" y="47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1" name="Freeform 40">
            <a:extLst>
              <a:ext uri="{FF2B5EF4-FFF2-40B4-BE49-F238E27FC236}">
                <a16:creationId xmlns:a16="http://schemas.microsoft.com/office/drawing/2014/main" id="{CF0A5016-90BB-49BF-83D0-396E357D0D6B}"/>
              </a:ext>
            </a:extLst>
          </p:cNvPr>
          <p:cNvSpPr>
            <a:spLocks/>
          </p:cNvSpPr>
          <p:nvPr/>
        </p:nvSpPr>
        <p:spPr bwMode="auto">
          <a:xfrm>
            <a:off x="5392925" y="1775216"/>
            <a:ext cx="88900" cy="115888"/>
          </a:xfrm>
          <a:custGeom>
            <a:avLst/>
            <a:gdLst>
              <a:gd name="T0" fmla="*/ 27 w 56"/>
              <a:gd name="T1" fmla="*/ 73 h 73"/>
              <a:gd name="T2" fmla="*/ 51 w 56"/>
              <a:gd name="T3" fmla="*/ 45 h 73"/>
              <a:gd name="T4" fmla="*/ 56 w 56"/>
              <a:gd name="T5" fmla="*/ 24 h 73"/>
              <a:gd name="T6" fmla="*/ 35 w 56"/>
              <a:gd name="T7" fmla="*/ 0 h 73"/>
              <a:gd name="T8" fmla="*/ 23 w 56"/>
              <a:gd name="T9" fmla="*/ 10 h 73"/>
              <a:gd name="T10" fmla="*/ 0 w 56"/>
              <a:gd name="T11" fmla="*/ 46 h 73"/>
              <a:gd name="T12" fmla="*/ 15 w 56"/>
              <a:gd name="T13" fmla="*/ 55 h 73"/>
              <a:gd name="T14" fmla="*/ 27 w 56"/>
              <a:gd name="T15" fmla="*/ 73 h 7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6"/>
              <a:gd name="T25" fmla="*/ 0 h 73"/>
              <a:gd name="T26" fmla="*/ 56 w 56"/>
              <a:gd name="T27" fmla="*/ 73 h 7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6" h="73">
                <a:moveTo>
                  <a:pt x="27" y="73"/>
                </a:moveTo>
                <a:lnTo>
                  <a:pt x="51" y="45"/>
                </a:lnTo>
                <a:lnTo>
                  <a:pt x="56" y="24"/>
                </a:lnTo>
                <a:lnTo>
                  <a:pt x="35" y="0"/>
                </a:lnTo>
                <a:lnTo>
                  <a:pt x="23" y="10"/>
                </a:lnTo>
                <a:lnTo>
                  <a:pt x="0" y="46"/>
                </a:lnTo>
                <a:lnTo>
                  <a:pt x="15" y="55"/>
                </a:lnTo>
                <a:lnTo>
                  <a:pt x="27" y="73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2" name="Freeform 41">
            <a:extLst>
              <a:ext uri="{FF2B5EF4-FFF2-40B4-BE49-F238E27FC236}">
                <a16:creationId xmlns:a16="http://schemas.microsoft.com/office/drawing/2014/main" id="{645C12AB-1EA9-4738-9910-AF4511697C38}"/>
              </a:ext>
            </a:extLst>
          </p:cNvPr>
          <p:cNvSpPr>
            <a:spLocks/>
          </p:cNvSpPr>
          <p:nvPr/>
        </p:nvSpPr>
        <p:spPr bwMode="auto">
          <a:xfrm>
            <a:off x="5464363" y="1705366"/>
            <a:ext cx="61912" cy="80963"/>
          </a:xfrm>
          <a:custGeom>
            <a:avLst/>
            <a:gdLst>
              <a:gd name="T0" fmla="*/ 32 w 39"/>
              <a:gd name="T1" fmla="*/ 51 h 51"/>
              <a:gd name="T2" fmla="*/ 14 w 39"/>
              <a:gd name="T3" fmla="*/ 39 h 51"/>
              <a:gd name="T4" fmla="*/ 0 w 39"/>
              <a:gd name="T5" fmla="*/ 18 h 51"/>
              <a:gd name="T6" fmla="*/ 30 w 39"/>
              <a:gd name="T7" fmla="*/ 0 h 51"/>
              <a:gd name="T8" fmla="*/ 38 w 39"/>
              <a:gd name="T9" fmla="*/ 29 h 51"/>
              <a:gd name="T10" fmla="*/ 39 w 39"/>
              <a:gd name="T11" fmla="*/ 35 h 51"/>
              <a:gd name="T12" fmla="*/ 32 w 39"/>
              <a:gd name="T13" fmla="*/ 51 h 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9"/>
              <a:gd name="T22" fmla="*/ 0 h 51"/>
              <a:gd name="T23" fmla="*/ 39 w 39"/>
              <a:gd name="T24" fmla="*/ 51 h 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9" h="51">
                <a:moveTo>
                  <a:pt x="32" y="51"/>
                </a:moveTo>
                <a:lnTo>
                  <a:pt x="14" y="39"/>
                </a:lnTo>
                <a:lnTo>
                  <a:pt x="0" y="18"/>
                </a:lnTo>
                <a:lnTo>
                  <a:pt x="30" y="0"/>
                </a:lnTo>
                <a:lnTo>
                  <a:pt x="38" y="29"/>
                </a:lnTo>
                <a:lnTo>
                  <a:pt x="39" y="35"/>
                </a:lnTo>
                <a:lnTo>
                  <a:pt x="32" y="51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3" name="Freeform 42">
            <a:extLst>
              <a:ext uri="{FF2B5EF4-FFF2-40B4-BE49-F238E27FC236}">
                <a16:creationId xmlns:a16="http://schemas.microsoft.com/office/drawing/2014/main" id="{6FAA33BF-961E-44F7-9C21-2048388FAEB8}"/>
              </a:ext>
            </a:extLst>
          </p:cNvPr>
          <p:cNvSpPr>
            <a:spLocks/>
          </p:cNvSpPr>
          <p:nvPr/>
        </p:nvSpPr>
        <p:spPr bwMode="auto">
          <a:xfrm>
            <a:off x="5472300" y="1584716"/>
            <a:ext cx="44450" cy="73025"/>
          </a:xfrm>
          <a:custGeom>
            <a:avLst/>
            <a:gdLst>
              <a:gd name="T0" fmla="*/ 21 w 28"/>
              <a:gd name="T1" fmla="*/ 46 h 46"/>
              <a:gd name="T2" fmla="*/ 3 w 28"/>
              <a:gd name="T3" fmla="*/ 34 h 46"/>
              <a:gd name="T4" fmla="*/ 0 w 28"/>
              <a:gd name="T5" fmla="*/ 12 h 46"/>
              <a:gd name="T6" fmla="*/ 13 w 28"/>
              <a:gd name="T7" fmla="*/ 0 h 46"/>
              <a:gd name="T8" fmla="*/ 27 w 28"/>
              <a:gd name="T9" fmla="*/ 24 h 46"/>
              <a:gd name="T10" fmla="*/ 28 w 28"/>
              <a:gd name="T11" fmla="*/ 30 h 46"/>
              <a:gd name="T12" fmla="*/ 21 w 28"/>
              <a:gd name="T13" fmla="*/ 46 h 4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46"/>
              <a:gd name="T23" fmla="*/ 28 w 28"/>
              <a:gd name="T24" fmla="*/ 46 h 4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46">
                <a:moveTo>
                  <a:pt x="21" y="46"/>
                </a:moveTo>
                <a:lnTo>
                  <a:pt x="3" y="34"/>
                </a:lnTo>
                <a:lnTo>
                  <a:pt x="0" y="12"/>
                </a:lnTo>
                <a:lnTo>
                  <a:pt x="13" y="0"/>
                </a:lnTo>
                <a:lnTo>
                  <a:pt x="27" y="24"/>
                </a:lnTo>
                <a:lnTo>
                  <a:pt x="28" y="30"/>
                </a:lnTo>
                <a:lnTo>
                  <a:pt x="21" y="46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4" name="Freeform 43">
            <a:extLst>
              <a:ext uri="{FF2B5EF4-FFF2-40B4-BE49-F238E27FC236}">
                <a16:creationId xmlns:a16="http://schemas.microsoft.com/office/drawing/2014/main" id="{55B180A3-8A17-4F2D-9A20-C0B9597E641E}"/>
              </a:ext>
            </a:extLst>
          </p:cNvPr>
          <p:cNvSpPr>
            <a:spLocks/>
          </p:cNvSpPr>
          <p:nvPr/>
        </p:nvSpPr>
        <p:spPr bwMode="auto">
          <a:xfrm>
            <a:off x="4829363" y="2091129"/>
            <a:ext cx="87312" cy="76200"/>
          </a:xfrm>
          <a:custGeom>
            <a:avLst/>
            <a:gdLst>
              <a:gd name="T0" fmla="*/ 5 w 55"/>
              <a:gd name="T1" fmla="*/ 7 h 48"/>
              <a:gd name="T2" fmla="*/ 12 w 55"/>
              <a:gd name="T3" fmla="*/ 27 h 48"/>
              <a:gd name="T4" fmla="*/ 0 w 55"/>
              <a:gd name="T5" fmla="*/ 42 h 48"/>
              <a:gd name="T6" fmla="*/ 11 w 55"/>
              <a:gd name="T7" fmla="*/ 48 h 48"/>
              <a:gd name="T8" fmla="*/ 32 w 55"/>
              <a:gd name="T9" fmla="*/ 46 h 48"/>
              <a:gd name="T10" fmla="*/ 54 w 55"/>
              <a:gd name="T11" fmla="*/ 36 h 48"/>
              <a:gd name="T12" fmla="*/ 53 w 55"/>
              <a:gd name="T13" fmla="*/ 22 h 48"/>
              <a:gd name="T14" fmla="*/ 55 w 55"/>
              <a:gd name="T15" fmla="*/ 5 h 48"/>
              <a:gd name="T16" fmla="*/ 39 w 55"/>
              <a:gd name="T17" fmla="*/ 4 h 48"/>
              <a:gd name="T18" fmla="*/ 25 w 55"/>
              <a:gd name="T19" fmla="*/ 0 h 48"/>
              <a:gd name="T20" fmla="*/ 5 w 55"/>
              <a:gd name="T21" fmla="*/ 7 h 4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5"/>
              <a:gd name="T34" fmla="*/ 0 h 48"/>
              <a:gd name="T35" fmla="*/ 55 w 55"/>
              <a:gd name="T36" fmla="*/ 48 h 4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5" h="48">
                <a:moveTo>
                  <a:pt x="5" y="7"/>
                </a:moveTo>
                <a:lnTo>
                  <a:pt x="12" y="27"/>
                </a:lnTo>
                <a:lnTo>
                  <a:pt x="0" y="42"/>
                </a:lnTo>
                <a:lnTo>
                  <a:pt x="11" y="48"/>
                </a:lnTo>
                <a:lnTo>
                  <a:pt x="32" y="46"/>
                </a:lnTo>
                <a:lnTo>
                  <a:pt x="54" y="36"/>
                </a:lnTo>
                <a:lnTo>
                  <a:pt x="53" y="22"/>
                </a:lnTo>
                <a:lnTo>
                  <a:pt x="55" y="5"/>
                </a:lnTo>
                <a:lnTo>
                  <a:pt x="39" y="4"/>
                </a:lnTo>
                <a:lnTo>
                  <a:pt x="25" y="0"/>
                </a:lnTo>
                <a:lnTo>
                  <a:pt x="5" y="7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5" name="Freeform 44">
            <a:extLst>
              <a:ext uri="{FF2B5EF4-FFF2-40B4-BE49-F238E27FC236}">
                <a16:creationId xmlns:a16="http://schemas.microsoft.com/office/drawing/2014/main" id="{C677B0BB-2F31-42D5-93E8-6102C17AA422}"/>
              </a:ext>
            </a:extLst>
          </p:cNvPr>
          <p:cNvSpPr>
            <a:spLocks/>
          </p:cNvSpPr>
          <p:nvPr/>
        </p:nvSpPr>
        <p:spPr bwMode="auto">
          <a:xfrm>
            <a:off x="4992875" y="1933966"/>
            <a:ext cx="80963" cy="55563"/>
          </a:xfrm>
          <a:custGeom>
            <a:avLst/>
            <a:gdLst>
              <a:gd name="T0" fmla="*/ 0 w 51"/>
              <a:gd name="T1" fmla="*/ 5 h 35"/>
              <a:gd name="T2" fmla="*/ 7 w 51"/>
              <a:gd name="T3" fmla="*/ 25 h 35"/>
              <a:gd name="T4" fmla="*/ 30 w 51"/>
              <a:gd name="T5" fmla="*/ 35 h 35"/>
              <a:gd name="T6" fmla="*/ 51 w 51"/>
              <a:gd name="T7" fmla="*/ 26 h 35"/>
              <a:gd name="T8" fmla="*/ 29 w 51"/>
              <a:gd name="T9" fmla="*/ 9 h 35"/>
              <a:gd name="T10" fmla="*/ 18 w 51"/>
              <a:gd name="T11" fmla="*/ 0 h 35"/>
              <a:gd name="T12" fmla="*/ 0 w 51"/>
              <a:gd name="T13" fmla="*/ 5 h 3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1"/>
              <a:gd name="T22" fmla="*/ 0 h 35"/>
              <a:gd name="T23" fmla="*/ 51 w 51"/>
              <a:gd name="T24" fmla="*/ 35 h 3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1" h="35">
                <a:moveTo>
                  <a:pt x="0" y="5"/>
                </a:moveTo>
                <a:lnTo>
                  <a:pt x="7" y="25"/>
                </a:lnTo>
                <a:lnTo>
                  <a:pt x="30" y="35"/>
                </a:lnTo>
                <a:lnTo>
                  <a:pt x="51" y="26"/>
                </a:lnTo>
                <a:lnTo>
                  <a:pt x="29" y="9"/>
                </a:lnTo>
                <a:lnTo>
                  <a:pt x="18" y="0"/>
                </a:lnTo>
                <a:lnTo>
                  <a:pt x="0" y="5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6" name="Freeform 45">
            <a:extLst>
              <a:ext uri="{FF2B5EF4-FFF2-40B4-BE49-F238E27FC236}">
                <a16:creationId xmlns:a16="http://schemas.microsoft.com/office/drawing/2014/main" id="{D6B9C55F-AE64-4F18-92AA-B2F4388BC3FB}"/>
              </a:ext>
            </a:extLst>
          </p:cNvPr>
          <p:cNvSpPr>
            <a:spLocks/>
          </p:cNvSpPr>
          <p:nvPr/>
        </p:nvSpPr>
        <p:spPr bwMode="auto">
          <a:xfrm>
            <a:off x="4864288" y="1980004"/>
            <a:ext cx="142875" cy="92075"/>
          </a:xfrm>
          <a:custGeom>
            <a:avLst/>
            <a:gdLst>
              <a:gd name="T0" fmla="*/ 23 w 90"/>
              <a:gd name="T1" fmla="*/ 0 h 58"/>
              <a:gd name="T2" fmla="*/ 0 w 90"/>
              <a:gd name="T3" fmla="*/ 16 h 58"/>
              <a:gd name="T4" fmla="*/ 26 w 90"/>
              <a:gd name="T5" fmla="*/ 39 h 58"/>
              <a:gd name="T6" fmla="*/ 44 w 90"/>
              <a:gd name="T7" fmla="*/ 58 h 58"/>
              <a:gd name="T8" fmla="*/ 68 w 90"/>
              <a:gd name="T9" fmla="*/ 49 h 58"/>
              <a:gd name="T10" fmla="*/ 87 w 90"/>
              <a:gd name="T11" fmla="*/ 55 h 58"/>
              <a:gd name="T12" fmla="*/ 90 w 90"/>
              <a:gd name="T13" fmla="*/ 30 h 58"/>
              <a:gd name="T14" fmla="*/ 69 w 90"/>
              <a:gd name="T15" fmla="*/ 21 h 58"/>
              <a:gd name="T16" fmla="*/ 38 w 90"/>
              <a:gd name="T17" fmla="*/ 21 h 58"/>
              <a:gd name="T18" fmla="*/ 23 w 90"/>
              <a:gd name="T19" fmla="*/ 0 h 5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0"/>
              <a:gd name="T31" fmla="*/ 0 h 58"/>
              <a:gd name="T32" fmla="*/ 90 w 90"/>
              <a:gd name="T33" fmla="*/ 58 h 5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0" h="58">
                <a:moveTo>
                  <a:pt x="23" y="0"/>
                </a:moveTo>
                <a:lnTo>
                  <a:pt x="0" y="16"/>
                </a:lnTo>
                <a:lnTo>
                  <a:pt x="26" y="39"/>
                </a:lnTo>
                <a:lnTo>
                  <a:pt x="44" y="58"/>
                </a:lnTo>
                <a:lnTo>
                  <a:pt x="68" y="49"/>
                </a:lnTo>
                <a:lnTo>
                  <a:pt x="87" y="55"/>
                </a:lnTo>
                <a:lnTo>
                  <a:pt x="90" y="30"/>
                </a:lnTo>
                <a:lnTo>
                  <a:pt x="69" y="21"/>
                </a:lnTo>
                <a:lnTo>
                  <a:pt x="38" y="21"/>
                </a:lnTo>
                <a:lnTo>
                  <a:pt x="23" y="0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7" name="Freeform 46">
            <a:extLst>
              <a:ext uri="{FF2B5EF4-FFF2-40B4-BE49-F238E27FC236}">
                <a16:creationId xmlns:a16="http://schemas.microsoft.com/office/drawing/2014/main" id="{76A64AEC-6AB5-45FD-9D3C-74C05E812800}"/>
              </a:ext>
            </a:extLst>
          </p:cNvPr>
          <p:cNvSpPr>
            <a:spLocks/>
          </p:cNvSpPr>
          <p:nvPr/>
        </p:nvSpPr>
        <p:spPr bwMode="auto">
          <a:xfrm>
            <a:off x="5110350" y="1921266"/>
            <a:ext cx="58738" cy="55563"/>
          </a:xfrm>
          <a:custGeom>
            <a:avLst/>
            <a:gdLst>
              <a:gd name="T0" fmla="*/ 4 w 37"/>
              <a:gd name="T1" fmla="*/ 2 h 35"/>
              <a:gd name="T2" fmla="*/ 6 w 37"/>
              <a:gd name="T3" fmla="*/ 13 h 35"/>
              <a:gd name="T4" fmla="*/ 0 w 37"/>
              <a:gd name="T5" fmla="*/ 31 h 35"/>
              <a:gd name="T6" fmla="*/ 28 w 37"/>
              <a:gd name="T7" fmla="*/ 35 h 35"/>
              <a:gd name="T8" fmla="*/ 37 w 37"/>
              <a:gd name="T9" fmla="*/ 17 h 35"/>
              <a:gd name="T10" fmla="*/ 27 w 37"/>
              <a:gd name="T11" fmla="*/ 9 h 35"/>
              <a:gd name="T12" fmla="*/ 16 w 37"/>
              <a:gd name="T13" fmla="*/ 0 h 35"/>
              <a:gd name="T14" fmla="*/ 4 w 37"/>
              <a:gd name="T15" fmla="*/ 2 h 3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7"/>
              <a:gd name="T25" fmla="*/ 0 h 35"/>
              <a:gd name="T26" fmla="*/ 37 w 37"/>
              <a:gd name="T27" fmla="*/ 35 h 3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7" h="35">
                <a:moveTo>
                  <a:pt x="4" y="2"/>
                </a:moveTo>
                <a:lnTo>
                  <a:pt x="6" y="13"/>
                </a:lnTo>
                <a:lnTo>
                  <a:pt x="0" y="31"/>
                </a:lnTo>
                <a:lnTo>
                  <a:pt x="28" y="35"/>
                </a:lnTo>
                <a:lnTo>
                  <a:pt x="37" y="17"/>
                </a:lnTo>
                <a:lnTo>
                  <a:pt x="27" y="9"/>
                </a:lnTo>
                <a:lnTo>
                  <a:pt x="16" y="0"/>
                </a:lnTo>
                <a:lnTo>
                  <a:pt x="4" y="2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grpSp>
        <p:nvGrpSpPr>
          <p:cNvPr id="258" name="组合 229">
            <a:extLst>
              <a:ext uri="{FF2B5EF4-FFF2-40B4-BE49-F238E27FC236}">
                <a16:creationId xmlns:a16="http://schemas.microsoft.com/office/drawing/2014/main" id="{2F4832ED-E1E1-466B-B6E4-B8F4C3F6639B}"/>
              </a:ext>
            </a:extLst>
          </p:cNvPr>
          <p:cNvGrpSpPr/>
          <p:nvPr/>
        </p:nvGrpSpPr>
        <p:grpSpPr>
          <a:xfrm>
            <a:off x="2760850" y="5024829"/>
            <a:ext cx="474663" cy="442912"/>
            <a:chOff x="3021167" y="4932363"/>
            <a:chExt cx="474663" cy="442912"/>
          </a:xfrm>
          <a:solidFill>
            <a:schemeClr val="tx2"/>
          </a:solidFill>
        </p:grpSpPr>
        <p:sp>
          <p:nvSpPr>
            <p:cNvPr id="269" name="Freeform 12">
              <a:extLst>
                <a:ext uri="{FF2B5EF4-FFF2-40B4-BE49-F238E27FC236}">
                  <a16:creationId xmlns:a16="http://schemas.microsoft.com/office/drawing/2014/main" id="{CA399E24-59DF-41A9-AEB8-6420E5BBF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7042" y="4932363"/>
              <a:ext cx="458788" cy="442912"/>
            </a:xfrm>
            <a:custGeom>
              <a:avLst/>
              <a:gdLst>
                <a:gd name="T0" fmla="*/ 350 w 1444"/>
                <a:gd name="T1" fmla="*/ 900 h 1395"/>
                <a:gd name="T2" fmla="*/ 405 w 1444"/>
                <a:gd name="T3" fmla="*/ 710 h 1395"/>
                <a:gd name="T4" fmla="*/ 255 w 1444"/>
                <a:gd name="T5" fmla="*/ 855 h 1395"/>
                <a:gd name="T6" fmla="*/ 110 w 1444"/>
                <a:gd name="T7" fmla="*/ 795 h 1395"/>
                <a:gd name="T8" fmla="*/ 175 w 1444"/>
                <a:gd name="T9" fmla="*/ 710 h 1395"/>
                <a:gd name="T10" fmla="*/ 65 w 1444"/>
                <a:gd name="T11" fmla="*/ 655 h 1395"/>
                <a:gd name="T12" fmla="*/ 0 w 1444"/>
                <a:gd name="T13" fmla="*/ 540 h 1395"/>
                <a:gd name="T14" fmla="*/ 45 w 1444"/>
                <a:gd name="T15" fmla="*/ 390 h 1395"/>
                <a:gd name="T16" fmla="*/ 95 w 1444"/>
                <a:gd name="T17" fmla="*/ 375 h 1395"/>
                <a:gd name="T18" fmla="*/ 120 w 1444"/>
                <a:gd name="T19" fmla="*/ 475 h 1395"/>
                <a:gd name="T20" fmla="*/ 185 w 1444"/>
                <a:gd name="T21" fmla="*/ 430 h 1395"/>
                <a:gd name="T22" fmla="*/ 195 w 1444"/>
                <a:gd name="T23" fmla="*/ 310 h 1395"/>
                <a:gd name="T24" fmla="*/ 260 w 1444"/>
                <a:gd name="T25" fmla="*/ 195 h 1395"/>
                <a:gd name="T26" fmla="*/ 155 w 1444"/>
                <a:gd name="T27" fmla="*/ 160 h 1395"/>
                <a:gd name="T28" fmla="*/ 200 w 1444"/>
                <a:gd name="T29" fmla="*/ 0 h 1395"/>
                <a:gd name="T30" fmla="*/ 350 w 1444"/>
                <a:gd name="T31" fmla="*/ 60 h 1395"/>
                <a:gd name="T32" fmla="*/ 455 w 1444"/>
                <a:gd name="T33" fmla="*/ 10 h 1395"/>
                <a:gd name="T34" fmla="*/ 630 w 1444"/>
                <a:gd name="T35" fmla="*/ 55 h 1395"/>
                <a:gd name="T36" fmla="*/ 785 w 1444"/>
                <a:gd name="T37" fmla="*/ 120 h 1395"/>
                <a:gd name="T38" fmla="*/ 930 w 1444"/>
                <a:gd name="T39" fmla="*/ 205 h 1395"/>
                <a:gd name="T40" fmla="*/ 1190 w 1444"/>
                <a:gd name="T41" fmla="*/ 315 h 1395"/>
                <a:gd name="T42" fmla="*/ 1443 w 1444"/>
                <a:gd name="T43" fmla="*/ 436 h 1395"/>
                <a:gd name="T44" fmla="*/ 1401 w 1444"/>
                <a:gd name="T45" fmla="*/ 630 h 1395"/>
                <a:gd name="T46" fmla="*/ 1444 w 1444"/>
                <a:gd name="T47" fmla="*/ 789 h 1395"/>
                <a:gd name="T48" fmla="*/ 1365 w 1444"/>
                <a:gd name="T49" fmla="*/ 1006 h 1395"/>
                <a:gd name="T50" fmla="*/ 1174 w 1444"/>
                <a:gd name="T51" fmla="*/ 1149 h 1395"/>
                <a:gd name="T52" fmla="*/ 1011 w 1444"/>
                <a:gd name="T53" fmla="*/ 1318 h 1395"/>
                <a:gd name="T54" fmla="*/ 830 w 1444"/>
                <a:gd name="T55" fmla="*/ 1380 h 1395"/>
                <a:gd name="T56" fmla="*/ 735 w 1444"/>
                <a:gd name="T57" fmla="*/ 1245 h 1395"/>
                <a:gd name="T58" fmla="*/ 555 w 1444"/>
                <a:gd name="T59" fmla="*/ 1330 h 1395"/>
                <a:gd name="T60" fmla="*/ 420 w 1444"/>
                <a:gd name="T61" fmla="*/ 1395 h 1395"/>
                <a:gd name="T62" fmla="*/ 350 w 1444"/>
                <a:gd name="T63" fmla="*/ 1345 h 1395"/>
                <a:gd name="T64" fmla="*/ 350 w 1444"/>
                <a:gd name="T65" fmla="*/ 1270 h 1395"/>
                <a:gd name="T66" fmla="*/ 495 w 1444"/>
                <a:gd name="T67" fmla="*/ 1150 h 1395"/>
                <a:gd name="T68" fmla="*/ 545 w 1444"/>
                <a:gd name="T69" fmla="*/ 1045 h 1395"/>
                <a:gd name="T70" fmla="*/ 635 w 1444"/>
                <a:gd name="T71" fmla="*/ 900 h 1395"/>
                <a:gd name="T72" fmla="*/ 765 w 1444"/>
                <a:gd name="T73" fmla="*/ 790 h 1395"/>
                <a:gd name="T74" fmla="*/ 965 w 1444"/>
                <a:gd name="T75" fmla="*/ 705 h 1395"/>
                <a:gd name="T76" fmla="*/ 1085 w 1444"/>
                <a:gd name="T77" fmla="*/ 710 h 1395"/>
                <a:gd name="T78" fmla="*/ 1080 w 1444"/>
                <a:gd name="T79" fmla="*/ 600 h 1395"/>
                <a:gd name="T80" fmla="*/ 1005 w 1444"/>
                <a:gd name="T81" fmla="*/ 585 h 1395"/>
                <a:gd name="T82" fmla="*/ 795 w 1444"/>
                <a:gd name="T83" fmla="*/ 670 h 1395"/>
                <a:gd name="T84" fmla="*/ 630 w 1444"/>
                <a:gd name="T85" fmla="*/ 710 h 1395"/>
                <a:gd name="T86" fmla="*/ 515 w 1444"/>
                <a:gd name="T87" fmla="*/ 865 h 1395"/>
                <a:gd name="T88" fmla="*/ 500 w 1444"/>
                <a:gd name="T89" fmla="*/ 960 h 1395"/>
                <a:gd name="T90" fmla="*/ 405 w 1444"/>
                <a:gd name="T91" fmla="*/ 1035 h 1395"/>
                <a:gd name="T92" fmla="*/ 350 w 1444"/>
                <a:gd name="T93" fmla="*/ 900 h 139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444"/>
                <a:gd name="T142" fmla="*/ 0 h 1395"/>
                <a:gd name="T143" fmla="*/ 1444 w 1444"/>
                <a:gd name="T144" fmla="*/ 1395 h 139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444" h="1395">
                  <a:moveTo>
                    <a:pt x="350" y="900"/>
                  </a:moveTo>
                  <a:lnTo>
                    <a:pt x="405" y="710"/>
                  </a:lnTo>
                  <a:lnTo>
                    <a:pt x="255" y="855"/>
                  </a:lnTo>
                  <a:lnTo>
                    <a:pt x="110" y="795"/>
                  </a:lnTo>
                  <a:lnTo>
                    <a:pt x="175" y="710"/>
                  </a:lnTo>
                  <a:lnTo>
                    <a:pt x="65" y="655"/>
                  </a:lnTo>
                  <a:lnTo>
                    <a:pt x="0" y="540"/>
                  </a:lnTo>
                  <a:lnTo>
                    <a:pt x="45" y="390"/>
                  </a:lnTo>
                  <a:lnTo>
                    <a:pt x="95" y="375"/>
                  </a:lnTo>
                  <a:lnTo>
                    <a:pt x="120" y="475"/>
                  </a:lnTo>
                  <a:lnTo>
                    <a:pt x="185" y="430"/>
                  </a:lnTo>
                  <a:lnTo>
                    <a:pt x="195" y="310"/>
                  </a:lnTo>
                  <a:lnTo>
                    <a:pt x="260" y="195"/>
                  </a:lnTo>
                  <a:lnTo>
                    <a:pt x="155" y="160"/>
                  </a:lnTo>
                  <a:lnTo>
                    <a:pt x="200" y="0"/>
                  </a:lnTo>
                  <a:lnTo>
                    <a:pt x="350" y="60"/>
                  </a:lnTo>
                  <a:lnTo>
                    <a:pt x="455" y="10"/>
                  </a:lnTo>
                  <a:lnTo>
                    <a:pt x="630" y="55"/>
                  </a:lnTo>
                  <a:lnTo>
                    <a:pt x="785" y="120"/>
                  </a:lnTo>
                  <a:lnTo>
                    <a:pt x="930" y="205"/>
                  </a:lnTo>
                  <a:lnTo>
                    <a:pt x="1190" y="315"/>
                  </a:lnTo>
                  <a:lnTo>
                    <a:pt x="1443" y="436"/>
                  </a:lnTo>
                  <a:lnTo>
                    <a:pt x="1401" y="630"/>
                  </a:lnTo>
                  <a:lnTo>
                    <a:pt x="1444" y="789"/>
                  </a:lnTo>
                  <a:lnTo>
                    <a:pt x="1365" y="1006"/>
                  </a:lnTo>
                  <a:lnTo>
                    <a:pt x="1174" y="1149"/>
                  </a:lnTo>
                  <a:lnTo>
                    <a:pt x="1011" y="1318"/>
                  </a:lnTo>
                  <a:lnTo>
                    <a:pt x="830" y="1380"/>
                  </a:lnTo>
                  <a:lnTo>
                    <a:pt x="735" y="1245"/>
                  </a:lnTo>
                  <a:lnTo>
                    <a:pt x="555" y="1330"/>
                  </a:lnTo>
                  <a:lnTo>
                    <a:pt x="420" y="1395"/>
                  </a:lnTo>
                  <a:lnTo>
                    <a:pt x="350" y="1345"/>
                  </a:lnTo>
                  <a:lnTo>
                    <a:pt x="350" y="1270"/>
                  </a:lnTo>
                  <a:lnTo>
                    <a:pt x="495" y="1150"/>
                  </a:lnTo>
                  <a:lnTo>
                    <a:pt x="545" y="1045"/>
                  </a:lnTo>
                  <a:lnTo>
                    <a:pt x="635" y="900"/>
                  </a:lnTo>
                  <a:lnTo>
                    <a:pt x="765" y="790"/>
                  </a:lnTo>
                  <a:lnTo>
                    <a:pt x="965" y="705"/>
                  </a:lnTo>
                  <a:lnTo>
                    <a:pt x="1085" y="710"/>
                  </a:lnTo>
                  <a:lnTo>
                    <a:pt x="1080" y="600"/>
                  </a:lnTo>
                  <a:lnTo>
                    <a:pt x="1005" y="585"/>
                  </a:lnTo>
                  <a:lnTo>
                    <a:pt x="795" y="670"/>
                  </a:lnTo>
                  <a:lnTo>
                    <a:pt x="630" y="710"/>
                  </a:lnTo>
                  <a:lnTo>
                    <a:pt x="515" y="865"/>
                  </a:lnTo>
                  <a:lnTo>
                    <a:pt x="500" y="960"/>
                  </a:lnTo>
                  <a:lnTo>
                    <a:pt x="405" y="1035"/>
                  </a:lnTo>
                  <a:lnTo>
                    <a:pt x="350" y="90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b="1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0" name="Freeform 47">
              <a:extLst>
                <a:ext uri="{FF2B5EF4-FFF2-40B4-BE49-F238E27FC236}">
                  <a16:creationId xmlns:a16="http://schemas.microsoft.com/office/drawing/2014/main" id="{97AC22AB-62F4-43FB-93DE-59F683191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1167" y="5229225"/>
              <a:ext cx="60325" cy="49213"/>
            </a:xfrm>
            <a:custGeom>
              <a:avLst/>
              <a:gdLst>
                <a:gd name="T0" fmla="*/ 8 w 38"/>
                <a:gd name="T1" fmla="*/ 3 h 31"/>
                <a:gd name="T2" fmla="*/ 0 w 38"/>
                <a:gd name="T3" fmla="*/ 15 h 31"/>
                <a:gd name="T4" fmla="*/ 9 w 38"/>
                <a:gd name="T5" fmla="*/ 26 h 31"/>
                <a:gd name="T6" fmla="*/ 29 w 38"/>
                <a:gd name="T7" fmla="*/ 31 h 31"/>
                <a:gd name="T8" fmla="*/ 38 w 38"/>
                <a:gd name="T9" fmla="*/ 22 h 31"/>
                <a:gd name="T10" fmla="*/ 35 w 38"/>
                <a:gd name="T11" fmla="*/ 6 h 31"/>
                <a:gd name="T12" fmla="*/ 22 w 38"/>
                <a:gd name="T13" fmla="*/ 0 h 31"/>
                <a:gd name="T14" fmla="*/ 8 w 38"/>
                <a:gd name="T15" fmla="*/ 3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8"/>
                <a:gd name="T25" fmla="*/ 0 h 31"/>
                <a:gd name="T26" fmla="*/ 38 w 38"/>
                <a:gd name="T27" fmla="*/ 31 h 3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8" h="31">
                  <a:moveTo>
                    <a:pt x="8" y="3"/>
                  </a:moveTo>
                  <a:lnTo>
                    <a:pt x="0" y="15"/>
                  </a:lnTo>
                  <a:lnTo>
                    <a:pt x="9" y="26"/>
                  </a:lnTo>
                  <a:lnTo>
                    <a:pt x="29" y="31"/>
                  </a:lnTo>
                  <a:lnTo>
                    <a:pt x="38" y="22"/>
                  </a:lnTo>
                  <a:lnTo>
                    <a:pt x="35" y="6"/>
                  </a:lnTo>
                  <a:lnTo>
                    <a:pt x="22" y="0"/>
                  </a:lnTo>
                  <a:lnTo>
                    <a:pt x="8" y="3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b="1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1" name="Freeform 48">
              <a:extLst>
                <a:ext uri="{FF2B5EF4-FFF2-40B4-BE49-F238E27FC236}">
                  <a16:creationId xmlns:a16="http://schemas.microsoft.com/office/drawing/2014/main" id="{F424744F-7838-4C40-B552-D98A8F611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5780" y="5254625"/>
              <a:ext cx="60325" cy="42863"/>
            </a:xfrm>
            <a:custGeom>
              <a:avLst/>
              <a:gdLst>
                <a:gd name="T0" fmla="*/ 8 w 38"/>
                <a:gd name="T1" fmla="*/ 3 h 27"/>
                <a:gd name="T2" fmla="*/ 0 w 38"/>
                <a:gd name="T3" fmla="*/ 15 h 27"/>
                <a:gd name="T4" fmla="*/ 12 w 38"/>
                <a:gd name="T5" fmla="*/ 27 h 27"/>
                <a:gd name="T6" fmla="*/ 29 w 38"/>
                <a:gd name="T7" fmla="*/ 24 h 27"/>
                <a:gd name="T8" fmla="*/ 38 w 38"/>
                <a:gd name="T9" fmla="*/ 22 h 27"/>
                <a:gd name="T10" fmla="*/ 35 w 38"/>
                <a:gd name="T11" fmla="*/ 6 h 27"/>
                <a:gd name="T12" fmla="*/ 22 w 38"/>
                <a:gd name="T13" fmla="*/ 0 h 27"/>
                <a:gd name="T14" fmla="*/ 8 w 38"/>
                <a:gd name="T15" fmla="*/ 3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8"/>
                <a:gd name="T25" fmla="*/ 0 h 27"/>
                <a:gd name="T26" fmla="*/ 38 w 38"/>
                <a:gd name="T27" fmla="*/ 27 h 2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8" h="27">
                  <a:moveTo>
                    <a:pt x="8" y="3"/>
                  </a:moveTo>
                  <a:lnTo>
                    <a:pt x="0" y="15"/>
                  </a:lnTo>
                  <a:lnTo>
                    <a:pt x="12" y="27"/>
                  </a:lnTo>
                  <a:lnTo>
                    <a:pt x="29" y="24"/>
                  </a:lnTo>
                  <a:lnTo>
                    <a:pt x="38" y="22"/>
                  </a:lnTo>
                  <a:lnTo>
                    <a:pt x="35" y="6"/>
                  </a:lnTo>
                  <a:lnTo>
                    <a:pt x="22" y="0"/>
                  </a:lnTo>
                  <a:lnTo>
                    <a:pt x="8" y="3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b="1" ker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59" name="Freeform 49">
            <a:extLst>
              <a:ext uri="{FF2B5EF4-FFF2-40B4-BE49-F238E27FC236}">
                <a16:creationId xmlns:a16="http://schemas.microsoft.com/office/drawing/2014/main" id="{9A6D0EE7-A8E4-4C62-8916-E1BF2A85B674}"/>
              </a:ext>
            </a:extLst>
          </p:cNvPr>
          <p:cNvSpPr>
            <a:spLocks/>
          </p:cNvSpPr>
          <p:nvPr/>
        </p:nvSpPr>
        <p:spPr bwMode="auto">
          <a:xfrm>
            <a:off x="3553013" y="5532829"/>
            <a:ext cx="138112" cy="249237"/>
          </a:xfrm>
          <a:custGeom>
            <a:avLst/>
            <a:gdLst>
              <a:gd name="T0" fmla="*/ 0 w 438"/>
              <a:gd name="T1" fmla="*/ 246 h 786"/>
              <a:gd name="T2" fmla="*/ 30 w 438"/>
              <a:gd name="T3" fmla="*/ 480 h 786"/>
              <a:gd name="T4" fmla="*/ 3 w 438"/>
              <a:gd name="T5" fmla="*/ 695 h 786"/>
              <a:gd name="T6" fmla="*/ 158 w 438"/>
              <a:gd name="T7" fmla="*/ 786 h 786"/>
              <a:gd name="T8" fmla="*/ 394 w 438"/>
              <a:gd name="T9" fmla="*/ 690 h 786"/>
              <a:gd name="T10" fmla="*/ 376 w 438"/>
              <a:gd name="T11" fmla="*/ 568 h 786"/>
              <a:gd name="T12" fmla="*/ 438 w 438"/>
              <a:gd name="T13" fmla="*/ 418 h 786"/>
              <a:gd name="T14" fmla="*/ 366 w 438"/>
              <a:gd name="T15" fmla="*/ 230 h 786"/>
              <a:gd name="T16" fmla="*/ 382 w 438"/>
              <a:gd name="T17" fmla="*/ 0 h 786"/>
              <a:gd name="T18" fmla="*/ 274 w 438"/>
              <a:gd name="T19" fmla="*/ 8 h 786"/>
              <a:gd name="T20" fmla="*/ 148 w 438"/>
              <a:gd name="T21" fmla="*/ 0 h 786"/>
              <a:gd name="T22" fmla="*/ 124 w 438"/>
              <a:gd name="T23" fmla="*/ 80 h 786"/>
              <a:gd name="T24" fmla="*/ 158 w 438"/>
              <a:gd name="T25" fmla="*/ 200 h 786"/>
              <a:gd name="T26" fmla="*/ 0 w 438"/>
              <a:gd name="T27" fmla="*/ 246 h 78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38"/>
              <a:gd name="T43" fmla="*/ 0 h 786"/>
              <a:gd name="T44" fmla="*/ 438 w 438"/>
              <a:gd name="T45" fmla="*/ 786 h 78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38" h="786">
                <a:moveTo>
                  <a:pt x="0" y="246"/>
                </a:moveTo>
                <a:lnTo>
                  <a:pt x="30" y="480"/>
                </a:lnTo>
                <a:lnTo>
                  <a:pt x="3" y="695"/>
                </a:lnTo>
                <a:lnTo>
                  <a:pt x="158" y="786"/>
                </a:lnTo>
                <a:lnTo>
                  <a:pt x="394" y="690"/>
                </a:lnTo>
                <a:lnTo>
                  <a:pt x="376" y="568"/>
                </a:lnTo>
                <a:lnTo>
                  <a:pt x="438" y="418"/>
                </a:lnTo>
                <a:lnTo>
                  <a:pt x="366" y="230"/>
                </a:lnTo>
                <a:lnTo>
                  <a:pt x="382" y="0"/>
                </a:lnTo>
                <a:lnTo>
                  <a:pt x="274" y="8"/>
                </a:lnTo>
                <a:lnTo>
                  <a:pt x="148" y="0"/>
                </a:lnTo>
                <a:lnTo>
                  <a:pt x="124" y="80"/>
                </a:lnTo>
                <a:lnTo>
                  <a:pt x="158" y="200"/>
                </a:lnTo>
                <a:lnTo>
                  <a:pt x="0" y="246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60" name="Freeform 50">
            <a:extLst>
              <a:ext uri="{FF2B5EF4-FFF2-40B4-BE49-F238E27FC236}">
                <a16:creationId xmlns:a16="http://schemas.microsoft.com/office/drawing/2014/main" id="{D72B4F1C-5BF7-438B-8537-CF211B00767F}"/>
              </a:ext>
            </a:extLst>
          </p:cNvPr>
          <p:cNvSpPr>
            <a:spLocks/>
          </p:cNvSpPr>
          <p:nvPr/>
        </p:nvSpPr>
        <p:spPr bwMode="auto">
          <a:xfrm>
            <a:off x="3721288" y="5383604"/>
            <a:ext cx="61912" cy="76200"/>
          </a:xfrm>
          <a:custGeom>
            <a:avLst/>
            <a:gdLst>
              <a:gd name="T0" fmla="*/ 18 w 199"/>
              <a:gd name="T1" fmla="*/ 0 h 242"/>
              <a:gd name="T2" fmla="*/ 102 w 199"/>
              <a:gd name="T3" fmla="*/ 46 h 242"/>
              <a:gd name="T4" fmla="*/ 174 w 199"/>
              <a:gd name="T5" fmla="*/ 122 h 242"/>
              <a:gd name="T6" fmla="*/ 196 w 199"/>
              <a:gd name="T7" fmla="*/ 170 h 242"/>
              <a:gd name="T8" fmla="*/ 199 w 199"/>
              <a:gd name="T9" fmla="*/ 214 h 242"/>
              <a:gd name="T10" fmla="*/ 130 w 199"/>
              <a:gd name="T11" fmla="*/ 242 h 242"/>
              <a:gd name="T12" fmla="*/ 36 w 199"/>
              <a:gd name="T13" fmla="*/ 198 h 242"/>
              <a:gd name="T14" fmla="*/ 0 w 199"/>
              <a:gd name="T15" fmla="*/ 156 h 242"/>
              <a:gd name="T16" fmla="*/ 18 w 199"/>
              <a:gd name="T17" fmla="*/ 0 h 2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99"/>
              <a:gd name="T28" fmla="*/ 0 h 242"/>
              <a:gd name="T29" fmla="*/ 199 w 199"/>
              <a:gd name="T30" fmla="*/ 242 h 2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99" h="242">
                <a:moveTo>
                  <a:pt x="18" y="0"/>
                </a:moveTo>
                <a:lnTo>
                  <a:pt x="102" y="46"/>
                </a:lnTo>
                <a:lnTo>
                  <a:pt x="174" y="122"/>
                </a:lnTo>
                <a:lnTo>
                  <a:pt x="196" y="170"/>
                </a:lnTo>
                <a:lnTo>
                  <a:pt x="199" y="214"/>
                </a:lnTo>
                <a:lnTo>
                  <a:pt x="130" y="242"/>
                </a:lnTo>
                <a:lnTo>
                  <a:pt x="36" y="198"/>
                </a:lnTo>
                <a:lnTo>
                  <a:pt x="0" y="156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1"/>
          </a:solidFill>
          <a:ln w="190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61" name="Oval 25">
            <a:extLst>
              <a:ext uri="{FF2B5EF4-FFF2-40B4-BE49-F238E27FC236}">
                <a16:creationId xmlns:a16="http://schemas.microsoft.com/office/drawing/2014/main" id="{64F7263B-3EE1-4D5C-8E9E-D177BC5450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89678" y="5340741"/>
            <a:ext cx="108821" cy="108821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dist="35921" dir="2700000" sx="66000" sy="66000" algn="ctr" rotWithShape="0">
              <a:srgbClr val="1C1C1C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cxnSp>
        <p:nvCxnSpPr>
          <p:cNvPr id="262" name="肘形连接符 139">
            <a:extLst>
              <a:ext uri="{FF2B5EF4-FFF2-40B4-BE49-F238E27FC236}">
                <a16:creationId xmlns:a16="http://schemas.microsoft.com/office/drawing/2014/main" id="{1B6E6E76-60F1-4E26-BB0C-0393CB3F7EA5}"/>
              </a:ext>
            </a:extLst>
          </p:cNvPr>
          <p:cNvCxnSpPr>
            <a:cxnSpLocks/>
            <a:endCxn id="261" idx="0"/>
          </p:cNvCxnSpPr>
          <p:nvPr/>
        </p:nvCxnSpPr>
        <p:spPr>
          <a:xfrm rot="10800000" flipV="1">
            <a:off x="3844089" y="3999197"/>
            <a:ext cx="1110536" cy="1341543"/>
          </a:xfrm>
          <a:prstGeom prst="bentConnector2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</p:cxnSp>
      <p:sp>
        <p:nvSpPr>
          <p:cNvPr id="263" name="Oval 25">
            <a:extLst>
              <a:ext uri="{FF2B5EF4-FFF2-40B4-BE49-F238E27FC236}">
                <a16:creationId xmlns:a16="http://schemas.microsoft.com/office/drawing/2014/main" id="{2AE43A2A-C5EE-490F-BD12-42B9B2FB8E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97320" y="5383603"/>
            <a:ext cx="108821" cy="108821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dist="35921" dir="2700000" sx="66000" sy="66000" algn="ctr" rotWithShape="0">
              <a:srgbClr val="1C1C1C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cxnSp>
        <p:nvCxnSpPr>
          <p:cNvPr id="264" name="肘形连接符 139">
            <a:extLst>
              <a:ext uri="{FF2B5EF4-FFF2-40B4-BE49-F238E27FC236}">
                <a16:creationId xmlns:a16="http://schemas.microsoft.com/office/drawing/2014/main" id="{2635901E-0DF7-4278-ACC5-BF95835F0898}"/>
              </a:ext>
            </a:extLst>
          </p:cNvPr>
          <p:cNvCxnSpPr>
            <a:cxnSpLocks/>
            <a:stCxn id="275" idx="1"/>
            <a:endCxn id="263" idx="4"/>
          </p:cNvCxnSpPr>
          <p:nvPr/>
        </p:nvCxnSpPr>
        <p:spPr>
          <a:xfrm rot="10800000">
            <a:off x="3751732" y="5492424"/>
            <a:ext cx="1189637" cy="402938"/>
          </a:xfrm>
          <a:prstGeom prst="bentConnector2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</p:cxnSp>
      <p:sp>
        <p:nvSpPr>
          <p:cNvPr id="265" name="Oval 25">
            <a:extLst>
              <a:ext uri="{FF2B5EF4-FFF2-40B4-BE49-F238E27FC236}">
                <a16:creationId xmlns:a16="http://schemas.microsoft.com/office/drawing/2014/main" id="{C1C7D406-2A9F-4AEE-B083-4C2C510ECD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35449" y="5521730"/>
            <a:ext cx="108821" cy="108821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dist="35921" dir="2700000" sx="66000" sy="66000" algn="ctr" rotWithShape="0">
              <a:srgbClr val="1C1C1C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cxnSp>
        <p:nvCxnSpPr>
          <p:cNvPr id="266" name="肘形连接符 139">
            <a:extLst>
              <a:ext uri="{FF2B5EF4-FFF2-40B4-BE49-F238E27FC236}">
                <a16:creationId xmlns:a16="http://schemas.microsoft.com/office/drawing/2014/main" id="{D58BAA8F-3221-4C54-908D-DAB689F5F183}"/>
              </a:ext>
            </a:extLst>
          </p:cNvPr>
          <p:cNvCxnSpPr>
            <a:endCxn id="265" idx="4"/>
          </p:cNvCxnSpPr>
          <p:nvPr/>
        </p:nvCxnSpPr>
        <p:spPr>
          <a:xfrm flipV="1">
            <a:off x="2277937" y="5630551"/>
            <a:ext cx="711923" cy="83159"/>
          </a:xfrm>
          <a:prstGeom prst="bentConnector2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</p:cxnSp>
      <p:sp>
        <p:nvSpPr>
          <p:cNvPr id="267" name="Oval 25">
            <a:extLst>
              <a:ext uri="{FF2B5EF4-FFF2-40B4-BE49-F238E27FC236}">
                <a16:creationId xmlns:a16="http://schemas.microsoft.com/office/drawing/2014/main" id="{39466E05-D01B-4FCC-8712-71283B3F0F0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56256" y="5126420"/>
            <a:ext cx="108821" cy="108821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dist="35921" dir="2700000" sx="66000" sy="66000" algn="ctr" rotWithShape="0">
              <a:srgbClr val="1C1C1C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cxnSp>
        <p:nvCxnSpPr>
          <p:cNvPr id="268" name="肘形连接符 139">
            <a:extLst>
              <a:ext uri="{FF2B5EF4-FFF2-40B4-BE49-F238E27FC236}">
                <a16:creationId xmlns:a16="http://schemas.microsoft.com/office/drawing/2014/main" id="{B0D59269-55CC-4F44-AFA4-8FE51C765712}"/>
              </a:ext>
            </a:extLst>
          </p:cNvPr>
          <p:cNvCxnSpPr>
            <a:stCxn id="272" idx="3"/>
            <a:endCxn id="267" idx="0"/>
          </p:cNvCxnSpPr>
          <p:nvPr/>
        </p:nvCxnSpPr>
        <p:spPr>
          <a:xfrm>
            <a:off x="2245055" y="4000461"/>
            <a:ext cx="765612" cy="1125959"/>
          </a:xfrm>
          <a:prstGeom prst="bentConnector2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</p:cxnSp>
      <p:sp>
        <p:nvSpPr>
          <p:cNvPr id="272" name="圆角矩形 183">
            <a:extLst>
              <a:ext uri="{FF2B5EF4-FFF2-40B4-BE49-F238E27FC236}">
                <a16:creationId xmlns:a16="http://schemas.microsoft.com/office/drawing/2014/main" id="{6CF7E3EB-D83E-41BA-988C-B4C2CFC1DE5B}"/>
              </a:ext>
            </a:extLst>
          </p:cNvPr>
          <p:cNvSpPr/>
          <p:nvPr/>
        </p:nvSpPr>
        <p:spPr>
          <a:xfrm>
            <a:off x="416255" y="3726141"/>
            <a:ext cx="1828800" cy="54864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0"/>
              </a:spcBef>
            </a:pPr>
            <a:r>
              <a:rPr lang="en-US" altLang="zh-CN" sz="1400" b="1" kern="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ordaland</a:t>
            </a:r>
          </a:p>
        </p:txBody>
      </p:sp>
      <p:sp>
        <p:nvSpPr>
          <p:cNvPr id="273" name="圆角矩形 186">
            <a:extLst>
              <a:ext uri="{FF2B5EF4-FFF2-40B4-BE49-F238E27FC236}">
                <a16:creationId xmlns:a16="http://schemas.microsoft.com/office/drawing/2014/main" id="{D1748114-BFFC-4AC3-AC65-6844A0A43D1F}"/>
              </a:ext>
            </a:extLst>
          </p:cNvPr>
          <p:cNvSpPr/>
          <p:nvPr/>
        </p:nvSpPr>
        <p:spPr>
          <a:xfrm>
            <a:off x="416255" y="5544669"/>
            <a:ext cx="1828800" cy="54864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914053">
              <a:defRPr/>
            </a:pPr>
            <a:r>
              <a:rPr lang="en-US" altLang="zh-CN" sz="1400" b="1" kern="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ogaland</a:t>
            </a:r>
          </a:p>
        </p:txBody>
      </p:sp>
      <p:sp>
        <p:nvSpPr>
          <p:cNvPr id="274" name="圆角矩形 183">
            <a:extLst>
              <a:ext uri="{FF2B5EF4-FFF2-40B4-BE49-F238E27FC236}">
                <a16:creationId xmlns:a16="http://schemas.microsoft.com/office/drawing/2014/main" id="{67ABD3D0-DC43-4A55-AB74-77C769905F59}"/>
              </a:ext>
            </a:extLst>
          </p:cNvPr>
          <p:cNvSpPr/>
          <p:nvPr/>
        </p:nvSpPr>
        <p:spPr>
          <a:xfrm>
            <a:off x="4941368" y="3847326"/>
            <a:ext cx="1828800" cy="54864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914053">
              <a:defRPr/>
            </a:pPr>
            <a:r>
              <a:rPr lang="en-US" altLang="zh-CN" sz="1400" b="1" kern="0" dirty="0" err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kershus</a:t>
            </a:r>
            <a:endParaRPr lang="en-US" altLang="zh-CN" sz="1400" b="1" kern="0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75" name="圆角矩形 183">
            <a:extLst>
              <a:ext uri="{FF2B5EF4-FFF2-40B4-BE49-F238E27FC236}">
                <a16:creationId xmlns:a16="http://schemas.microsoft.com/office/drawing/2014/main" id="{A4E817AB-6992-4D41-8243-6C6F2C404333}"/>
              </a:ext>
            </a:extLst>
          </p:cNvPr>
          <p:cNvSpPr/>
          <p:nvPr/>
        </p:nvSpPr>
        <p:spPr>
          <a:xfrm>
            <a:off x="4941368" y="5621042"/>
            <a:ext cx="1828800" cy="54864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914053">
              <a:defRPr/>
            </a:pPr>
            <a:r>
              <a:rPr lang="en-US" altLang="zh-CN" sz="1400" b="1" kern="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nsigne</a:t>
            </a:r>
          </a:p>
        </p:txBody>
      </p:sp>
      <p:sp>
        <p:nvSpPr>
          <p:cNvPr id="296" name="Text Placeholder 32">
            <a:extLst>
              <a:ext uri="{FF2B5EF4-FFF2-40B4-BE49-F238E27FC236}">
                <a16:creationId xmlns:a16="http://schemas.microsoft.com/office/drawing/2014/main" id="{1DDA0203-C3B3-4CDA-BEEF-FF25294AE240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Regional split of Norwa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8DFE93D-6787-4B86-B911-C0C2B10ED8B8}"/>
              </a:ext>
            </a:extLst>
          </p:cNvPr>
          <p:cNvGrpSpPr/>
          <p:nvPr/>
        </p:nvGrpSpPr>
        <p:grpSpPr>
          <a:xfrm>
            <a:off x="7661275" y="3476650"/>
            <a:ext cx="1828800" cy="2694324"/>
            <a:chOff x="7661275" y="2850345"/>
            <a:chExt cx="1828800" cy="2694324"/>
          </a:xfrm>
        </p:grpSpPr>
        <p:sp>
          <p:nvSpPr>
            <p:cNvPr id="88" name="圆角矩形 209">
              <a:extLst>
                <a:ext uri="{FF2B5EF4-FFF2-40B4-BE49-F238E27FC236}">
                  <a16:creationId xmlns:a16="http://schemas.microsoft.com/office/drawing/2014/main" id="{6CCA4A6A-124C-4DDC-91D7-CF2896A9958E}"/>
                </a:ext>
              </a:extLst>
            </p:cNvPr>
            <p:cNvSpPr/>
            <p:nvPr/>
          </p:nvSpPr>
          <p:spPr>
            <a:xfrm>
              <a:off x="7661275" y="2850345"/>
              <a:ext cx="1828800" cy="2694324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 cmpd="sng">
              <a:noFill/>
              <a:prstDash val="solid"/>
              <a:round/>
              <a:headEnd/>
              <a:tailEnd/>
            </a:ln>
            <a:effectLst/>
          </p:spPr>
          <p:txBody>
            <a:bodyPr lIns="91440" tIns="91440" rIns="91440" bIns="91440" anchor="t" anchorCtr="0"/>
            <a:lstStyle/>
            <a:p>
              <a:pPr algn="l">
                <a:spcBef>
                  <a:spcPct val="0"/>
                </a:spcBef>
              </a:pPr>
              <a:r>
                <a:rPr lang="en-US" altLang="zh-CN" sz="14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omments:</a:t>
              </a:r>
            </a:p>
            <a:p>
              <a:pPr algn="l">
                <a:spcBef>
                  <a:spcPct val="0"/>
                </a:spcBef>
              </a:pPr>
              <a:endParaRPr lang="en-US" altLang="zh-CN" sz="1400" b="1" kern="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117475" indent="-117475" algn="l">
                <a:lnSpc>
                  <a:spcPct val="114000"/>
                </a:lnSpc>
                <a:buClr>
                  <a:schemeClr val="accent1"/>
                </a:buClr>
                <a:buSzPct val="50000"/>
                <a:buFont typeface="Wingdings" pitchFamily="2" charset="2"/>
                <a:buChar char="l"/>
              </a:pPr>
              <a:r>
                <a:rPr lang="en-US" altLang="zh-CN" sz="14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xt in here</a:t>
              </a:r>
            </a:p>
            <a:p>
              <a:pPr marL="117475" indent="-117475" algn="l">
                <a:lnSpc>
                  <a:spcPct val="114000"/>
                </a:lnSpc>
                <a:buClr>
                  <a:schemeClr val="accent1"/>
                </a:buClr>
                <a:buSzPct val="50000"/>
                <a:buFont typeface="Wingdings" pitchFamily="2" charset="2"/>
                <a:buChar char="l"/>
              </a:pPr>
              <a:r>
                <a:rPr lang="en-US" altLang="zh-CN" sz="14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xt in here</a:t>
              </a:r>
            </a:p>
            <a:p>
              <a:pPr marL="117475" indent="-117475" algn="l">
                <a:lnSpc>
                  <a:spcPct val="114000"/>
                </a:lnSpc>
                <a:buClr>
                  <a:schemeClr val="accent1"/>
                </a:buClr>
                <a:buSzPct val="50000"/>
                <a:buFont typeface="Wingdings" pitchFamily="2" charset="2"/>
                <a:buChar char="l"/>
              </a:pPr>
              <a:r>
                <a:rPr lang="en-US" altLang="zh-CN" sz="14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xt in here</a:t>
              </a:r>
            </a:p>
            <a:p>
              <a:pPr marL="117475" indent="-117475" algn="l">
                <a:lnSpc>
                  <a:spcPct val="114000"/>
                </a:lnSpc>
                <a:buClr>
                  <a:schemeClr val="accent1"/>
                </a:buClr>
                <a:buSzPct val="50000"/>
                <a:buFont typeface="Wingdings" pitchFamily="2" charset="2"/>
                <a:buChar char="l"/>
              </a:pPr>
              <a:r>
                <a:rPr lang="en-US" altLang="zh-CN" sz="14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xt in here</a:t>
              </a:r>
            </a:p>
            <a:p>
              <a:pPr marL="117475" indent="-117475" algn="l">
                <a:lnSpc>
                  <a:spcPct val="114000"/>
                </a:lnSpc>
                <a:buClr>
                  <a:schemeClr val="accent1"/>
                </a:buClr>
                <a:buSzPct val="50000"/>
                <a:buFont typeface="Wingdings" pitchFamily="2" charset="2"/>
                <a:buChar char="l"/>
              </a:pPr>
              <a:r>
                <a:rPr lang="en-US" altLang="zh-CN" sz="14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xt in here</a:t>
              </a:r>
            </a:p>
            <a:p>
              <a:pPr marL="117475" indent="-117475" algn="l">
                <a:lnSpc>
                  <a:spcPct val="114000"/>
                </a:lnSpc>
                <a:buClr>
                  <a:schemeClr val="accent1"/>
                </a:buClr>
                <a:buSzPct val="50000"/>
                <a:buFont typeface="Wingdings" pitchFamily="2" charset="2"/>
                <a:buChar char="l"/>
              </a:pPr>
              <a:r>
                <a:rPr lang="en-US" altLang="zh-CN" sz="1400" dirty="0">
                  <a:solidFill>
                    <a:srgbClr val="000000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Text in here</a:t>
              </a: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C6CE95-0CF3-4CDD-8CFF-BEBBE8E7B78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752715" y="3174532"/>
              <a:ext cx="164592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2EC1E927-4E8B-45A0-8292-A3B9D168D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Norway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866941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D8D37E26-1B8D-4F83-978B-B53A3E909B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6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D8D37E26-1B8D-4F83-978B-B53A3E909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5" name="Title 1">
            <a:extLst>
              <a:ext uri="{FF2B5EF4-FFF2-40B4-BE49-F238E27FC236}">
                <a16:creationId xmlns:a16="http://schemas.microsoft.com/office/drawing/2014/main" id="{C5348243-6932-427B-B20B-D59DB45EB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GB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weden</a:t>
            </a:r>
            <a:endParaRPr lang="en-US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8" name="圆角矩形 209">
            <a:extLst>
              <a:ext uri="{FF2B5EF4-FFF2-40B4-BE49-F238E27FC236}">
                <a16:creationId xmlns:a16="http://schemas.microsoft.com/office/drawing/2014/main" id="{6CCA4A6A-124C-4DDC-91D7-CF2896A9958E}"/>
              </a:ext>
            </a:extLst>
          </p:cNvPr>
          <p:cNvSpPr/>
          <p:nvPr/>
        </p:nvSpPr>
        <p:spPr>
          <a:xfrm>
            <a:off x="7661275" y="1223780"/>
            <a:ext cx="1828800" cy="276763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mpd="sng">
            <a:noFill/>
            <a:prstDash val="solid"/>
            <a:round/>
            <a:headEnd/>
            <a:tailEnd/>
          </a:ln>
          <a:effectLst/>
        </p:spPr>
        <p:txBody>
          <a:bodyPr lIns="91440" tIns="91440" rIns="91440" bIns="91440" anchor="t" anchorCtr="0"/>
          <a:lstStyle/>
          <a:p>
            <a:pPr algn="l">
              <a:spcBef>
                <a:spcPct val="0"/>
              </a:spcBef>
            </a:pPr>
            <a:r>
              <a:rPr lang="en-US" altLang="zh-CN" sz="1400" b="1" kern="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ments:</a:t>
            </a:r>
          </a:p>
          <a:p>
            <a:pPr algn="l">
              <a:spcBef>
                <a:spcPct val="0"/>
              </a:spcBef>
            </a:pPr>
            <a:endParaRPr lang="en-US" altLang="zh-CN" sz="1400" b="1" kern="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17475" indent="-117475" algn="l">
              <a:lnSpc>
                <a:spcPct val="114000"/>
              </a:lnSpc>
              <a:buClr>
                <a:schemeClr val="accent1"/>
              </a:buClr>
              <a:buSzPct val="50000"/>
              <a:buFont typeface="Wingdings" pitchFamily="2" charset="2"/>
              <a:buChar char="l"/>
            </a:pPr>
            <a:r>
              <a:rPr lang="en-US" altLang="zh-CN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 in here</a:t>
            </a:r>
          </a:p>
          <a:p>
            <a:pPr marL="117475" indent="-117475" algn="l">
              <a:lnSpc>
                <a:spcPct val="114000"/>
              </a:lnSpc>
              <a:buClr>
                <a:schemeClr val="accent1"/>
              </a:buClr>
              <a:buSzPct val="50000"/>
              <a:buFont typeface="Wingdings" pitchFamily="2" charset="2"/>
              <a:buChar char="l"/>
            </a:pPr>
            <a:r>
              <a:rPr lang="en-US" altLang="zh-CN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 in here</a:t>
            </a:r>
          </a:p>
          <a:p>
            <a:pPr marL="117475" indent="-117475" algn="l">
              <a:lnSpc>
                <a:spcPct val="114000"/>
              </a:lnSpc>
              <a:buClr>
                <a:schemeClr val="accent1"/>
              </a:buClr>
              <a:buSzPct val="50000"/>
              <a:buFont typeface="Wingdings" pitchFamily="2" charset="2"/>
              <a:buChar char="l"/>
            </a:pPr>
            <a:r>
              <a:rPr lang="en-US" altLang="zh-CN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 in here</a:t>
            </a:r>
          </a:p>
          <a:p>
            <a:pPr marL="117475" indent="-117475" algn="l">
              <a:lnSpc>
                <a:spcPct val="114000"/>
              </a:lnSpc>
              <a:buClr>
                <a:schemeClr val="accent1"/>
              </a:buClr>
              <a:buSzPct val="50000"/>
              <a:buFont typeface="Wingdings" pitchFamily="2" charset="2"/>
              <a:buChar char="l"/>
            </a:pPr>
            <a:r>
              <a:rPr lang="en-US" altLang="zh-CN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 in here</a:t>
            </a:r>
          </a:p>
          <a:p>
            <a:pPr marL="117475" indent="-117475" algn="l">
              <a:lnSpc>
                <a:spcPct val="114000"/>
              </a:lnSpc>
              <a:buClr>
                <a:schemeClr val="accent1"/>
              </a:buClr>
              <a:buSzPct val="50000"/>
              <a:buFont typeface="Wingdings" pitchFamily="2" charset="2"/>
              <a:buChar char="l"/>
            </a:pPr>
            <a:r>
              <a:rPr lang="en-US" altLang="zh-CN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 in here</a:t>
            </a:r>
          </a:p>
          <a:p>
            <a:pPr marL="117475" indent="-117475" algn="l">
              <a:lnSpc>
                <a:spcPct val="114000"/>
              </a:lnSpc>
              <a:buClr>
                <a:schemeClr val="accent1"/>
              </a:buClr>
              <a:buSzPct val="50000"/>
              <a:buFont typeface="Wingdings" pitchFamily="2" charset="2"/>
              <a:buChar char="l"/>
            </a:pPr>
            <a:r>
              <a:rPr lang="en-US" altLang="zh-CN" sz="14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 in here</a:t>
            </a:r>
          </a:p>
        </p:txBody>
      </p: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F4C6CE95-0CF3-4CDD-8CFF-BEBBE8E7B787}"/>
              </a:ext>
            </a:extLst>
          </p:cNvPr>
          <p:cNvCxnSpPr>
            <a:cxnSpLocks/>
          </p:cNvCxnSpPr>
          <p:nvPr/>
        </p:nvCxnSpPr>
        <p:spPr bwMode="auto">
          <a:xfrm>
            <a:off x="7752715" y="1616270"/>
            <a:ext cx="1645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圆角矩形 209">
            <a:extLst>
              <a:ext uri="{FF2B5EF4-FFF2-40B4-BE49-F238E27FC236}">
                <a16:creationId xmlns:a16="http://schemas.microsoft.com/office/drawing/2014/main" id="{6CCA4A6A-124C-4DDC-91D7-CF2896A9958E}"/>
              </a:ext>
            </a:extLst>
          </p:cNvPr>
          <p:cNvSpPr/>
          <p:nvPr/>
        </p:nvSpPr>
        <p:spPr>
          <a:xfrm>
            <a:off x="7661275" y="5631643"/>
            <a:ext cx="1828800" cy="54864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wrap="square" lIns="0" tIns="0" rIns="0" bIns="0" anchor="ctr"/>
          <a:lstStyle/>
          <a:p>
            <a:pPr>
              <a:spcBef>
                <a:spcPct val="0"/>
              </a:spcBef>
            </a:pPr>
            <a:r>
              <a:rPr lang="en-US" altLang="zh-CN" sz="1400" b="1" kern="0" dirty="0" err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Östergötland</a:t>
            </a:r>
            <a:endParaRPr lang="en-US" altLang="zh-CN" sz="1400" b="1" kern="0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圆角矩形 209">
            <a:extLst>
              <a:ext uri="{FF2B5EF4-FFF2-40B4-BE49-F238E27FC236}">
                <a16:creationId xmlns:a16="http://schemas.microsoft.com/office/drawing/2014/main" id="{6CCA4A6A-124C-4DDC-91D7-CF2896A9958E}"/>
              </a:ext>
            </a:extLst>
          </p:cNvPr>
          <p:cNvSpPr/>
          <p:nvPr/>
        </p:nvSpPr>
        <p:spPr>
          <a:xfrm>
            <a:off x="430571" y="3426717"/>
            <a:ext cx="1828800" cy="54864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wrap="square" lIns="0" tIns="0" rIns="0" bIns="0" anchor="ctr"/>
          <a:lstStyle/>
          <a:p>
            <a:pPr>
              <a:spcBef>
                <a:spcPct val="0"/>
              </a:spcBef>
            </a:pPr>
            <a:r>
              <a:rPr lang="en-US" altLang="zh-CN" sz="1400" b="1" kern="0" dirty="0" err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ästra</a:t>
            </a:r>
            <a:r>
              <a:rPr lang="en-US" altLang="zh-CN" sz="1400" b="1" kern="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kern="0" dirty="0" err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Götaland</a:t>
            </a:r>
            <a:endParaRPr lang="en-US" altLang="zh-CN" sz="1400" b="1" kern="0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圆角矩形 209">
            <a:extLst>
              <a:ext uri="{FF2B5EF4-FFF2-40B4-BE49-F238E27FC236}">
                <a16:creationId xmlns:a16="http://schemas.microsoft.com/office/drawing/2014/main" id="{6CCA4A6A-124C-4DDC-91D7-CF2896A9958E}"/>
              </a:ext>
            </a:extLst>
          </p:cNvPr>
          <p:cNvSpPr/>
          <p:nvPr/>
        </p:nvSpPr>
        <p:spPr>
          <a:xfrm>
            <a:off x="430571" y="5695659"/>
            <a:ext cx="1828800" cy="54864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wrap="square" lIns="0" tIns="0" rIns="0" bIns="0" anchor="ctr"/>
          <a:lstStyle/>
          <a:p>
            <a:pPr>
              <a:spcBef>
                <a:spcPct val="0"/>
              </a:spcBef>
            </a:pPr>
            <a:r>
              <a:rPr lang="en-US" altLang="zh-CN" sz="1400" b="1" kern="0" dirty="0" err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kåne</a:t>
            </a:r>
            <a:endParaRPr lang="en-US" altLang="zh-CN" sz="1400" b="1" kern="0" dirty="0">
              <a:solidFill>
                <a:schemeClr val="bg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 3"/>
          <p:cNvSpPr>
            <a:spLocks/>
          </p:cNvSpPr>
          <p:nvPr/>
        </p:nvSpPr>
        <p:spPr bwMode="auto">
          <a:xfrm>
            <a:off x="4863609" y="1207790"/>
            <a:ext cx="1409510" cy="1590347"/>
          </a:xfrm>
          <a:custGeom>
            <a:avLst/>
            <a:gdLst/>
            <a:ahLst/>
            <a:cxnLst>
              <a:cxn ang="0">
                <a:pos x="2120" y="60"/>
              </a:cxn>
              <a:cxn ang="0">
                <a:pos x="2291" y="350"/>
              </a:cxn>
              <a:cxn ang="0">
                <a:pos x="2211" y="550"/>
              </a:cxn>
              <a:cxn ang="0">
                <a:pos x="2171" y="750"/>
              </a:cxn>
              <a:cxn ang="0">
                <a:pos x="1970" y="870"/>
              </a:cxn>
              <a:cxn ang="0">
                <a:pos x="1680" y="680"/>
              </a:cxn>
              <a:cxn ang="0">
                <a:pos x="1430" y="610"/>
              </a:cxn>
              <a:cxn ang="0">
                <a:pos x="1280" y="640"/>
              </a:cxn>
              <a:cxn ang="0">
                <a:pos x="1220" y="810"/>
              </a:cxn>
              <a:cxn ang="0">
                <a:pos x="1220" y="1100"/>
              </a:cxn>
              <a:cxn ang="0">
                <a:pos x="1120" y="1330"/>
              </a:cxn>
              <a:cxn ang="0">
                <a:pos x="830" y="1320"/>
              </a:cxn>
              <a:cxn ang="0">
                <a:pos x="550" y="1550"/>
              </a:cxn>
              <a:cxn ang="0">
                <a:pos x="520" y="1910"/>
              </a:cxn>
              <a:cxn ang="0">
                <a:pos x="350" y="2020"/>
              </a:cxn>
              <a:cxn ang="0">
                <a:pos x="300" y="2130"/>
              </a:cxn>
              <a:cxn ang="0">
                <a:pos x="480" y="2510"/>
              </a:cxn>
              <a:cxn ang="0">
                <a:pos x="250" y="2790"/>
              </a:cxn>
              <a:cxn ang="0">
                <a:pos x="40" y="3150"/>
              </a:cxn>
              <a:cxn ang="0">
                <a:pos x="0" y="3470"/>
              </a:cxn>
              <a:cxn ang="0">
                <a:pos x="440" y="3750"/>
              </a:cxn>
              <a:cxn ang="0">
                <a:pos x="800" y="3880"/>
              </a:cxn>
              <a:cxn ang="0">
                <a:pos x="1060" y="4230"/>
              </a:cxn>
              <a:cxn ang="0">
                <a:pos x="1230" y="4310"/>
              </a:cxn>
              <a:cxn ang="0">
                <a:pos x="1360" y="4320"/>
              </a:cxn>
              <a:cxn ang="0">
                <a:pos x="2050" y="4860"/>
              </a:cxn>
              <a:cxn ang="0">
                <a:pos x="2191" y="4620"/>
              </a:cxn>
              <a:cxn ang="0">
                <a:pos x="2271" y="4550"/>
              </a:cxn>
              <a:cxn ang="0">
                <a:pos x="2701" y="4740"/>
              </a:cxn>
              <a:cxn ang="0">
                <a:pos x="3011" y="4760"/>
              </a:cxn>
              <a:cxn ang="0">
                <a:pos x="3181" y="4890"/>
              </a:cxn>
              <a:cxn ang="0">
                <a:pos x="3271" y="4820"/>
              </a:cxn>
              <a:cxn ang="0">
                <a:pos x="3131" y="4700"/>
              </a:cxn>
              <a:cxn ang="0">
                <a:pos x="3081" y="4540"/>
              </a:cxn>
              <a:cxn ang="0">
                <a:pos x="3251" y="4450"/>
              </a:cxn>
              <a:cxn ang="0">
                <a:pos x="3421" y="4230"/>
              </a:cxn>
              <a:cxn ang="0">
                <a:pos x="3441" y="3900"/>
              </a:cxn>
              <a:cxn ang="0">
                <a:pos x="3541" y="3940"/>
              </a:cxn>
              <a:cxn ang="0">
                <a:pos x="3631" y="3870"/>
              </a:cxn>
              <a:cxn ang="0">
                <a:pos x="3751" y="4020"/>
              </a:cxn>
              <a:cxn ang="0">
                <a:pos x="3851" y="3890"/>
              </a:cxn>
              <a:cxn ang="0">
                <a:pos x="4061" y="3920"/>
              </a:cxn>
              <a:cxn ang="0">
                <a:pos x="4201" y="3840"/>
              </a:cxn>
              <a:cxn ang="0">
                <a:pos x="4338" y="3730"/>
              </a:cxn>
              <a:cxn ang="0">
                <a:pos x="4059" y="3046"/>
              </a:cxn>
              <a:cxn ang="0">
                <a:pos x="4134" y="2827"/>
              </a:cxn>
              <a:cxn ang="0">
                <a:pos x="4149" y="2629"/>
              </a:cxn>
              <a:cxn ang="0">
                <a:pos x="3906" y="2175"/>
              </a:cxn>
              <a:cxn ang="0">
                <a:pos x="3995" y="1951"/>
              </a:cxn>
              <a:cxn ang="0">
                <a:pos x="3846" y="1789"/>
              </a:cxn>
              <a:cxn ang="0">
                <a:pos x="3786" y="1372"/>
              </a:cxn>
              <a:cxn ang="0">
                <a:pos x="3608" y="940"/>
              </a:cxn>
              <a:cxn ang="0">
                <a:pos x="3324" y="664"/>
              </a:cxn>
              <a:cxn ang="0">
                <a:pos x="3071" y="678"/>
              </a:cxn>
              <a:cxn ang="0">
                <a:pos x="2501" y="220"/>
              </a:cxn>
              <a:cxn ang="0">
                <a:pos x="2291" y="0"/>
              </a:cxn>
              <a:cxn ang="0">
                <a:pos x="2171" y="0"/>
              </a:cxn>
              <a:cxn ang="0">
                <a:pos x="2120" y="60"/>
              </a:cxn>
            </a:cxnLst>
            <a:rect l="0" t="0" r="r" b="b"/>
            <a:pathLst>
              <a:path w="4338" h="4890">
                <a:moveTo>
                  <a:pt x="2120" y="60"/>
                </a:moveTo>
                <a:lnTo>
                  <a:pt x="2291" y="350"/>
                </a:lnTo>
                <a:lnTo>
                  <a:pt x="2211" y="550"/>
                </a:lnTo>
                <a:lnTo>
                  <a:pt x="2171" y="750"/>
                </a:lnTo>
                <a:lnTo>
                  <a:pt x="1970" y="870"/>
                </a:lnTo>
                <a:lnTo>
                  <a:pt x="1680" y="680"/>
                </a:lnTo>
                <a:lnTo>
                  <a:pt x="1430" y="610"/>
                </a:lnTo>
                <a:lnTo>
                  <a:pt x="1280" y="640"/>
                </a:lnTo>
                <a:lnTo>
                  <a:pt x="1220" y="810"/>
                </a:lnTo>
                <a:lnTo>
                  <a:pt x="1220" y="1100"/>
                </a:lnTo>
                <a:lnTo>
                  <a:pt x="1120" y="1330"/>
                </a:lnTo>
                <a:lnTo>
                  <a:pt x="830" y="1320"/>
                </a:lnTo>
                <a:lnTo>
                  <a:pt x="550" y="1550"/>
                </a:lnTo>
                <a:lnTo>
                  <a:pt x="520" y="1910"/>
                </a:lnTo>
                <a:lnTo>
                  <a:pt x="350" y="2020"/>
                </a:lnTo>
                <a:lnTo>
                  <a:pt x="300" y="2130"/>
                </a:lnTo>
                <a:lnTo>
                  <a:pt x="480" y="2510"/>
                </a:lnTo>
                <a:lnTo>
                  <a:pt x="250" y="2790"/>
                </a:lnTo>
                <a:lnTo>
                  <a:pt x="40" y="3150"/>
                </a:lnTo>
                <a:lnTo>
                  <a:pt x="0" y="3470"/>
                </a:lnTo>
                <a:lnTo>
                  <a:pt x="440" y="3750"/>
                </a:lnTo>
                <a:lnTo>
                  <a:pt x="800" y="3880"/>
                </a:lnTo>
                <a:lnTo>
                  <a:pt x="1060" y="4230"/>
                </a:lnTo>
                <a:lnTo>
                  <a:pt x="1230" y="4310"/>
                </a:lnTo>
                <a:lnTo>
                  <a:pt x="1360" y="4320"/>
                </a:lnTo>
                <a:lnTo>
                  <a:pt x="2050" y="4860"/>
                </a:lnTo>
                <a:lnTo>
                  <a:pt x="2191" y="4620"/>
                </a:lnTo>
                <a:lnTo>
                  <a:pt x="2271" y="4550"/>
                </a:lnTo>
                <a:lnTo>
                  <a:pt x="2701" y="4740"/>
                </a:lnTo>
                <a:lnTo>
                  <a:pt x="3011" y="4760"/>
                </a:lnTo>
                <a:lnTo>
                  <a:pt x="3181" y="4890"/>
                </a:lnTo>
                <a:lnTo>
                  <a:pt x="3271" y="4820"/>
                </a:lnTo>
                <a:lnTo>
                  <a:pt x="3131" y="4700"/>
                </a:lnTo>
                <a:lnTo>
                  <a:pt x="3081" y="4540"/>
                </a:lnTo>
                <a:lnTo>
                  <a:pt x="3251" y="4450"/>
                </a:lnTo>
                <a:lnTo>
                  <a:pt x="3421" y="4230"/>
                </a:lnTo>
                <a:lnTo>
                  <a:pt x="3441" y="3900"/>
                </a:lnTo>
                <a:lnTo>
                  <a:pt x="3541" y="3940"/>
                </a:lnTo>
                <a:lnTo>
                  <a:pt x="3631" y="3870"/>
                </a:lnTo>
                <a:lnTo>
                  <a:pt x="3751" y="4020"/>
                </a:lnTo>
                <a:lnTo>
                  <a:pt x="3851" y="3890"/>
                </a:lnTo>
                <a:lnTo>
                  <a:pt x="4061" y="3920"/>
                </a:lnTo>
                <a:lnTo>
                  <a:pt x="4201" y="3840"/>
                </a:lnTo>
                <a:lnTo>
                  <a:pt x="4338" y="3730"/>
                </a:lnTo>
                <a:lnTo>
                  <a:pt x="4059" y="3046"/>
                </a:lnTo>
                <a:lnTo>
                  <a:pt x="4134" y="2827"/>
                </a:lnTo>
                <a:lnTo>
                  <a:pt x="4149" y="2629"/>
                </a:lnTo>
                <a:lnTo>
                  <a:pt x="3906" y="2175"/>
                </a:lnTo>
                <a:lnTo>
                  <a:pt x="3995" y="1951"/>
                </a:lnTo>
                <a:lnTo>
                  <a:pt x="3846" y="1789"/>
                </a:lnTo>
                <a:lnTo>
                  <a:pt x="3786" y="1372"/>
                </a:lnTo>
                <a:lnTo>
                  <a:pt x="3608" y="940"/>
                </a:lnTo>
                <a:lnTo>
                  <a:pt x="3324" y="664"/>
                </a:lnTo>
                <a:lnTo>
                  <a:pt x="3071" y="678"/>
                </a:lnTo>
                <a:lnTo>
                  <a:pt x="2501" y="220"/>
                </a:lnTo>
                <a:lnTo>
                  <a:pt x="2291" y="0"/>
                </a:lnTo>
                <a:lnTo>
                  <a:pt x="2171" y="0"/>
                </a:lnTo>
                <a:lnTo>
                  <a:pt x="2120" y="60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47" name="Freeform 4"/>
          <p:cNvSpPr>
            <a:spLocks/>
          </p:cNvSpPr>
          <p:nvPr/>
        </p:nvSpPr>
        <p:spPr bwMode="auto">
          <a:xfrm>
            <a:off x="4660801" y="2336750"/>
            <a:ext cx="1235434" cy="1118820"/>
          </a:xfrm>
          <a:custGeom>
            <a:avLst/>
            <a:gdLst/>
            <a:ahLst/>
            <a:cxnLst>
              <a:cxn ang="0">
                <a:pos x="101" y="282"/>
              </a:cxn>
              <a:cxn ang="0">
                <a:pos x="149" y="427"/>
              </a:cxn>
              <a:cxn ang="0">
                <a:pos x="216" y="576"/>
              </a:cxn>
              <a:cxn ang="0">
                <a:pos x="0" y="1425"/>
              </a:cxn>
              <a:cxn ang="0">
                <a:pos x="317" y="1725"/>
              </a:cxn>
              <a:cxn ang="0">
                <a:pos x="634" y="2171"/>
              </a:cxn>
              <a:cxn ang="0">
                <a:pos x="1085" y="2546"/>
              </a:cxn>
              <a:cxn ang="0">
                <a:pos x="1243" y="2782"/>
              </a:cxn>
              <a:cxn ang="0">
                <a:pos x="1455" y="2882"/>
              </a:cxn>
              <a:cxn ang="0">
                <a:pos x="1728" y="2882"/>
              </a:cxn>
              <a:cxn ang="0">
                <a:pos x="2036" y="2690"/>
              </a:cxn>
              <a:cxn ang="0">
                <a:pos x="2123" y="2748"/>
              </a:cxn>
              <a:cxn ang="0">
                <a:pos x="2137" y="2892"/>
              </a:cxn>
              <a:cxn ang="0">
                <a:pos x="2363" y="2983"/>
              </a:cxn>
              <a:cxn ang="0">
                <a:pos x="2584" y="3310"/>
              </a:cxn>
              <a:cxn ang="0">
                <a:pos x="2656" y="3238"/>
              </a:cxn>
              <a:cxn ang="0">
                <a:pos x="2896" y="3224"/>
              </a:cxn>
              <a:cxn ang="0">
                <a:pos x="2910" y="3137"/>
              </a:cxn>
              <a:cxn ang="0">
                <a:pos x="3025" y="3065"/>
              </a:cxn>
              <a:cxn ang="0">
                <a:pos x="3140" y="3027"/>
              </a:cxn>
              <a:cxn ang="0">
                <a:pos x="3232" y="2882"/>
              </a:cxn>
              <a:cxn ang="0">
                <a:pos x="3371" y="2791"/>
              </a:cxn>
              <a:cxn ang="0">
                <a:pos x="3328" y="2695"/>
              </a:cxn>
              <a:cxn ang="0">
                <a:pos x="3361" y="2450"/>
              </a:cxn>
              <a:cxn ang="0">
                <a:pos x="3462" y="2416"/>
              </a:cxn>
              <a:cxn ang="0">
                <a:pos x="3500" y="2316"/>
              </a:cxn>
              <a:cxn ang="0">
                <a:pos x="3635" y="2157"/>
              </a:cxn>
              <a:cxn ang="0">
                <a:pos x="3587" y="2018"/>
              </a:cxn>
              <a:cxn ang="0">
                <a:pos x="3534" y="1854"/>
              </a:cxn>
              <a:cxn ang="0">
                <a:pos x="3457" y="1725"/>
              </a:cxn>
              <a:cxn ang="0">
                <a:pos x="3572" y="1623"/>
              </a:cxn>
              <a:cxn ang="0">
                <a:pos x="3572" y="1479"/>
              </a:cxn>
              <a:cxn ang="0">
                <a:pos x="3655" y="1364"/>
              </a:cxn>
              <a:cxn ang="0">
                <a:pos x="3491" y="1240"/>
              </a:cxn>
              <a:cxn ang="0">
                <a:pos x="3197" y="1220"/>
              </a:cxn>
              <a:cxn ang="0">
                <a:pos x="2780" y="1037"/>
              </a:cxn>
              <a:cxn ang="0">
                <a:pos x="2704" y="1109"/>
              </a:cxn>
              <a:cxn ang="0">
                <a:pos x="2569" y="1335"/>
              </a:cxn>
              <a:cxn ang="0">
                <a:pos x="1905" y="816"/>
              </a:cxn>
              <a:cxn ang="0">
                <a:pos x="1784" y="807"/>
              </a:cxn>
              <a:cxn ang="0">
                <a:pos x="1617" y="729"/>
              </a:cxn>
              <a:cxn ang="0">
                <a:pos x="1371" y="393"/>
              </a:cxn>
              <a:cxn ang="0">
                <a:pos x="1023" y="268"/>
              </a:cxn>
              <a:cxn ang="0">
                <a:pos x="599" y="0"/>
              </a:cxn>
              <a:cxn ang="0">
                <a:pos x="331" y="215"/>
              </a:cxn>
              <a:cxn ang="0">
                <a:pos x="202" y="215"/>
              </a:cxn>
              <a:cxn ang="0">
                <a:pos x="101" y="282"/>
              </a:cxn>
            </a:cxnLst>
            <a:rect l="0" t="0" r="r" b="b"/>
            <a:pathLst>
              <a:path w="3655" h="3310">
                <a:moveTo>
                  <a:pt x="101" y="282"/>
                </a:moveTo>
                <a:lnTo>
                  <a:pt x="149" y="427"/>
                </a:lnTo>
                <a:lnTo>
                  <a:pt x="216" y="576"/>
                </a:lnTo>
                <a:lnTo>
                  <a:pt x="0" y="1425"/>
                </a:lnTo>
                <a:lnTo>
                  <a:pt x="317" y="1725"/>
                </a:lnTo>
                <a:lnTo>
                  <a:pt x="634" y="2171"/>
                </a:lnTo>
                <a:lnTo>
                  <a:pt x="1085" y="2546"/>
                </a:lnTo>
                <a:lnTo>
                  <a:pt x="1243" y="2782"/>
                </a:lnTo>
                <a:lnTo>
                  <a:pt x="1455" y="2882"/>
                </a:lnTo>
                <a:lnTo>
                  <a:pt x="1728" y="2882"/>
                </a:lnTo>
                <a:lnTo>
                  <a:pt x="2036" y="2690"/>
                </a:lnTo>
                <a:lnTo>
                  <a:pt x="2123" y="2748"/>
                </a:lnTo>
                <a:lnTo>
                  <a:pt x="2137" y="2892"/>
                </a:lnTo>
                <a:lnTo>
                  <a:pt x="2363" y="2983"/>
                </a:lnTo>
                <a:lnTo>
                  <a:pt x="2584" y="3310"/>
                </a:lnTo>
                <a:lnTo>
                  <a:pt x="2656" y="3238"/>
                </a:lnTo>
                <a:lnTo>
                  <a:pt x="2896" y="3224"/>
                </a:lnTo>
                <a:lnTo>
                  <a:pt x="2910" y="3137"/>
                </a:lnTo>
                <a:lnTo>
                  <a:pt x="3025" y="3065"/>
                </a:lnTo>
                <a:lnTo>
                  <a:pt x="3140" y="3027"/>
                </a:lnTo>
                <a:lnTo>
                  <a:pt x="3232" y="2882"/>
                </a:lnTo>
                <a:lnTo>
                  <a:pt x="3371" y="2791"/>
                </a:lnTo>
                <a:lnTo>
                  <a:pt x="3328" y="2695"/>
                </a:lnTo>
                <a:lnTo>
                  <a:pt x="3361" y="2450"/>
                </a:lnTo>
                <a:lnTo>
                  <a:pt x="3462" y="2416"/>
                </a:lnTo>
                <a:lnTo>
                  <a:pt x="3500" y="2316"/>
                </a:lnTo>
                <a:lnTo>
                  <a:pt x="3635" y="2157"/>
                </a:lnTo>
                <a:lnTo>
                  <a:pt x="3587" y="2018"/>
                </a:lnTo>
                <a:lnTo>
                  <a:pt x="3534" y="1854"/>
                </a:lnTo>
                <a:lnTo>
                  <a:pt x="3457" y="1725"/>
                </a:lnTo>
                <a:lnTo>
                  <a:pt x="3572" y="1623"/>
                </a:lnTo>
                <a:lnTo>
                  <a:pt x="3572" y="1479"/>
                </a:lnTo>
                <a:lnTo>
                  <a:pt x="3655" y="1364"/>
                </a:lnTo>
                <a:lnTo>
                  <a:pt x="3491" y="1240"/>
                </a:lnTo>
                <a:lnTo>
                  <a:pt x="3197" y="1220"/>
                </a:lnTo>
                <a:lnTo>
                  <a:pt x="2780" y="1037"/>
                </a:lnTo>
                <a:lnTo>
                  <a:pt x="2704" y="1109"/>
                </a:lnTo>
                <a:lnTo>
                  <a:pt x="2569" y="1335"/>
                </a:lnTo>
                <a:lnTo>
                  <a:pt x="1905" y="816"/>
                </a:lnTo>
                <a:lnTo>
                  <a:pt x="1784" y="807"/>
                </a:lnTo>
                <a:lnTo>
                  <a:pt x="1617" y="729"/>
                </a:lnTo>
                <a:lnTo>
                  <a:pt x="1371" y="393"/>
                </a:lnTo>
                <a:lnTo>
                  <a:pt x="1023" y="268"/>
                </a:lnTo>
                <a:lnTo>
                  <a:pt x="599" y="0"/>
                </a:lnTo>
                <a:lnTo>
                  <a:pt x="331" y="215"/>
                </a:lnTo>
                <a:lnTo>
                  <a:pt x="202" y="215"/>
                </a:lnTo>
                <a:lnTo>
                  <a:pt x="101" y="282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48" name="Freeform 5"/>
          <p:cNvSpPr>
            <a:spLocks/>
          </p:cNvSpPr>
          <p:nvPr/>
        </p:nvSpPr>
        <p:spPr bwMode="auto">
          <a:xfrm>
            <a:off x="4216316" y="2818418"/>
            <a:ext cx="921082" cy="1411199"/>
          </a:xfrm>
          <a:custGeom>
            <a:avLst/>
            <a:gdLst/>
            <a:ahLst/>
            <a:cxnLst>
              <a:cxn ang="0">
                <a:pos x="1365" y="0"/>
              </a:cxn>
              <a:cxn ang="0">
                <a:pos x="1020" y="640"/>
              </a:cxn>
              <a:cxn ang="0">
                <a:pos x="1215" y="760"/>
              </a:cxn>
              <a:cxn ang="0">
                <a:pos x="1220" y="1225"/>
              </a:cxn>
              <a:cxn ang="0">
                <a:pos x="1065" y="1320"/>
              </a:cxn>
              <a:cxn ang="0">
                <a:pos x="900" y="1245"/>
              </a:cxn>
              <a:cxn ang="0">
                <a:pos x="765" y="1185"/>
              </a:cxn>
              <a:cxn ang="0">
                <a:pos x="590" y="1200"/>
              </a:cxn>
              <a:cxn ang="0">
                <a:pos x="455" y="1290"/>
              </a:cxn>
              <a:cxn ang="0">
                <a:pos x="165" y="1725"/>
              </a:cxn>
              <a:cxn ang="0">
                <a:pos x="135" y="1930"/>
              </a:cxn>
              <a:cxn ang="0">
                <a:pos x="35" y="2155"/>
              </a:cxn>
              <a:cxn ang="0">
                <a:pos x="90" y="2416"/>
              </a:cxn>
              <a:cxn ang="0">
                <a:pos x="0" y="2711"/>
              </a:cxn>
              <a:cxn ang="0">
                <a:pos x="46" y="3430"/>
              </a:cxn>
              <a:cxn ang="0">
                <a:pos x="277" y="3431"/>
              </a:cxn>
              <a:cxn ang="0">
                <a:pos x="585" y="3691"/>
              </a:cxn>
              <a:cxn ang="0">
                <a:pos x="721" y="3749"/>
              </a:cxn>
              <a:cxn ang="0">
                <a:pos x="660" y="3874"/>
              </a:cxn>
              <a:cxn ang="0">
                <a:pos x="801" y="4240"/>
              </a:cxn>
              <a:cxn ang="0">
                <a:pos x="1005" y="4198"/>
              </a:cxn>
              <a:cxn ang="0">
                <a:pos x="1455" y="4341"/>
              </a:cxn>
              <a:cxn ang="0">
                <a:pos x="1395" y="4246"/>
              </a:cxn>
              <a:cxn ang="0">
                <a:pos x="1395" y="4066"/>
              </a:cxn>
              <a:cxn ang="0">
                <a:pos x="1455" y="3916"/>
              </a:cxn>
              <a:cxn ang="0">
                <a:pos x="1590" y="4021"/>
              </a:cxn>
              <a:cxn ang="0">
                <a:pos x="1715" y="3956"/>
              </a:cxn>
              <a:cxn ang="0">
                <a:pos x="1715" y="3746"/>
              </a:cxn>
              <a:cxn ang="0">
                <a:pos x="1910" y="3626"/>
              </a:cxn>
              <a:cxn ang="0">
                <a:pos x="1905" y="3436"/>
              </a:cxn>
              <a:cxn ang="0">
                <a:pos x="1725" y="3446"/>
              </a:cxn>
              <a:cxn ang="0">
                <a:pos x="1580" y="3316"/>
              </a:cxn>
              <a:cxn ang="0">
                <a:pos x="1610" y="3061"/>
              </a:cxn>
              <a:cxn ang="0">
                <a:pos x="1925" y="3056"/>
              </a:cxn>
              <a:cxn ang="0">
                <a:pos x="2235" y="2906"/>
              </a:cxn>
              <a:cxn ang="0">
                <a:pos x="2385" y="2981"/>
              </a:cxn>
              <a:cxn ang="0">
                <a:pos x="2535" y="2851"/>
              </a:cxn>
              <a:cxn ang="0">
                <a:pos x="2640" y="2711"/>
              </a:cxn>
              <a:cxn ang="0">
                <a:pos x="2835" y="2656"/>
              </a:cxn>
              <a:cxn ang="0">
                <a:pos x="2445" y="2236"/>
              </a:cxn>
              <a:cxn ang="0">
                <a:pos x="2250" y="2050"/>
              </a:cxn>
              <a:cxn ang="0">
                <a:pos x="2205" y="1890"/>
              </a:cxn>
              <a:cxn ang="0">
                <a:pos x="2100" y="1755"/>
              </a:cxn>
              <a:cxn ang="0">
                <a:pos x="2505" y="1710"/>
              </a:cxn>
              <a:cxn ang="0">
                <a:pos x="2570" y="1510"/>
              </a:cxn>
              <a:cxn ang="0">
                <a:pos x="2659" y="1411"/>
              </a:cxn>
              <a:cxn ang="0">
                <a:pos x="2495" y="1165"/>
              </a:cxn>
              <a:cxn ang="0">
                <a:pos x="2025" y="775"/>
              </a:cxn>
              <a:cxn ang="0">
                <a:pos x="1699" y="316"/>
              </a:cxn>
              <a:cxn ang="0">
                <a:pos x="1365" y="0"/>
              </a:cxn>
            </a:cxnLst>
            <a:rect l="0" t="0" r="r" b="b"/>
            <a:pathLst>
              <a:path w="2835" h="4341">
                <a:moveTo>
                  <a:pt x="1365" y="0"/>
                </a:moveTo>
                <a:lnTo>
                  <a:pt x="1020" y="640"/>
                </a:lnTo>
                <a:lnTo>
                  <a:pt x="1215" y="760"/>
                </a:lnTo>
                <a:lnTo>
                  <a:pt x="1220" y="1225"/>
                </a:lnTo>
                <a:lnTo>
                  <a:pt x="1065" y="1320"/>
                </a:lnTo>
                <a:lnTo>
                  <a:pt x="900" y="1245"/>
                </a:lnTo>
                <a:lnTo>
                  <a:pt x="765" y="1185"/>
                </a:lnTo>
                <a:lnTo>
                  <a:pt x="590" y="1200"/>
                </a:lnTo>
                <a:lnTo>
                  <a:pt x="455" y="1290"/>
                </a:lnTo>
                <a:lnTo>
                  <a:pt x="165" y="1725"/>
                </a:lnTo>
                <a:lnTo>
                  <a:pt x="135" y="1930"/>
                </a:lnTo>
                <a:lnTo>
                  <a:pt x="35" y="2155"/>
                </a:lnTo>
                <a:lnTo>
                  <a:pt x="90" y="2416"/>
                </a:lnTo>
                <a:lnTo>
                  <a:pt x="0" y="2711"/>
                </a:lnTo>
                <a:lnTo>
                  <a:pt x="46" y="3430"/>
                </a:lnTo>
                <a:lnTo>
                  <a:pt x="277" y="3431"/>
                </a:lnTo>
                <a:lnTo>
                  <a:pt x="585" y="3691"/>
                </a:lnTo>
                <a:lnTo>
                  <a:pt x="721" y="3749"/>
                </a:lnTo>
                <a:lnTo>
                  <a:pt x="660" y="3874"/>
                </a:lnTo>
                <a:lnTo>
                  <a:pt x="801" y="4240"/>
                </a:lnTo>
                <a:lnTo>
                  <a:pt x="1005" y="4198"/>
                </a:lnTo>
                <a:lnTo>
                  <a:pt x="1455" y="4341"/>
                </a:lnTo>
                <a:lnTo>
                  <a:pt x="1395" y="4246"/>
                </a:lnTo>
                <a:lnTo>
                  <a:pt x="1395" y="4066"/>
                </a:lnTo>
                <a:lnTo>
                  <a:pt x="1455" y="3916"/>
                </a:lnTo>
                <a:lnTo>
                  <a:pt x="1590" y="4021"/>
                </a:lnTo>
                <a:lnTo>
                  <a:pt x="1715" y="3956"/>
                </a:lnTo>
                <a:lnTo>
                  <a:pt x="1715" y="3746"/>
                </a:lnTo>
                <a:lnTo>
                  <a:pt x="1910" y="3626"/>
                </a:lnTo>
                <a:lnTo>
                  <a:pt x="1905" y="3436"/>
                </a:lnTo>
                <a:lnTo>
                  <a:pt x="1725" y="3446"/>
                </a:lnTo>
                <a:lnTo>
                  <a:pt x="1580" y="3316"/>
                </a:lnTo>
                <a:lnTo>
                  <a:pt x="1610" y="3061"/>
                </a:lnTo>
                <a:lnTo>
                  <a:pt x="1925" y="3056"/>
                </a:lnTo>
                <a:lnTo>
                  <a:pt x="2235" y="2906"/>
                </a:lnTo>
                <a:lnTo>
                  <a:pt x="2385" y="2981"/>
                </a:lnTo>
                <a:lnTo>
                  <a:pt x="2535" y="2851"/>
                </a:lnTo>
                <a:lnTo>
                  <a:pt x="2640" y="2711"/>
                </a:lnTo>
                <a:lnTo>
                  <a:pt x="2835" y="2656"/>
                </a:lnTo>
                <a:lnTo>
                  <a:pt x="2445" y="2236"/>
                </a:lnTo>
                <a:lnTo>
                  <a:pt x="2250" y="2050"/>
                </a:lnTo>
                <a:lnTo>
                  <a:pt x="2205" y="1890"/>
                </a:lnTo>
                <a:lnTo>
                  <a:pt x="2100" y="1755"/>
                </a:lnTo>
                <a:lnTo>
                  <a:pt x="2505" y="1710"/>
                </a:lnTo>
                <a:lnTo>
                  <a:pt x="2570" y="1510"/>
                </a:lnTo>
                <a:lnTo>
                  <a:pt x="2659" y="1411"/>
                </a:lnTo>
                <a:lnTo>
                  <a:pt x="2495" y="1165"/>
                </a:lnTo>
                <a:lnTo>
                  <a:pt x="2025" y="775"/>
                </a:lnTo>
                <a:lnTo>
                  <a:pt x="1699" y="316"/>
                </a:lnTo>
                <a:lnTo>
                  <a:pt x="1365" y="0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49" name="Freeform 6"/>
          <p:cNvSpPr>
            <a:spLocks/>
          </p:cNvSpPr>
          <p:nvPr/>
        </p:nvSpPr>
        <p:spPr bwMode="auto">
          <a:xfrm>
            <a:off x="4730094" y="3246002"/>
            <a:ext cx="804468" cy="755457"/>
          </a:xfrm>
          <a:custGeom>
            <a:avLst/>
            <a:gdLst/>
            <a:ahLst/>
            <a:cxnLst>
              <a:cxn ang="0">
                <a:pos x="2475" y="644"/>
              </a:cxn>
              <a:cxn ang="0">
                <a:pos x="2439" y="854"/>
              </a:cxn>
              <a:cxn ang="0">
                <a:pos x="2274" y="919"/>
              </a:cxn>
              <a:cxn ang="0">
                <a:pos x="2229" y="1034"/>
              </a:cxn>
              <a:cxn ang="0">
                <a:pos x="2099" y="1054"/>
              </a:cxn>
              <a:cxn ang="0">
                <a:pos x="2004" y="1190"/>
              </a:cxn>
              <a:cxn ang="0">
                <a:pos x="2024" y="1320"/>
              </a:cxn>
              <a:cxn ang="0">
                <a:pos x="1764" y="1565"/>
              </a:cxn>
              <a:cxn ang="0">
                <a:pos x="1814" y="1775"/>
              </a:cxn>
              <a:cxn ang="0">
                <a:pos x="1694" y="1910"/>
              </a:cxn>
              <a:cxn ang="0">
                <a:pos x="1629" y="1830"/>
              </a:cxn>
              <a:cxn ang="0">
                <a:pos x="1509" y="1845"/>
              </a:cxn>
              <a:cxn ang="0">
                <a:pos x="1419" y="1925"/>
              </a:cxn>
              <a:cxn ang="0">
                <a:pos x="1539" y="2055"/>
              </a:cxn>
              <a:cxn ang="0">
                <a:pos x="1559" y="2325"/>
              </a:cxn>
              <a:cxn ang="0">
                <a:pos x="790" y="2196"/>
              </a:cxn>
              <a:cxn ang="0">
                <a:pos x="524" y="2085"/>
              </a:cxn>
              <a:cxn ang="0">
                <a:pos x="324" y="2120"/>
              </a:cxn>
              <a:cxn ang="0">
                <a:pos x="145" y="2130"/>
              </a:cxn>
              <a:cxn ang="0">
                <a:pos x="0" y="2003"/>
              </a:cxn>
              <a:cxn ang="0">
                <a:pos x="28" y="1746"/>
              </a:cxn>
              <a:cxn ang="0">
                <a:pos x="345" y="1740"/>
              </a:cxn>
              <a:cxn ang="0">
                <a:pos x="657" y="1590"/>
              </a:cxn>
              <a:cxn ang="0">
                <a:pos x="802" y="1665"/>
              </a:cxn>
              <a:cxn ang="0">
                <a:pos x="958" y="1532"/>
              </a:cxn>
              <a:cxn ang="0">
                <a:pos x="1063" y="1392"/>
              </a:cxn>
              <a:cxn ang="0">
                <a:pos x="1255" y="1341"/>
              </a:cxn>
              <a:cxn ang="0">
                <a:pos x="879" y="935"/>
              </a:cxn>
              <a:cxn ang="0">
                <a:pos x="670" y="737"/>
              </a:cxn>
              <a:cxn ang="0">
                <a:pos x="625" y="576"/>
              </a:cxn>
              <a:cxn ang="0">
                <a:pos x="519" y="440"/>
              </a:cxn>
              <a:cxn ang="0">
                <a:pos x="925" y="393"/>
              </a:cxn>
              <a:cxn ang="0">
                <a:pos x="988" y="197"/>
              </a:cxn>
              <a:cxn ang="0">
                <a:pos x="1077" y="95"/>
              </a:cxn>
              <a:cxn ang="0">
                <a:pos x="1297" y="198"/>
              </a:cxn>
              <a:cxn ang="0">
                <a:pos x="1589" y="199"/>
              </a:cxn>
              <a:cxn ang="0">
                <a:pos x="1902" y="0"/>
              </a:cxn>
              <a:cxn ang="0">
                <a:pos x="1993" y="60"/>
              </a:cxn>
              <a:cxn ang="0">
                <a:pos x="2011" y="210"/>
              </a:cxn>
              <a:cxn ang="0">
                <a:pos x="2247" y="305"/>
              </a:cxn>
              <a:cxn ang="0">
                <a:pos x="2475" y="644"/>
              </a:cxn>
            </a:cxnLst>
            <a:rect l="0" t="0" r="r" b="b"/>
            <a:pathLst>
              <a:path w="2475" h="2325">
                <a:moveTo>
                  <a:pt x="2475" y="644"/>
                </a:moveTo>
                <a:lnTo>
                  <a:pt x="2439" y="854"/>
                </a:lnTo>
                <a:lnTo>
                  <a:pt x="2274" y="919"/>
                </a:lnTo>
                <a:lnTo>
                  <a:pt x="2229" y="1034"/>
                </a:lnTo>
                <a:lnTo>
                  <a:pt x="2099" y="1054"/>
                </a:lnTo>
                <a:lnTo>
                  <a:pt x="2004" y="1190"/>
                </a:lnTo>
                <a:lnTo>
                  <a:pt x="2024" y="1320"/>
                </a:lnTo>
                <a:lnTo>
                  <a:pt x="1764" y="1565"/>
                </a:lnTo>
                <a:lnTo>
                  <a:pt x="1814" y="1775"/>
                </a:lnTo>
                <a:lnTo>
                  <a:pt x="1694" y="1910"/>
                </a:lnTo>
                <a:lnTo>
                  <a:pt x="1629" y="1830"/>
                </a:lnTo>
                <a:lnTo>
                  <a:pt x="1509" y="1845"/>
                </a:lnTo>
                <a:lnTo>
                  <a:pt x="1419" y="1925"/>
                </a:lnTo>
                <a:lnTo>
                  <a:pt x="1539" y="2055"/>
                </a:lnTo>
                <a:lnTo>
                  <a:pt x="1559" y="2325"/>
                </a:lnTo>
                <a:lnTo>
                  <a:pt x="790" y="2196"/>
                </a:lnTo>
                <a:lnTo>
                  <a:pt x="524" y="2085"/>
                </a:lnTo>
                <a:lnTo>
                  <a:pt x="324" y="2120"/>
                </a:lnTo>
                <a:lnTo>
                  <a:pt x="145" y="2130"/>
                </a:lnTo>
                <a:lnTo>
                  <a:pt x="0" y="2003"/>
                </a:lnTo>
                <a:lnTo>
                  <a:pt x="28" y="1746"/>
                </a:lnTo>
                <a:lnTo>
                  <a:pt x="345" y="1740"/>
                </a:lnTo>
                <a:lnTo>
                  <a:pt x="657" y="1590"/>
                </a:lnTo>
                <a:lnTo>
                  <a:pt x="802" y="1665"/>
                </a:lnTo>
                <a:lnTo>
                  <a:pt x="958" y="1532"/>
                </a:lnTo>
                <a:lnTo>
                  <a:pt x="1063" y="1392"/>
                </a:lnTo>
                <a:lnTo>
                  <a:pt x="1255" y="1341"/>
                </a:lnTo>
                <a:lnTo>
                  <a:pt x="879" y="935"/>
                </a:lnTo>
                <a:lnTo>
                  <a:pt x="670" y="737"/>
                </a:lnTo>
                <a:lnTo>
                  <a:pt x="625" y="576"/>
                </a:lnTo>
                <a:lnTo>
                  <a:pt x="519" y="440"/>
                </a:lnTo>
                <a:lnTo>
                  <a:pt x="925" y="393"/>
                </a:lnTo>
                <a:lnTo>
                  <a:pt x="988" y="197"/>
                </a:lnTo>
                <a:lnTo>
                  <a:pt x="1077" y="95"/>
                </a:lnTo>
                <a:lnTo>
                  <a:pt x="1297" y="198"/>
                </a:lnTo>
                <a:lnTo>
                  <a:pt x="1589" y="199"/>
                </a:lnTo>
                <a:lnTo>
                  <a:pt x="1902" y="0"/>
                </a:lnTo>
                <a:lnTo>
                  <a:pt x="1993" y="60"/>
                </a:lnTo>
                <a:lnTo>
                  <a:pt x="2011" y="210"/>
                </a:lnTo>
                <a:lnTo>
                  <a:pt x="2247" y="305"/>
                </a:lnTo>
                <a:lnTo>
                  <a:pt x="2475" y="644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0" name="Freeform 7"/>
          <p:cNvSpPr>
            <a:spLocks/>
          </p:cNvSpPr>
          <p:nvPr/>
        </p:nvSpPr>
        <p:spPr bwMode="auto">
          <a:xfrm>
            <a:off x="4211246" y="3933857"/>
            <a:ext cx="872071" cy="954883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50" y="395"/>
              </a:cxn>
              <a:cxn ang="0">
                <a:pos x="0" y="665"/>
              </a:cxn>
              <a:cxn ang="0">
                <a:pos x="285" y="795"/>
              </a:cxn>
              <a:cxn ang="0">
                <a:pos x="395" y="980"/>
              </a:cxn>
              <a:cxn ang="0">
                <a:pos x="455" y="1205"/>
              </a:cxn>
              <a:cxn ang="0">
                <a:pos x="260" y="1440"/>
              </a:cxn>
              <a:cxn ang="0">
                <a:pos x="360" y="1610"/>
              </a:cxn>
              <a:cxn ang="0">
                <a:pos x="585" y="1850"/>
              </a:cxn>
              <a:cxn ang="0">
                <a:pos x="735" y="2210"/>
              </a:cxn>
              <a:cxn ang="0">
                <a:pos x="1005" y="2495"/>
              </a:cxn>
              <a:cxn ang="0">
                <a:pos x="1155" y="2480"/>
              </a:cxn>
              <a:cxn ang="0">
                <a:pos x="1201" y="2697"/>
              </a:cxn>
              <a:cxn ang="0">
                <a:pos x="1325" y="2795"/>
              </a:cxn>
              <a:cxn ang="0">
                <a:pos x="1445" y="2780"/>
              </a:cxn>
              <a:cxn ang="0">
                <a:pos x="1561" y="2715"/>
              </a:cxn>
              <a:cxn ang="0">
                <a:pos x="1910" y="2940"/>
              </a:cxn>
              <a:cxn ang="0">
                <a:pos x="2060" y="2835"/>
              </a:cxn>
              <a:cxn ang="0">
                <a:pos x="2120" y="2735"/>
              </a:cxn>
              <a:cxn ang="0">
                <a:pos x="2135" y="2615"/>
              </a:cxn>
              <a:cxn ang="0">
                <a:pos x="2225" y="2585"/>
              </a:cxn>
              <a:cxn ang="0">
                <a:pos x="2475" y="2700"/>
              </a:cxn>
              <a:cxn ang="0">
                <a:pos x="2679" y="2532"/>
              </a:cxn>
              <a:cxn ang="0">
                <a:pos x="2626" y="2408"/>
              </a:cxn>
              <a:cxn ang="0">
                <a:pos x="2509" y="2340"/>
              </a:cxn>
              <a:cxn ang="0">
                <a:pos x="2345" y="2105"/>
              </a:cxn>
              <a:cxn ang="0">
                <a:pos x="2445" y="2010"/>
              </a:cxn>
              <a:cxn ang="0">
                <a:pos x="2495" y="1865"/>
              </a:cxn>
              <a:cxn ang="0">
                <a:pos x="2435" y="1670"/>
              </a:cxn>
              <a:cxn ang="0">
                <a:pos x="2145" y="1550"/>
              </a:cxn>
              <a:cxn ang="0">
                <a:pos x="2120" y="1335"/>
              </a:cxn>
              <a:cxn ang="0">
                <a:pos x="1850" y="1040"/>
              </a:cxn>
              <a:cxn ang="0">
                <a:pos x="1785" y="860"/>
              </a:cxn>
              <a:cxn ang="0">
                <a:pos x="1685" y="965"/>
              </a:cxn>
              <a:cxn ang="0">
                <a:pos x="1545" y="990"/>
              </a:cxn>
              <a:cxn ang="0">
                <a:pos x="1470" y="910"/>
              </a:cxn>
              <a:cxn ang="0">
                <a:pos x="1020" y="765"/>
              </a:cxn>
              <a:cxn ang="0">
                <a:pos x="815" y="810"/>
              </a:cxn>
              <a:cxn ang="0">
                <a:pos x="675" y="440"/>
              </a:cxn>
              <a:cxn ang="0">
                <a:pos x="735" y="320"/>
              </a:cxn>
              <a:cxn ang="0">
                <a:pos x="600" y="260"/>
              </a:cxn>
              <a:cxn ang="0">
                <a:pos x="290" y="0"/>
              </a:cxn>
              <a:cxn ang="0">
                <a:pos x="60" y="0"/>
              </a:cxn>
            </a:cxnLst>
            <a:rect l="0" t="0" r="r" b="b"/>
            <a:pathLst>
              <a:path w="2679" h="2940">
                <a:moveTo>
                  <a:pt x="60" y="0"/>
                </a:moveTo>
                <a:lnTo>
                  <a:pt x="50" y="395"/>
                </a:lnTo>
                <a:lnTo>
                  <a:pt x="0" y="665"/>
                </a:lnTo>
                <a:lnTo>
                  <a:pt x="285" y="795"/>
                </a:lnTo>
                <a:lnTo>
                  <a:pt x="395" y="980"/>
                </a:lnTo>
                <a:lnTo>
                  <a:pt x="455" y="1205"/>
                </a:lnTo>
                <a:lnTo>
                  <a:pt x="260" y="1440"/>
                </a:lnTo>
                <a:lnTo>
                  <a:pt x="360" y="1610"/>
                </a:lnTo>
                <a:lnTo>
                  <a:pt x="585" y="1850"/>
                </a:lnTo>
                <a:lnTo>
                  <a:pt x="735" y="2210"/>
                </a:lnTo>
                <a:lnTo>
                  <a:pt x="1005" y="2495"/>
                </a:lnTo>
                <a:lnTo>
                  <a:pt x="1155" y="2480"/>
                </a:lnTo>
                <a:lnTo>
                  <a:pt x="1201" y="2697"/>
                </a:lnTo>
                <a:lnTo>
                  <a:pt x="1325" y="2795"/>
                </a:lnTo>
                <a:lnTo>
                  <a:pt x="1445" y="2780"/>
                </a:lnTo>
                <a:lnTo>
                  <a:pt x="1561" y="2715"/>
                </a:lnTo>
                <a:lnTo>
                  <a:pt x="1910" y="2940"/>
                </a:lnTo>
                <a:lnTo>
                  <a:pt x="2060" y="2835"/>
                </a:lnTo>
                <a:lnTo>
                  <a:pt x="2120" y="2735"/>
                </a:lnTo>
                <a:lnTo>
                  <a:pt x="2135" y="2615"/>
                </a:lnTo>
                <a:lnTo>
                  <a:pt x="2225" y="2585"/>
                </a:lnTo>
                <a:lnTo>
                  <a:pt x="2475" y="2700"/>
                </a:lnTo>
                <a:lnTo>
                  <a:pt x="2679" y="2532"/>
                </a:lnTo>
                <a:lnTo>
                  <a:pt x="2626" y="2408"/>
                </a:lnTo>
                <a:lnTo>
                  <a:pt x="2509" y="2340"/>
                </a:lnTo>
                <a:lnTo>
                  <a:pt x="2345" y="2105"/>
                </a:lnTo>
                <a:lnTo>
                  <a:pt x="2445" y="2010"/>
                </a:lnTo>
                <a:lnTo>
                  <a:pt x="2495" y="1865"/>
                </a:lnTo>
                <a:lnTo>
                  <a:pt x="2435" y="1670"/>
                </a:lnTo>
                <a:lnTo>
                  <a:pt x="2145" y="1550"/>
                </a:lnTo>
                <a:lnTo>
                  <a:pt x="2120" y="1335"/>
                </a:lnTo>
                <a:lnTo>
                  <a:pt x="1850" y="1040"/>
                </a:lnTo>
                <a:lnTo>
                  <a:pt x="1785" y="860"/>
                </a:lnTo>
                <a:lnTo>
                  <a:pt x="1685" y="965"/>
                </a:lnTo>
                <a:lnTo>
                  <a:pt x="1545" y="990"/>
                </a:lnTo>
                <a:lnTo>
                  <a:pt x="1470" y="910"/>
                </a:lnTo>
                <a:lnTo>
                  <a:pt x="1020" y="765"/>
                </a:lnTo>
                <a:lnTo>
                  <a:pt x="815" y="810"/>
                </a:lnTo>
                <a:lnTo>
                  <a:pt x="675" y="440"/>
                </a:lnTo>
                <a:lnTo>
                  <a:pt x="735" y="320"/>
                </a:lnTo>
                <a:lnTo>
                  <a:pt x="600" y="260"/>
                </a:lnTo>
                <a:lnTo>
                  <a:pt x="290" y="0"/>
                </a:lnTo>
                <a:lnTo>
                  <a:pt x="60" y="0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1" name="Freeform 8"/>
          <p:cNvSpPr>
            <a:spLocks/>
          </p:cNvSpPr>
          <p:nvPr/>
        </p:nvSpPr>
        <p:spPr bwMode="auto">
          <a:xfrm>
            <a:off x="4669252" y="3923717"/>
            <a:ext cx="567860" cy="833199"/>
          </a:xfrm>
          <a:custGeom>
            <a:avLst/>
            <a:gdLst/>
            <a:ahLst/>
            <a:cxnLst>
              <a:cxn ang="0">
                <a:pos x="1679" y="231"/>
              </a:cxn>
              <a:cxn ang="0">
                <a:pos x="1531" y="534"/>
              </a:cxn>
              <a:cxn ang="0">
                <a:pos x="1675" y="668"/>
              </a:cxn>
              <a:cxn ang="0">
                <a:pos x="1680" y="755"/>
              </a:cxn>
              <a:cxn ang="0">
                <a:pos x="1522" y="726"/>
              </a:cxn>
              <a:cxn ang="0">
                <a:pos x="1517" y="952"/>
              </a:cxn>
              <a:cxn ang="0">
                <a:pos x="1493" y="1370"/>
              </a:cxn>
              <a:cxn ang="0">
                <a:pos x="1560" y="1471"/>
              </a:cxn>
              <a:cxn ang="0">
                <a:pos x="1478" y="1586"/>
              </a:cxn>
              <a:cxn ang="0">
                <a:pos x="1632" y="1716"/>
              </a:cxn>
              <a:cxn ang="0">
                <a:pos x="1584" y="1995"/>
              </a:cxn>
              <a:cxn ang="0">
                <a:pos x="1574" y="2119"/>
              </a:cxn>
              <a:cxn ang="0">
                <a:pos x="1488" y="2264"/>
              </a:cxn>
              <a:cxn ang="0">
                <a:pos x="1536" y="2394"/>
              </a:cxn>
              <a:cxn ang="0">
                <a:pos x="1402" y="2423"/>
              </a:cxn>
              <a:cxn ang="0">
                <a:pos x="1223" y="2465"/>
              </a:cxn>
              <a:cxn ang="0">
                <a:pos x="1171" y="2341"/>
              </a:cxn>
              <a:cxn ang="0">
                <a:pos x="1061" y="2278"/>
              </a:cxn>
              <a:cxn ang="0">
                <a:pos x="902" y="2054"/>
              </a:cxn>
              <a:cxn ang="0">
                <a:pos x="999" y="1960"/>
              </a:cxn>
              <a:cxn ang="0">
                <a:pos x="1046" y="1823"/>
              </a:cxn>
              <a:cxn ang="0">
                <a:pos x="990" y="1634"/>
              </a:cxn>
              <a:cxn ang="0">
                <a:pos x="711" y="1519"/>
              </a:cxn>
              <a:cxn ang="0">
                <a:pos x="687" y="1312"/>
              </a:cxn>
              <a:cxn ang="0">
                <a:pos x="429" y="1030"/>
              </a:cxn>
              <a:cxn ang="0">
                <a:pos x="365" y="856"/>
              </a:cxn>
              <a:cxn ang="0">
                <a:pos x="270" y="957"/>
              </a:cxn>
              <a:cxn ang="0">
                <a:pos x="136" y="980"/>
              </a:cxn>
              <a:cxn ang="0">
                <a:pos x="63" y="906"/>
              </a:cxn>
              <a:cxn ang="0">
                <a:pos x="0" y="814"/>
              </a:cxn>
              <a:cxn ang="0">
                <a:pos x="1" y="644"/>
              </a:cxn>
              <a:cxn ang="0">
                <a:pos x="61" y="496"/>
              </a:cxn>
              <a:cxn ang="0">
                <a:pos x="187" y="596"/>
              </a:cxn>
              <a:cxn ang="0">
                <a:pos x="311" y="534"/>
              </a:cxn>
              <a:cxn ang="0">
                <a:pos x="311" y="331"/>
              </a:cxn>
              <a:cxn ang="0">
                <a:pos x="496" y="218"/>
              </a:cxn>
              <a:cxn ang="0">
                <a:pos x="489" y="34"/>
              </a:cxn>
              <a:cxn ang="0">
                <a:pos x="687" y="0"/>
              </a:cxn>
              <a:cxn ang="0">
                <a:pos x="941" y="106"/>
              </a:cxn>
              <a:cxn ang="0">
                <a:pos x="1679" y="231"/>
              </a:cxn>
            </a:cxnLst>
            <a:rect l="0" t="0" r="r" b="b"/>
            <a:pathLst>
              <a:path w="1680" h="2465">
                <a:moveTo>
                  <a:pt x="1679" y="231"/>
                </a:moveTo>
                <a:lnTo>
                  <a:pt x="1531" y="534"/>
                </a:lnTo>
                <a:lnTo>
                  <a:pt x="1675" y="668"/>
                </a:lnTo>
                <a:lnTo>
                  <a:pt x="1680" y="755"/>
                </a:lnTo>
                <a:lnTo>
                  <a:pt x="1522" y="726"/>
                </a:lnTo>
                <a:lnTo>
                  <a:pt x="1517" y="952"/>
                </a:lnTo>
                <a:lnTo>
                  <a:pt x="1493" y="1370"/>
                </a:lnTo>
                <a:lnTo>
                  <a:pt x="1560" y="1471"/>
                </a:lnTo>
                <a:lnTo>
                  <a:pt x="1478" y="1586"/>
                </a:lnTo>
                <a:lnTo>
                  <a:pt x="1632" y="1716"/>
                </a:lnTo>
                <a:lnTo>
                  <a:pt x="1584" y="1995"/>
                </a:lnTo>
                <a:lnTo>
                  <a:pt x="1574" y="2119"/>
                </a:lnTo>
                <a:lnTo>
                  <a:pt x="1488" y="2264"/>
                </a:lnTo>
                <a:lnTo>
                  <a:pt x="1536" y="2394"/>
                </a:lnTo>
                <a:lnTo>
                  <a:pt x="1402" y="2423"/>
                </a:lnTo>
                <a:lnTo>
                  <a:pt x="1223" y="2465"/>
                </a:lnTo>
                <a:lnTo>
                  <a:pt x="1171" y="2341"/>
                </a:lnTo>
                <a:lnTo>
                  <a:pt x="1061" y="2278"/>
                </a:lnTo>
                <a:lnTo>
                  <a:pt x="902" y="2054"/>
                </a:lnTo>
                <a:lnTo>
                  <a:pt x="999" y="1960"/>
                </a:lnTo>
                <a:lnTo>
                  <a:pt x="1046" y="1823"/>
                </a:lnTo>
                <a:lnTo>
                  <a:pt x="990" y="1634"/>
                </a:lnTo>
                <a:lnTo>
                  <a:pt x="711" y="1519"/>
                </a:lnTo>
                <a:lnTo>
                  <a:pt x="687" y="1312"/>
                </a:lnTo>
                <a:lnTo>
                  <a:pt x="429" y="1030"/>
                </a:lnTo>
                <a:lnTo>
                  <a:pt x="365" y="856"/>
                </a:lnTo>
                <a:lnTo>
                  <a:pt x="270" y="957"/>
                </a:lnTo>
                <a:lnTo>
                  <a:pt x="136" y="980"/>
                </a:lnTo>
                <a:lnTo>
                  <a:pt x="63" y="906"/>
                </a:lnTo>
                <a:lnTo>
                  <a:pt x="0" y="814"/>
                </a:lnTo>
                <a:lnTo>
                  <a:pt x="1" y="644"/>
                </a:lnTo>
                <a:lnTo>
                  <a:pt x="61" y="496"/>
                </a:lnTo>
                <a:lnTo>
                  <a:pt x="187" y="596"/>
                </a:lnTo>
                <a:lnTo>
                  <a:pt x="311" y="534"/>
                </a:lnTo>
                <a:lnTo>
                  <a:pt x="311" y="331"/>
                </a:lnTo>
                <a:lnTo>
                  <a:pt x="496" y="218"/>
                </a:lnTo>
                <a:lnTo>
                  <a:pt x="489" y="34"/>
                </a:lnTo>
                <a:lnTo>
                  <a:pt x="687" y="0"/>
                </a:lnTo>
                <a:lnTo>
                  <a:pt x="941" y="106"/>
                </a:lnTo>
                <a:lnTo>
                  <a:pt x="1679" y="231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2" name="Freeform 9"/>
          <p:cNvSpPr>
            <a:spLocks/>
          </p:cNvSpPr>
          <p:nvPr/>
        </p:nvSpPr>
        <p:spPr bwMode="auto">
          <a:xfrm>
            <a:off x="4067591" y="4403694"/>
            <a:ext cx="574620" cy="904181"/>
          </a:xfrm>
          <a:custGeom>
            <a:avLst/>
            <a:gdLst/>
            <a:ahLst/>
            <a:cxnLst>
              <a:cxn ang="0">
                <a:pos x="679" y="0"/>
              </a:cxn>
              <a:cxn ang="0">
                <a:pos x="549" y="83"/>
              </a:cxn>
              <a:cxn ang="0">
                <a:pos x="419" y="89"/>
              </a:cxn>
              <a:cxn ang="0">
                <a:pos x="576" y="576"/>
              </a:cxn>
              <a:cxn ang="0">
                <a:pos x="544" y="870"/>
              </a:cxn>
              <a:cxn ang="0">
                <a:pos x="532" y="1104"/>
              </a:cxn>
              <a:cxn ang="0">
                <a:pos x="34" y="1690"/>
              </a:cxn>
              <a:cxn ang="0">
                <a:pos x="0" y="2129"/>
              </a:cxn>
              <a:cxn ang="0">
                <a:pos x="260" y="2177"/>
              </a:cxn>
              <a:cxn ang="0">
                <a:pos x="341" y="2119"/>
              </a:cxn>
              <a:cxn ang="0">
                <a:pos x="543" y="2292"/>
              </a:cxn>
              <a:cxn ang="0">
                <a:pos x="677" y="2278"/>
              </a:cxn>
              <a:cxn ang="0">
                <a:pos x="688" y="2465"/>
              </a:cxn>
              <a:cxn ang="0">
                <a:pos x="876" y="2565"/>
              </a:cxn>
              <a:cxn ang="0">
                <a:pos x="877" y="2676"/>
              </a:cxn>
              <a:cxn ang="0">
                <a:pos x="985" y="2665"/>
              </a:cxn>
              <a:cxn ang="0">
                <a:pos x="947" y="2461"/>
              </a:cxn>
              <a:cxn ang="0">
                <a:pos x="904" y="2305"/>
              </a:cxn>
              <a:cxn ang="0">
                <a:pos x="925" y="2185"/>
              </a:cxn>
              <a:cxn ang="0">
                <a:pos x="1004" y="2193"/>
              </a:cxn>
              <a:cxn ang="0">
                <a:pos x="1084" y="2113"/>
              </a:cxn>
              <a:cxn ang="0">
                <a:pos x="1147" y="2244"/>
              </a:cxn>
              <a:cxn ang="0">
                <a:pos x="1244" y="2145"/>
              </a:cxn>
              <a:cxn ang="0">
                <a:pos x="1372" y="2165"/>
              </a:cxn>
              <a:cxn ang="0">
                <a:pos x="1453" y="2224"/>
              </a:cxn>
              <a:cxn ang="0">
                <a:pos x="1476" y="2357"/>
              </a:cxn>
              <a:cxn ang="0">
                <a:pos x="1516" y="2382"/>
              </a:cxn>
              <a:cxn ang="0">
                <a:pos x="1596" y="2071"/>
              </a:cxn>
              <a:cxn ang="0">
                <a:pos x="1654" y="1884"/>
              </a:cxn>
              <a:cxn ang="0">
                <a:pos x="1683" y="1586"/>
              </a:cxn>
              <a:cxn ang="0">
                <a:pos x="1659" y="1437"/>
              </a:cxn>
              <a:cxn ang="0">
                <a:pos x="1700" y="1295"/>
              </a:cxn>
              <a:cxn ang="0">
                <a:pos x="1583" y="1206"/>
              </a:cxn>
              <a:cxn ang="0">
                <a:pos x="1535" y="993"/>
              </a:cxn>
              <a:cxn ang="0">
                <a:pos x="1396" y="1008"/>
              </a:cxn>
              <a:cxn ang="0">
                <a:pos x="1138" y="740"/>
              </a:cxn>
              <a:cxn ang="0">
                <a:pos x="990" y="392"/>
              </a:cxn>
              <a:cxn ang="0">
                <a:pos x="778" y="164"/>
              </a:cxn>
              <a:cxn ang="0">
                <a:pos x="679" y="0"/>
              </a:cxn>
            </a:cxnLst>
            <a:rect l="0" t="0" r="r" b="b"/>
            <a:pathLst>
              <a:path w="1700" h="2676">
                <a:moveTo>
                  <a:pt x="679" y="0"/>
                </a:moveTo>
                <a:lnTo>
                  <a:pt x="549" y="83"/>
                </a:lnTo>
                <a:lnTo>
                  <a:pt x="419" y="89"/>
                </a:lnTo>
                <a:lnTo>
                  <a:pt x="576" y="576"/>
                </a:lnTo>
                <a:lnTo>
                  <a:pt x="544" y="870"/>
                </a:lnTo>
                <a:lnTo>
                  <a:pt x="532" y="1104"/>
                </a:lnTo>
                <a:lnTo>
                  <a:pt x="34" y="1690"/>
                </a:lnTo>
                <a:lnTo>
                  <a:pt x="0" y="2129"/>
                </a:lnTo>
                <a:lnTo>
                  <a:pt x="260" y="2177"/>
                </a:lnTo>
                <a:lnTo>
                  <a:pt x="341" y="2119"/>
                </a:lnTo>
                <a:lnTo>
                  <a:pt x="543" y="2292"/>
                </a:lnTo>
                <a:lnTo>
                  <a:pt x="677" y="2278"/>
                </a:lnTo>
                <a:lnTo>
                  <a:pt x="688" y="2465"/>
                </a:lnTo>
                <a:lnTo>
                  <a:pt x="876" y="2565"/>
                </a:lnTo>
                <a:lnTo>
                  <a:pt x="877" y="2676"/>
                </a:lnTo>
                <a:lnTo>
                  <a:pt x="985" y="2665"/>
                </a:lnTo>
                <a:lnTo>
                  <a:pt x="947" y="2461"/>
                </a:lnTo>
                <a:lnTo>
                  <a:pt x="904" y="2305"/>
                </a:lnTo>
                <a:lnTo>
                  <a:pt x="925" y="2185"/>
                </a:lnTo>
                <a:lnTo>
                  <a:pt x="1004" y="2193"/>
                </a:lnTo>
                <a:lnTo>
                  <a:pt x="1084" y="2113"/>
                </a:lnTo>
                <a:lnTo>
                  <a:pt x="1147" y="2244"/>
                </a:lnTo>
                <a:lnTo>
                  <a:pt x="1244" y="2145"/>
                </a:lnTo>
                <a:lnTo>
                  <a:pt x="1372" y="2165"/>
                </a:lnTo>
                <a:lnTo>
                  <a:pt x="1453" y="2224"/>
                </a:lnTo>
                <a:lnTo>
                  <a:pt x="1476" y="2357"/>
                </a:lnTo>
                <a:lnTo>
                  <a:pt x="1516" y="2382"/>
                </a:lnTo>
                <a:lnTo>
                  <a:pt x="1596" y="2071"/>
                </a:lnTo>
                <a:lnTo>
                  <a:pt x="1654" y="1884"/>
                </a:lnTo>
                <a:lnTo>
                  <a:pt x="1683" y="1586"/>
                </a:lnTo>
                <a:lnTo>
                  <a:pt x="1659" y="1437"/>
                </a:lnTo>
                <a:lnTo>
                  <a:pt x="1700" y="1295"/>
                </a:lnTo>
                <a:lnTo>
                  <a:pt x="1583" y="1206"/>
                </a:lnTo>
                <a:lnTo>
                  <a:pt x="1535" y="993"/>
                </a:lnTo>
                <a:lnTo>
                  <a:pt x="1396" y="1008"/>
                </a:lnTo>
                <a:lnTo>
                  <a:pt x="1138" y="740"/>
                </a:lnTo>
                <a:lnTo>
                  <a:pt x="990" y="392"/>
                </a:lnTo>
                <a:lnTo>
                  <a:pt x="778" y="164"/>
                </a:lnTo>
                <a:lnTo>
                  <a:pt x="679" y="0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3" name="Freeform 10"/>
          <p:cNvSpPr>
            <a:spLocks/>
          </p:cNvSpPr>
          <p:nvPr/>
        </p:nvSpPr>
        <p:spPr bwMode="auto">
          <a:xfrm>
            <a:off x="4579679" y="4816068"/>
            <a:ext cx="316042" cy="557720"/>
          </a:xfrm>
          <a:custGeom>
            <a:avLst/>
            <a:gdLst/>
            <a:ahLst/>
            <a:cxnLst>
              <a:cxn ang="0">
                <a:pos x="317" y="1649"/>
              </a:cxn>
              <a:cxn ang="0">
                <a:pos x="140" y="1532"/>
              </a:cxn>
              <a:cxn ang="0">
                <a:pos x="75" y="1259"/>
              </a:cxn>
              <a:cxn ang="0">
                <a:pos x="0" y="1161"/>
              </a:cxn>
              <a:cxn ang="0">
                <a:pos x="82" y="852"/>
              </a:cxn>
              <a:cxn ang="0">
                <a:pos x="140" y="659"/>
              </a:cxn>
              <a:cxn ang="0">
                <a:pos x="168" y="372"/>
              </a:cxn>
              <a:cxn ang="0">
                <a:pos x="145" y="219"/>
              </a:cxn>
              <a:cxn ang="0">
                <a:pos x="187" y="75"/>
              </a:cxn>
              <a:cxn ang="0">
                <a:pos x="302" y="63"/>
              </a:cxn>
              <a:cxn ang="0">
                <a:pos x="412" y="0"/>
              </a:cxn>
              <a:cxn ang="0">
                <a:pos x="751" y="217"/>
              </a:cxn>
              <a:cxn ang="0">
                <a:pos x="850" y="470"/>
              </a:cxn>
              <a:cxn ang="0">
                <a:pos x="935" y="694"/>
              </a:cxn>
              <a:cxn ang="0">
                <a:pos x="887" y="800"/>
              </a:cxn>
              <a:cxn ang="0">
                <a:pos x="929" y="1100"/>
              </a:cxn>
              <a:cxn ang="0">
                <a:pos x="872" y="1233"/>
              </a:cxn>
              <a:cxn ang="0">
                <a:pos x="777" y="1435"/>
              </a:cxn>
              <a:cxn ang="0">
                <a:pos x="599" y="1406"/>
              </a:cxn>
              <a:cxn ang="0">
                <a:pos x="502" y="1573"/>
              </a:cxn>
              <a:cxn ang="0">
                <a:pos x="317" y="1649"/>
              </a:cxn>
            </a:cxnLst>
            <a:rect l="0" t="0" r="r" b="b"/>
            <a:pathLst>
              <a:path w="935" h="1649">
                <a:moveTo>
                  <a:pt x="317" y="1649"/>
                </a:moveTo>
                <a:lnTo>
                  <a:pt x="140" y="1532"/>
                </a:lnTo>
                <a:lnTo>
                  <a:pt x="75" y="1259"/>
                </a:lnTo>
                <a:lnTo>
                  <a:pt x="0" y="1161"/>
                </a:lnTo>
                <a:lnTo>
                  <a:pt x="82" y="852"/>
                </a:lnTo>
                <a:lnTo>
                  <a:pt x="140" y="659"/>
                </a:lnTo>
                <a:lnTo>
                  <a:pt x="168" y="372"/>
                </a:lnTo>
                <a:lnTo>
                  <a:pt x="145" y="219"/>
                </a:lnTo>
                <a:lnTo>
                  <a:pt x="187" y="75"/>
                </a:lnTo>
                <a:lnTo>
                  <a:pt x="302" y="63"/>
                </a:lnTo>
                <a:lnTo>
                  <a:pt x="412" y="0"/>
                </a:lnTo>
                <a:lnTo>
                  <a:pt x="751" y="217"/>
                </a:lnTo>
                <a:lnTo>
                  <a:pt x="850" y="470"/>
                </a:lnTo>
                <a:lnTo>
                  <a:pt x="935" y="694"/>
                </a:lnTo>
                <a:lnTo>
                  <a:pt x="887" y="800"/>
                </a:lnTo>
                <a:lnTo>
                  <a:pt x="929" y="1100"/>
                </a:lnTo>
                <a:lnTo>
                  <a:pt x="872" y="1233"/>
                </a:lnTo>
                <a:lnTo>
                  <a:pt x="777" y="1435"/>
                </a:lnTo>
                <a:lnTo>
                  <a:pt x="599" y="1406"/>
                </a:lnTo>
                <a:lnTo>
                  <a:pt x="502" y="1573"/>
                </a:lnTo>
                <a:lnTo>
                  <a:pt x="317" y="1649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4" name="Freeform 11"/>
          <p:cNvSpPr>
            <a:spLocks/>
          </p:cNvSpPr>
          <p:nvPr/>
        </p:nvSpPr>
        <p:spPr bwMode="auto">
          <a:xfrm>
            <a:off x="4833188" y="4733255"/>
            <a:ext cx="387024" cy="454627"/>
          </a:xfrm>
          <a:custGeom>
            <a:avLst/>
            <a:gdLst/>
            <a:ahLst/>
            <a:cxnLst>
              <a:cxn ang="0">
                <a:pos x="846" y="893"/>
              </a:cxn>
              <a:cxn ang="0">
                <a:pos x="704" y="898"/>
              </a:cxn>
              <a:cxn ang="0">
                <a:pos x="570" y="956"/>
              </a:cxn>
              <a:cxn ang="0">
                <a:pos x="446" y="1042"/>
              </a:cxn>
              <a:cxn ang="0">
                <a:pos x="331" y="1066"/>
              </a:cxn>
              <a:cxn ang="0">
                <a:pos x="178" y="1347"/>
              </a:cxn>
              <a:cxn ang="0">
                <a:pos x="137" y="1047"/>
              </a:cxn>
              <a:cxn ang="0">
                <a:pos x="187" y="937"/>
              </a:cxn>
              <a:cxn ang="0">
                <a:pos x="0" y="460"/>
              </a:cxn>
              <a:cxn ang="0">
                <a:pos x="143" y="360"/>
              </a:cxn>
              <a:cxn ang="0">
                <a:pos x="203" y="264"/>
              </a:cxn>
              <a:cxn ang="0">
                <a:pos x="215" y="147"/>
              </a:cxn>
              <a:cxn ang="0">
                <a:pos x="301" y="120"/>
              </a:cxn>
              <a:cxn ang="0">
                <a:pos x="542" y="231"/>
              </a:cxn>
              <a:cxn ang="0">
                <a:pos x="733" y="72"/>
              </a:cxn>
              <a:cxn ang="0">
                <a:pos x="918" y="26"/>
              </a:cxn>
              <a:cxn ang="0">
                <a:pos x="1049" y="0"/>
              </a:cxn>
              <a:cxn ang="0">
                <a:pos x="1145" y="100"/>
              </a:cxn>
              <a:cxn ang="0">
                <a:pos x="1006" y="322"/>
              </a:cxn>
              <a:cxn ang="0">
                <a:pos x="978" y="475"/>
              </a:cxn>
              <a:cxn ang="0">
                <a:pos x="771" y="509"/>
              </a:cxn>
              <a:cxn ang="0">
                <a:pos x="790" y="663"/>
              </a:cxn>
              <a:cxn ang="0">
                <a:pos x="846" y="893"/>
              </a:cxn>
            </a:cxnLst>
            <a:rect l="0" t="0" r="r" b="b"/>
            <a:pathLst>
              <a:path w="1145" h="1347">
                <a:moveTo>
                  <a:pt x="846" y="893"/>
                </a:moveTo>
                <a:lnTo>
                  <a:pt x="704" y="898"/>
                </a:lnTo>
                <a:lnTo>
                  <a:pt x="570" y="956"/>
                </a:lnTo>
                <a:lnTo>
                  <a:pt x="446" y="1042"/>
                </a:lnTo>
                <a:lnTo>
                  <a:pt x="331" y="1066"/>
                </a:lnTo>
                <a:lnTo>
                  <a:pt x="178" y="1347"/>
                </a:lnTo>
                <a:lnTo>
                  <a:pt x="137" y="1047"/>
                </a:lnTo>
                <a:lnTo>
                  <a:pt x="187" y="937"/>
                </a:lnTo>
                <a:lnTo>
                  <a:pt x="0" y="460"/>
                </a:lnTo>
                <a:lnTo>
                  <a:pt x="143" y="360"/>
                </a:lnTo>
                <a:lnTo>
                  <a:pt x="203" y="264"/>
                </a:lnTo>
                <a:lnTo>
                  <a:pt x="215" y="147"/>
                </a:lnTo>
                <a:lnTo>
                  <a:pt x="301" y="120"/>
                </a:lnTo>
                <a:lnTo>
                  <a:pt x="542" y="231"/>
                </a:lnTo>
                <a:lnTo>
                  <a:pt x="733" y="72"/>
                </a:lnTo>
                <a:lnTo>
                  <a:pt x="918" y="26"/>
                </a:lnTo>
                <a:lnTo>
                  <a:pt x="1049" y="0"/>
                </a:lnTo>
                <a:lnTo>
                  <a:pt x="1145" y="100"/>
                </a:lnTo>
                <a:lnTo>
                  <a:pt x="1006" y="322"/>
                </a:lnTo>
                <a:lnTo>
                  <a:pt x="978" y="475"/>
                </a:lnTo>
                <a:lnTo>
                  <a:pt x="771" y="509"/>
                </a:lnTo>
                <a:lnTo>
                  <a:pt x="790" y="663"/>
                </a:lnTo>
                <a:lnTo>
                  <a:pt x="846" y="893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5" name="Freeform 12"/>
          <p:cNvSpPr>
            <a:spLocks/>
          </p:cNvSpPr>
          <p:nvPr/>
        </p:nvSpPr>
        <p:spPr bwMode="auto">
          <a:xfrm>
            <a:off x="5093457" y="4557489"/>
            <a:ext cx="353223" cy="513778"/>
          </a:xfrm>
          <a:custGeom>
            <a:avLst/>
            <a:gdLst/>
            <a:ahLst/>
            <a:cxnLst>
              <a:cxn ang="0">
                <a:pos x="340" y="125"/>
              </a:cxn>
              <a:cxn ang="0">
                <a:pos x="485" y="0"/>
              </a:cxn>
              <a:cxn ang="0">
                <a:pos x="545" y="65"/>
              </a:cxn>
              <a:cxn ang="0">
                <a:pos x="560" y="170"/>
              </a:cxn>
              <a:cxn ang="0">
                <a:pos x="650" y="180"/>
              </a:cxn>
              <a:cxn ang="0">
                <a:pos x="795" y="135"/>
              </a:cxn>
              <a:cxn ang="0">
                <a:pos x="890" y="365"/>
              </a:cxn>
              <a:cxn ang="0">
                <a:pos x="990" y="425"/>
              </a:cxn>
              <a:cxn ang="0">
                <a:pos x="1085" y="650"/>
              </a:cxn>
              <a:cxn ang="0">
                <a:pos x="960" y="990"/>
              </a:cxn>
              <a:cxn ang="0">
                <a:pos x="780" y="1161"/>
              </a:cxn>
              <a:cxn ang="0">
                <a:pos x="545" y="1290"/>
              </a:cxn>
              <a:cxn ang="0">
                <a:pos x="465" y="1365"/>
              </a:cxn>
              <a:cxn ang="0">
                <a:pos x="425" y="1580"/>
              </a:cxn>
              <a:cxn ang="0">
                <a:pos x="290" y="1520"/>
              </a:cxn>
              <a:cxn ang="0">
                <a:pos x="78" y="1470"/>
              </a:cxn>
              <a:cxn ang="0">
                <a:pos x="19" y="1227"/>
              </a:cxn>
              <a:cxn ang="0">
                <a:pos x="0" y="1070"/>
              </a:cxn>
              <a:cxn ang="0">
                <a:pos x="215" y="1035"/>
              </a:cxn>
              <a:cxn ang="0">
                <a:pos x="245" y="875"/>
              </a:cxn>
              <a:cxn ang="0">
                <a:pos x="390" y="645"/>
              </a:cxn>
              <a:cxn ang="0">
                <a:pos x="291" y="539"/>
              </a:cxn>
              <a:cxn ang="0">
                <a:pos x="240" y="405"/>
              </a:cxn>
              <a:cxn ang="0">
                <a:pos x="330" y="255"/>
              </a:cxn>
              <a:cxn ang="0">
                <a:pos x="340" y="125"/>
              </a:cxn>
            </a:cxnLst>
            <a:rect l="0" t="0" r="r" b="b"/>
            <a:pathLst>
              <a:path w="1085" h="1580">
                <a:moveTo>
                  <a:pt x="340" y="125"/>
                </a:moveTo>
                <a:lnTo>
                  <a:pt x="485" y="0"/>
                </a:lnTo>
                <a:lnTo>
                  <a:pt x="545" y="65"/>
                </a:lnTo>
                <a:lnTo>
                  <a:pt x="560" y="170"/>
                </a:lnTo>
                <a:lnTo>
                  <a:pt x="650" y="180"/>
                </a:lnTo>
                <a:lnTo>
                  <a:pt x="795" y="135"/>
                </a:lnTo>
                <a:lnTo>
                  <a:pt x="890" y="365"/>
                </a:lnTo>
                <a:lnTo>
                  <a:pt x="990" y="425"/>
                </a:lnTo>
                <a:lnTo>
                  <a:pt x="1085" y="650"/>
                </a:lnTo>
                <a:lnTo>
                  <a:pt x="960" y="990"/>
                </a:lnTo>
                <a:lnTo>
                  <a:pt x="780" y="1161"/>
                </a:lnTo>
                <a:lnTo>
                  <a:pt x="545" y="1290"/>
                </a:lnTo>
                <a:lnTo>
                  <a:pt x="465" y="1365"/>
                </a:lnTo>
                <a:lnTo>
                  <a:pt x="425" y="1580"/>
                </a:lnTo>
                <a:lnTo>
                  <a:pt x="290" y="1520"/>
                </a:lnTo>
                <a:lnTo>
                  <a:pt x="78" y="1470"/>
                </a:lnTo>
                <a:lnTo>
                  <a:pt x="19" y="1227"/>
                </a:lnTo>
                <a:lnTo>
                  <a:pt x="0" y="1070"/>
                </a:lnTo>
                <a:lnTo>
                  <a:pt x="215" y="1035"/>
                </a:lnTo>
                <a:lnTo>
                  <a:pt x="245" y="875"/>
                </a:lnTo>
                <a:lnTo>
                  <a:pt x="390" y="645"/>
                </a:lnTo>
                <a:lnTo>
                  <a:pt x="291" y="539"/>
                </a:lnTo>
                <a:lnTo>
                  <a:pt x="240" y="405"/>
                </a:lnTo>
                <a:lnTo>
                  <a:pt x="330" y="255"/>
                </a:lnTo>
                <a:lnTo>
                  <a:pt x="340" y="125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6" name="Freeform 13"/>
          <p:cNvSpPr>
            <a:spLocks/>
          </p:cNvSpPr>
          <p:nvPr/>
        </p:nvSpPr>
        <p:spPr bwMode="auto">
          <a:xfrm>
            <a:off x="4894030" y="5035776"/>
            <a:ext cx="383644" cy="387023"/>
          </a:xfrm>
          <a:custGeom>
            <a:avLst/>
            <a:gdLst/>
            <a:ahLst/>
            <a:cxnLst>
              <a:cxn ang="0">
                <a:pos x="999" y="104"/>
              </a:cxn>
              <a:cxn ang="0">
                <a:pos x="909" y="346"/>
              </a:cxn>
              <a:cxn ang="0">
                <a:pos x="981" y="582"/>
              </a:cxn>
              <a:cxn ang="0">
                <a:pos x="1135" y="669"/>
              </a:cxn>
              <a:cxn ang="0">
                <a:pos x="1072" y="924"/>
              </a:cxn>
              <a:cxn ang="0">
                <a:pos x="845" y="947"/>
              </a:cxn>
              <a:cxn ang="0">
                <a:pos x="736" y="1145"/>
              </a:cxn>
              <a:cxn ang="0">
                <a:pos x="635" y="986"/>
              </a:cxn>
              <a:cxn ang="0">
                <a:pos x="423" y="938"/>
              </a:cxn>
              <a:cxn ang="0">
                <a:pos x="332" y="823"/>
              </a:cxn>
              <a:cxn ang="0">
                <a:pos x="0" y="447"/>
              </a:cxn>
              <a:cxn ang="0">
                <a:pos x="151" y="171"/>
              </a:cxn>
              <a:cxn ang="0">
                <a:pos x="266" y="149"/>
              </a:cxn>
              <a:cxn ang="0">
                <a:pos x="387" y="64"/>
              </a:cxn>
              <a:cxn ang="0">
                <a:pos x="520" y="5"/>
              </a:cxn>
              <a:cxn ang="0">
                <a:pos x="668" y="0"/>
              </a:cxn>
              <a:cxn ang="0">
                <a:pos x="871" y="49"/>
              </a:cxn>
              <a:cxn ang="0">
                <a:pos x="999" y="104"/>
              </a:cxn>
            </a:cxnLst>
            <a:rect l="0" t="0" r="r" b="b"/>
            <a:pathLst>
              <a:path w="1135" h="1145">
                <a:moveTo>
                  <a:pt x="999" y="104"/>
                </a:moveTo>
                <a:lnTo>
                  <a:pt x="909" y="346"/>
                </a:lnTo>
                <a:lnTo>
                  <a:pt x="981" y="582"/>
                </a:lnTo>
                <a:lnTo>
                  <a:pt x="1135" y="669"/>
                </a:lnTo>
                <a:lnTo>
                  <a:pt x="1072" y="924"/>
                </a:lnTo>
                <a:lnTo>
                  <a:pt x="845" y="947"/>
                </a:lnTo>
                <a:lnTo>
                  <a:pt x="736" y="1145"/>
                </a:lnTo>
                <a:lnTo>
                  <a:pt x="635" y="986"/>
                </a:lnTo>
                <a:lnTo>
                  <a:pt x="423" y="938"/>
                </a:lnTo>
                <a:lnTo>
                  <a:pt x="332" y="823"/>
                </a:lnTo>
                <a:lnTo>
                  <a:pt x="0" y="447"/>
                </a:lnTo>
                <a:lnTo>
                  <a:pt x="151" y="171"/>
                </a:lnTo>
                <a:lnTo>
                  <a:pt x="266" y="149"/>
                </a:lnTo>
                <a:lnTo>
                  <a:pt x="387" y="64"/>
                </a:lnTo>
                <a:lnTo>
                  <a:pt x="520" y="5"/>
                </a:lnTo>
                <a:lnTo>
                  <a:pt x="668" y="0"/>
                </a:lnTo>
                <a:lnTo>
                  <a:pt x="871" y="49"/>
                </a:lnTo>
                <a:lnTo>
                  <a:pt x="999" y="104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7" name="Freeform 14"/>
          <p:cNvSpPr>
            <a:spLocks/>
          </p:cNvSpPr>
          <p:nvPr/>
        </p:nvSpPr>
        <p:spPr bwMode="auto">
          <a:xfrm>
            <a:off x="5201621" y="4768747"/>
            <a:ext cx="371813" cy="500258"/>
          </a:xfrm>
          <a:custGeom>
            <a:avLst/>
            <a:gdLst/>
            <a:ahLst/>
            <a:cxnLst>
              <a:cxn ang="0">
                <a:pos x="754" y="0"/>
              </a:cxn>
              <a:cxn ang="0">
                <a:pos x="885" y="44"/>
              </a:cxn>
              <a:cxn ang="0">
                <a:pos x="1010" y="254"/>
              </a:cxn>
              <a:cxn ang="0">
                <a:pos x="1145" y="379"/>
              </a:cxn>
              <a:cxn ang="0">
                <a:pos x="920" y="444"/>
              </a:cxn>
              <a:cxn ang="0">
                <a:pos x="1110" y="479"/>
              </a:cxn>
              <a:cxn ang="0">
                <a:pos x="1020" y="564"/>
              </a:cxn>
              <a:cxn ang="0">
                <a:pos x="825" y="479"/>
              </a:cxn>
              <a:cxn ang="0">
                <a:pos x="785" y="659"/>
              </a:cxn>
              <a:cxn ang="0">
                <a:pos x="690" y="834"/>
              </a:cxn>
              <a:cxn ang="0">
                <a:pos x="530" y="929"/>
              </a:cxn>
              <a:cxn ang="0">
                <a:pos x="615" y="999"/>
              </a:cxn>
              <a:cxn ang="0">
                <a:pos x="815" y="974"/>
              </a:cxn>
              <a:cxn ang="0">
                <a:pos x="755" y="1064"/>
              </a:cxn>
              <a:cxn ang="0">
                <a:pos x="660" y="1089"/>
              </a:cxn>
              <a:cxn ang="0">
                <a:pos x="710" y="1239"/>
              </a:cxn>
              <a:cxn ang="0">
                <a:pos x="540" y="1304"/>
              </a:cxn>
              <a:cxn ang="0">
                <a:pos x="455" y="1409"/>
              </a:cxn>
              <a:cxn ang="0">
                <a:pos x="410" y="1539"/>
              </a:cxn>
              <a:cxn ang="0">
                <a:pos x="330" y="1509"/>
              </a:cxn>
              <a:cxn ang="0">
                <a:pos x="300" y="1314"/>
              </a:cxn>
              <a:cxn ang="0">
                <a:pos x="230" y="1254"/>
              </a:cxn>
              <a:cxn ang="0">
                <a:pos x="235" y="1515"/>
              </a:cxn>
              <a:cxn ang="0">
                <a:pos x="75" y="1424"/>
              </a:cxn>
              <a:cxn ang="0">
                <a:pos x="0" y="1179"/>
              </a:cxn>
              <a:cxn ang="0">
                <a:pos x="55" y="1035"/>
              </a:cxn>
              <a:cxn ang="0">
                <a:pos x="185" y="1134"/>
              </a:cxn>
              <a:cxn ang="0">
                <a:pos x="315" y="1119"/>
              </a:cxn>
              <a:cxn ang="0">
                <a:pos x="290" y="929"/>
              </a:cxn>
              <a:cxn ang="0">
                <a:pos x="290" y="794"/>
              </a:cxn>
              <a:cxn ang="0">
                <a:pos x="217" y="638"/>
              </a:cxn>
              <a:cxn ang="0">
                <a:pos x="450" y="509"/>
              </a:cxn>
              <a:cxn ang="0">
                <a:pos x="630" y="339"/>
              </a:cxn>
              <a:cxn ang="0">
                <a:pos x="754" y="0"/>
              </a:cxn>
            </a:cxnLst>
            <a:rect l="0" t="0" r="r" b="b"/>
            <a:pathLst>
              <a:path w="1145" h="1539">
                <a:moveTo>
                  <a:pt x="754" y="0"/>
                </a:moveTo>
                <a:lnTo>
                  <a:pt x="885" y="44"/>
                </a:lnTo>
                <a:lnTo>
                  <a:pt x="1010" y="254"/>
                </a:lnTo>
                <a:lnTo>
                  <a:pt x="1145" y="379"/>
                </a:lnTo>
                <a:lnTo>
                  <a:pt x="920" y="444"/>
                </a:lnTo>
                <a:lnTo>
                  <a:pt x="1110" y="479"/>
                </a:lnTo>
                <a:lnTo>
                  <a:pt x="1020" y="564"/>
                </a:lnTo>
                <a:lnTo>
                  <a:pt x="825" y="479"/>
                </a:lnTo>
                <a:lnTo>
                  <a:pt x="785" y="659"/>
                </a:lnTo>
                <a:lnTo>
                  <a:pt x="690" y="834"/>
                </a:lnTo>
                <a:lnTo>
                  <a:pt x="530" y="929"/>
                </a:lnTo>
                <a:lnTo>
                  <a:pt x="615" y="999"/>
                </a:lnTo>
                <a:lnTo>
                  <a:pt x="815" y="974"/>
                </a:lnTo>
                <a:lnTo>
                  <a:pt x="755" y="1064"/>
                </a:lnTo>
                <a:lnTo>
                  <a:pt x="660" y="1089"/>
                </a:lnTo>
                <a:lnTo>
                  <a:pt x="710" y="1239"/>
                </a:lnTo>
                <a:lnTo>
                  <a:pt x="540" y="1304"/>
                </a:lnTo>
                <a:lnTo>
                  <a:pt x="455" y="1409"/>
                </a:lnTo>
                <a:lnTo>
                  <a:pt x="410" y="1539"/>
                </a:lnTo>
                <a:lnTo>
                  <a:pt x="330" y="1509"/>
                </a:lnTo>
                <a:lnTo>
                  <a:pt x="300" y="1314"/>
                </a:lnTo>
                <a:lnTo>
                  <a:pt x="230" y="1254"/>
                </a:lnTo>
                <a:lnTo>
                  <a:pt x="235" y="1515"/>
                </a:lnTo>
                <a:lnTo>
                  <a:pt x="75" y="1424"/>
                </a:lnTo>
                <a:lnTo>
                  <a:pt x="0" y="1179"/>
                </a:lnTo>
                <a:lnTo>
                  <a:pt x="55" y="1035"/>
                </a:lnTo>
                <a:lnTo>
                  <a:pt x="185" y="1134"/>
                </a:lnTo>
                <a:lnTo>
                  <a:pt x="315" y="1119"/>
                </a:lnTo>
                <a:lnTo>
                  <a:pt x="290" y="929"/>
                </a:lnTo>
                <a:lnTo>
                  <a:pt x="290" y="794"/>
                </a:lnTo>
                <a:lnTo>
                  <a:pt x="217" y="638"/>
                </a:lnTo>
                <a:lnTo>
                  <a:pt x="450" y="509"/>
                </a:lnTo>
                <a:lnTo>
                  <a:pt x="630" y="339"/>
                </a:lnTo>
                <a:lnTo>
                  <a:pt x="754" y="0"/>
                </a:lnTo>
                <a:close/>
              </a:path>
            </a:pathLst>
          </a:custGeom>
          <a:solidFill>
            <a:schemeClr val="bg2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8" name="Freeform 15"/>
          <p:cNvSpPr>
            <a:spLocks/>
          </p:cNvSpPr>
          <p:nvPr/>
        </p:nvSpPr>
        <p:spPr bwMode="auto">
          <a:xfrm>
            <a:off x="4593199" y="5187882"/>
            <a:ext cx="556030" cy="549269"/>
          </a:xfrm>
          <a:custGeom>
            <a:avLst/>
            <a:gdLst/>
            <a:ahLst/>
            <a:cxnLst>
              <a:cxn ang="0">
                <a:pos x="895" y="1532"/>
              </a:cxn>
              <a:cxn ang="0">
                <a:pos x="615" y="1692"/>
              </a:cxn>
              <a:cxn ang="0">
                <a:pos x="460" y="1467"/>
              </a:cxn>
              <a:cxn ang="0">
                <a:pos x="450" y="1307"/>
              </a:cxn>
              <a:cxn ang="0">
                <a:pos x="400" y="1182"/>
              </a:cxn>
              <a:cxn ang="0">
                <a:pos x="270" y="1272"/>
              </a:cxn>
              <a:cxn ang="0">
                <a:pos x="0" y="1202"/>
              </a:cxn>
              <a:cxn ang="0">
                <a:pos x="90" y="947"/>
              </a:cxn>
              <a:cxn ang="0">
                <a:pos x="286" y="570"/>
              </a:cxn>
              <a:cxn ang="0">
                <a:pos x="480" y="492"/>
              </a:cxn>
              <a:cxn ang="0">
                <a:pos x="580" y="317"/>
              </a:cxn>
              <a:cxn ang="0">
                <a:pos x="765" y="347"/>
              </a:cxn>
              <a:cxn ang="0">
                <a:pos x="868" y="131"/>
              </a:cxn>
              <a:cxn ang="0">
                <a:pos x="926" y="0"/>
              </a:cxn>
              <a:cxn ang="0">
                <a:pos x="1268" y="386"/>
              </a:cxn>
              <a:cxn ang="0">
                <a:pos x="1364" y="507"/>
              </a:cxn>
              <a:cxn ang="0">
                <a:pos x="1585" y="555"/>
              </a:cxn>
              <a:cxn ang="0">
                <a:pos x="1691" y="722"/>
              </a:cxn>
              <a:cxn ang="0">
                <a:pos x="1710" y="822"/>
              </a:cxn>
              <a:cxn ang="0">
                <a:pos x="1560" y="942"/>
              </a:cxn>
              <a:cxn ang="0">
                <a:pos x="1585" y="1167"/>
              </a:cxn>
              <a:cxn ang="0">
                <a:pos x="1530" y="1362"/>
              </a:cxn>
              <a:cxn ang="0">
                <a:pos x="1365" y="1232"/>
              </a:cxn>
              <a:cxn ang="0">
                <a:pos x="1165" y="1187"/>
              </a:cxn>
              <a:cxn ang="0">
                <a:pos x="1075" y="1292"/>
              </a:cxn>
              <a:cxn ang="0">
                <a:pos x="1125" y="1487"/>
              </a:cxn>
              <a:cxn ang="0">
                <a:pos x="1035" y="1617"/>
              </a:cxn>
              <a:cxn ang="0">
                <a:pos x="895" y="1532"/>
              </a:cxn>
            </a:cxnLst>
            <a:rect l="0" t="0" r="r" b="b"/>
            <a:pathLst>
              <a:path w="1710" h="1692">
                <a:moveTo>
                  <a:pt x="895" y="1532"/>
                </a:moveTo>
                <a:lnTo>
                  <a:pt x="615" y="1692"/>
                </a:lnTo>
                <a:lnTo>
                  <a:pt x="460" y="1467"/>
                </a:lnTo>
                <a:lnTo>
                  <a:pt x="450" y="1307"/>
                </a:lnTo>
                <a:lnTo>
                  <a:pt x="400" y="1182"/>
                </a:lnTo>
                <a:lnTo>
                  <a:pt x="270" y="1272"/>
                </a:lnTo>
                <a:lnTo>
                  <a:pt x="0" y="1202"/>
                </a:lnTo>
                <a:lnTo>
                  <a:pt x="90" y="947"/>
                </a:lnTo>
                <a:lnTo>
                  <a:pt x="286" y="570"/>
                </a:lnTo>
                <a:lnTo>
                  <a:pt x="480" y="492"/>
                </a:lnTo>
                <a:lnTo>
                  <a:pt x="580" y="317"/>
                </a:lnTo>
                <a:lnTo>
                  <a:pt x="765" y="347"/>
                </a:lnTo>
                <a:lnTo>
                  <a:pt x="868" y="131"/>
                </a:lnTo>
                <a:lnTo>
                  <a:pt x="926" y="0"/>
                </a:lnTo>
                <a:lnTo>
                  <a:pt x="1268" y="386"/>
                </a:lnTo>
                <a:lnTo>
                  <a:pt x="1364" y="507"/>
                </a:lnTo>
                <a:lnTo>
                  <a:pt x="1585" y="555"/>
                </a:lnTo>
                <a:lnTo>
                  <a:pt x="1691" y="722"/>
                </a:lnTo>
                <a:lnTo>
                  <a:pt x="1710" y="822"/>
                </a:lnTo>
                <a:lnTo>
                  <a:pt x="1560" y="942"/>
                </a:lnTo>
                <a:lnTo>
                  <a:pt x="1585" y="1167"/>
                </a:lnTo>
                <a:lnTo>
                  <a:pt x="1530" y="1362"/>
                </a:lnTo>
                <a:lnTo>
                  <a:pt x="1365" y="1232"/>
                </a:lnTo>
                <a:lnTo>
                  <a:pt x="1165" y="1187"/>
                </a:lnTo>
                <a:lnTo>
                  <a:pt x="1075" y="1292"/>
                </a:lnTo>
                <a:lnTo>
                  <a:pt x="1125" y="1487"/>
                </a:lnTo>
                <a:lnTo>
                  <a:pt x="1035" y="1617"/>
                </a:lnTo>
                <a:lnTo>
                  <a:pt x="895" y="1532"/>
                </a:lnTo>
                <a:close/>
              </a:path>
            </a:pathLst>
          </a:custGeom>
          <a:solidFill>
            <a:schemeClr val="tx2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9" name="Freeform 16"/>
          <p:cNvSpPr>
            <a:spLocks/>
          </p:cNvSpPr>
          <p:nvPr/>
        </p:nvSpPr>
        <p:spPr bwMode="auto">
          <a:xfrm>
            <a:off x="4326170" y="5571525"/>
            <a:ext cx="557720" cy="498568"/>
          </a:xfrm>
          <a:custGeom>
            <a:avLst/>
            <a:gdLst/>
            <a:ahLst/>
            <a:cxnLst>
              <a:cxn ang="0">
                <a:pos x="1573" y="1124"/>
              </a:cxn>
              <a:cxn ang="0">
                <a:pos x="1393" y="1099"/>
              </a:cxn>
              <a:cxn ang="0">
                <a:pos x="1273" y="1189"/>
              </a:cxn>
              <a:cxn ang="0">
                <a:pos x="1133" y="1094"/>
              </a:cxn>
              <a:cxn ang="0">
                <a:pos x="878" y="1159"/>
              </a:cxn>
              <a:cxn ang="0">
                <a:pos x="823" y="1279"/>
              </a:cxn>
              <a:cxn ang="0">
                <a:pos x="848" y="1409"/>
              </a:cxn>
              <a:cxn ang="0">
                <a:pos x="788" y="1534"/>
              </a:cxn>
              <a:cxn ang="0">
                <a:pos x="718" y="1379"/>
              </a:cxn>
              <a:cxn ang="0">
                <a:pos x="613" y="1324"/>
              </a:cxn>
              <a:cxn ang="0">
                <a:pos x="345" y="1339"/>
              </a:cxn>
              <a:cxn ang="0">
                <a:pos x="344" y="1339"/>
              </a:cxn>
              <a:cxn ang="0">
                <a:pos x="279" y="1251"/>
              </a:cxn>
              <a:cxn ang="0">
                <a:pos x="155" y="1204"/>
              </a:cxn>
              <a:cxn ang="0">
                <a:pos x="0" y="1236"/>
              </a:cxn>
              <a:cxn ang="0">
                <a:pos x="36" y="1131"/>
              </a:cxn>
              <a:cxn ang="0">
                <a:pos x="419" y="679"/>
              </a:cxn>
              <a:cxn ang="0">
                <a:pos x="488" y="405"/>
              </a:cxn>
              <a:cxn ang="0">
                <a:pos x="578" y="322"/>
              </a:cxn>
              <a:cxn ang="0">
                <a:pos x="688" y="343"/>
              </a:cxn>
              <a:cxn ang="0">
                <a:pos x="825" y="19"/>
              </a:cxn>
              <a:cxn ang="0">
                <a:pos x="1092" y="88"/>
              </a:cxn>
              <a:cxn ang="0">
                <a:pos x="1224" y="0"/>
              </a:cxn>
              <a:cxn ang="0">
                <a:pos x="1273" y="123"/>
              </a:cxn>
              <a:cxn ang="0">
                <a:pos x="1284" y="288"/>
              </a:cxn>
              <a:cxn ang="0">
                <a:pos x="1439" y="508"/>
              </a:cxn>
              <a:cxn ang="0">
                <a:pos x="1718" y="348"/>
              </a:cxn>
              <a:cxn ang="0">
                <a:pos x="1679" y="658"/>
              </a:cxn>
              <a:cxn ang="0">
                <a:pos x="1599" y="919"/>
              </a:cxn>
              <a:cxn ang="0">
                <a:pos x="1573" y="1124"/>
              </a:cxn>
            </a:cxnLst>
            <a:rect l="0" t="0" r="r" b="b"/>
            <a:pathLst>
              <a:path w="1718" h="1534">
                <a:moveTo>
                  <a:pt x="1573" y="1124"/>
                </a:moveTo>
                <a:lnTo>
                  <a:pt x="1393" y="1099"/>
                </a:lnTo>
                <a:lnTo>
                  <a:pt x="1273" y="1189"/>
                </a:lnTo>
                <a:lnTo>
                  <a:pt x="1133" y="1094"/>
                </a:lnTo>
                <a:lnTo>
                  <a:pt x="878" y="1159"/>
                </a:lnTo>
                <a:lnTo>
                  <a:pt x="823" y="1279"/>
                </a:lnTo>
                <a:lnTo>
                  <a:pt x="848" y="1409"/>
                </a:lnTo>
                <a:lnTo>
                  <a:pt x="788" y="1534"/>
                </a:lnTo>
                <a:lnTo>
                  <a:pt x="718" y="1379"/>
                </a:lnTo>
                <a:lnTo>
                  <a:pt x="613" y="1324"/>
                </a:lnTo>
                <a:lnTo>
                  <a:pt x="345" y="1339"/>
                </a:lnTo>
                <a:lnTo>
                  <a:pt x="344" y="1339"/>
                </a:lnTo>
                <a:lnTo>
                  <a:pt x="279" y="1251"/>
                </a:lnTo>
                <a:lnTo>
                  <a:pt x="155" y="1204"/>
                </a:lnTo>
                <a:lnTo>
                  <a:pt x="0" y="1236"/>
                </a:lnTo>
                <a:lnTo>
                  <a:pt x="36" y="1131"/>
                </a:lnTo>
                <a:lnTo>
                  <a:pt x="419" y="679"/>
                </a:lnTo>
                <a:lnTo>
                  <a:pt x="488" y="405"/>
                </a:lnTo>
                <a:lnTo>
                  <a:pt x="578" y="322"/>
                </a:lnTo>
                <a:lnTo>
                  <a:pt x="688" y="343"/>
                </a:lnTo>
                <a:lnTo>
                  <a:pt x="825" y="19"/>
                </a:lnTo>
                <a:lnTo>
                  <a:pt x="1092" y="88"/>
                </a:lnTo>
                <a:lnTo>
                  <a:pt x="1224" y="0"/>
                </a:lnTo>
                <a:lnTo>
                  <a:pt x="1273" y="123"/>
                </a:lnTo>
                <a:lnTo>
                  <a:pt x="1284" y="288"/>
                </a:lnTo>
                <a:lnTo>
                  <a:pt x="1439" y="508"/>
                </a:lnTo>
                <a:lnTo>
                  <a:pt x="1718" y="348"/>
                </a:lnTo>
                <a:lnTo>
                  <a:pt x="1679" y="658"/>
                </a:lnTo>
                <a:lnTo>
                  <a:pt x="1599" y="919"/>
                </a:lnTo>
                <a:lnTo>
                  <a:pt x="1573" y="1124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60" name="Freeform 17"/>
          <p:cNvSpPr>
            <a:spLocks/>
          </p:cNvSpPr>
          <p:nvPr/>
        </p:nvSpPr>
        <p:spPr bwMode="auto">
          <a:xfrm>
            <a:off x="4368422" y="5926437"/>
            <a:ext cx="561100" cy="319422"/>
          </a:xfrm>
          <a:custGeom>
            <a:avLst/>
            <a:gdLst/>
            <a:ahLst/>
            <a:cxnLst>
              <a:cxn ang="0">
                <a:pos x="1389" y="30"/>
              </a:cxn>
              <a:cxn ang="0">
                <a:pos x="1660" y="318"/>
              </a:cxn>
              <a:cxn ang="0">
                <a:pos x="1615" y="410"/>
              </a:cxn>
              <a:cxn ang="0">
                <a:pos x="1460" y="425"/>
              </a:cxn>
              <a:cxn ang="0">
                <a:pos x="1355" y="636"/>
              </a:cxn>
              <a:cxn ang="0">
                <a:pos x="1338" y="816"/>
              </a:cxn>
              <a:cxn ang="0">
                <a:pos x="1283" y="896"/>
              </a:cxn>
              <a:cxn ang="0">
                <a:pos x="889" y="944"/>
              </a:cxn>
              <a:cxn ang="0">
                <a:pos x="747" y="909"/>
              </a:cxn>
              <a:cxn ang="0">
                <a:pos x="438" y="814"/>
              </a:cxn>
              <a:cxn ang="0">
                <a:pos x="248" y="927"/>
              </a:cxn>
              <a:cxn ang="0">
                <a:pos x="95" y="894"/>
              </a:cxn>
              <a:cxn ang="0">
                <a:pos x="89" y="710"/>
              </a:cxn>
              <a:cxn ang="0">
                <a:pos x="0" y="447"/>
              </a:cxn>
              <a:cxn ang="0">
                <a:pos x="165" y="383"/>
              </a:cxn>
              <a:cxn ang="0">
                <a:pos x="260" y="333"/>
              </a:cxn>
              <a:cxn ang="0">
                <a:pos x="208" y="238"/>
              </a:cxn>
              <a:cxn ang="0">
                <a:pos x="461" y="221"/>
              </a:cxn>
              <a:cxn ang="0">
                <a:pos x="569" y="277"/>
              </a:cxn>
              <a:cxn ang="0">
                <a:pos x="632" y="422"/>
              </a:cxn>
              <a:cxn ang="0">
                <a:pos x="690" y="305"/>
              </a:cxn>
              <a:cxn ang="0">
                <a:pos x="663" y="179"/>
              </a:cxn>
              <a:cxn ang="0">
                <a:pos x="716" y="65"/>
              </a:cxn>
              <a:cxn ang="0">
                <a:pos x="962" y="0"/>
              </a:cxn>
              <a:cxn ang="0">
                <a:pos x="1097" y="93"/>
              </a:cxn>
              <a:cxn ang="0">
                <a:pos x="1208" y="6"/>
              </a:cxn>
              <a:cxn ang="0">
                <a:pos x="1389" y="30"/>
              </a:cxn>
            </a:cxnLst>
            <a:rect l="0" t="0" r="r" b="b"/>
            <a:pathLst>
              <a:path w="1660" h="944">
                <a:moveTo>
                  <a:pt x="1389" y="30"/>
                </a:moveTo>
                <a:lnTo>
                  <a:pt x="1660" y="318"/>
                </a:lnTo>
                <a:lnTo>
                  <a:pt x="1615" y="410"/>
                </a:lnTo>
                <a:lnTo>
                  <a:pt x="1460" y="425"/>
                </a:lnTo>
                <a:lnTo>
                  <a:pt x="1355" y="636"/>
                </a:lnTo>
                <a:lnTo>
                  <a:pt x="1338" y="816"/>
                </a:lnTo>
                <a:lnTo>
                  <a:pt x="1283" y="896"/>
                </a:lnTo>
                <a:lnTo>
                  <a:pt x="889" y="944"/>
                </a:lnTo>
                <a:lnTo>
                  <a:pt x="747" y="909"/>
                </a:lnTo>
                <a:lnTo>
                  <a:pt x="438" y="814"/>
                </a:lnTo>
                <a:lnTo>
                  <a:pt x="248" y="927"/>
                </a:lnTo>
                <a:lnTo>
                  <a:pt x="95" y="894"/>
                </a:lnTo>
                <a:lnTo>
                  <a:pt x="89" y="710"/>
                </a:lnTo>
                <a:lnTo>
                  <a:pt x="0" y="447"/>
                </a:lnTo>
                <a:lnTo>
                  <a:pt x="165" y="383"/>
                </a:lnTo>
                <a:lnTo>
                  <a:pt x="260" y="333"/>
                </a:lnTo>
                <a:lnTo>
                  <a:pt x="208" y="238"/>
                </a:lnTo>
                <a:lnTo>
                  <a:pt x="461" y="221"/>
                </a:lnTo>
                <a:lnTo>
                  <a:pt x="569" y="277"/>
                </a:lnTo>
                <a:lnTo>
                  <a:pt x="632" y="422"/>
                </a:lnTo>
                <a:lnTo>
                  <a:pt x="690" y="305"/>
                </a:lnTo>
                <a:lnTo>
                  <a:pt x="663" y="179"/>
                </a:lnTo>
                <a:lnTo>
                  <a:pt x="716" y="65"/>
                </a:lnTo>
                <a:lnTo>
                  <a:pt x="962" y="0"/>
                </a:lnTo>
                <a:lnTo>
                  <a:pt x="1097" y="93"/>
                </a:lnTo>
                <a:lnTo>
                  <a:pt x="1208" y="6"/>
                </a:lnTo>
                <a:lnTo>
                  <a:pt x="1389" y="30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61" name="Freeform 18"/>
          <p:cNvSpPr>
            <a:spLocks/>
          </p:cNvSpPr>
          <p:nvPr/>
        </p:nvSpPr>
        <p:spPr bwMode="auto">
          <a:xfrm>
            <a:off x="4821358" y="5573215"/>
            <a:ext cx="356602" cy="762216"/>
          </a:xfrm>
          <a:custGeom>
            <a:avLst/>
            <a:gdLst/>
            <a:ahLst/>
            <a:cxnLst>
              <a:cxn ang="0">
                <a:pos x="498" y="2033"/>
              </a:cxn>
              <a:cxn ang="0">
                <a:pos x="332" y="1992"/>
              </a:cxn>
              <a:cxn ang="0">
                <a:pos x="117" y="1941"/>
              </a:cxn>
              <a:cxn ang="0">
                <a:pos x="0" y="1862"/>
              </a:cxn>
              <a:cxn ang="0">
                <a:pos x="14" y="1689"/>
              </a:cxn>
              <a:cxn ang="0">
                <a:pos x="120" y="1472"/>
              </a:cxn>
              <a:cxn ang="0">
                <a:pos x="275" y="1458"/>
              </a:cxn>
              <a:cxn ang="0">
                <a:pos x="321" y="1365"/>
              </a:cxn>
              <a:cxn ang="0">
                <a:pos x="46" y="1073"/>
              </a:cxn>
              <a:cxn ang="0">
                <a:pos x="72" y="880"/>
              </a:cxn>
              <a:cxn ang="0">
                <a:pos x="145" y="630"/>
              </a:cxn>
              <a:cxn ang="0">
                <a:pos x="184" y="329"/>
              </a:cxn>
              <a:cxn ang="0">
                <a:pos x="318" y="413"/>
              </a:cxn>
              <a:cxn ang="0">
                <a:pos x="409" y="287"/>
              </a:cxn>
              <a:cxn ang="0">
                <a:pos x="362" y="101"/>
              </a:cxn>
              <a:cxn ang="0">
                <a:pos x="449" y="0"/>
              </a:cxn>
              <a:cxn ang="0">
                <a:pos x="641" y="43"/>
              </a:cxn>
              <a:cxn ang="0">
                <a:pos x="799" y="168"/>
              </a:cxn>
              <a:cxn ang="0">
                <a:pos x="694" y="361"/>
              </a:cxn>
              <a:cxn ang="0">
                <a:pos x="713" y="471"/>
              </a:cxn>
              <a:cxn ang="0">
                <a:pos x="809" y="572"/>
              </a:cxn>
              <a:cxn ang="0">
                <a:pos x="679" y="688"/>
              </a:cxn>
              <a:cxn ang="0">
                <a:pos x="795" y="779"/>
              </a:cxn>
              <a:cxn ang="0">
                <a:pos x="665" y="1106"/>
              </a:cxn>
              <a:cxn ang="0">
                <a:pos x="713" y="1222"/>
              </a:cxn>
              <a:cxn ang="0">
                <a:pos x="650" y="1429"/>
              </a:cxn>
              <a:cxn ang="0">
                <a:pos x="621" y="1732"/>
              </a:cxn>
              <a:cxn ang="0">
                <a:pos x="872" y="1400"/>
              </a:cxn>
              <a:cxn ang="0">
                <a:pos x="959" y="1024"/>
              </a:cxn>
              <a:cxn ang="0">
                <a:pos x="1031" y="822"/>
              </a:cxn>
              <a:cxn ang="0">
                <a:pos x="1055" y="1120"/>
              </a:cxn>
              <a:cxn ang="0">
                <a:pos x="896" y="1444"/>
              </a:cxn>
              <a:cxn ang="0">
                <a:pos x="795" y="1804"/>
              </a:cxn>
              <a:cxn ang="0">
                <a:pos x="664" y="2256"/>
              </a:cxn>
              <a:cxn ang="0">
                <a:pos x="612" y="1746"/>
              </a:cxn>
              <a:cxn ang="0">
                <a:pos x="549" y="1790"/>
              </a:cxn>
              <a:cxn ang="0">
                <a:pos x="498" y="2033"/>
              </a:cxn>
            </a:cxnLst>
            <a:rect l="0" t="0" r="r" b="b"/>
            <a:pathLst>
              <a:path w="1055" h="2256">
                <a:moveTo>
                  <a:pt x="498" y="2033"/>
                </a:moveTo>
                <a:lnTo>
                  <a:pt x="332" y="1992"/>
                </a:lnTo>
                <a:lnTo>
                  <a:pt x="117" y="1941"/>
                </a:lnTo>
                <a:lnTo>
                  <a:pt x="0" y="1862"/>
                </a:lnTo>
                <a:lnTo>
                  <a:pt x="14" y="1689"/>
                </a:lnTo>
                <a:lnTo>
                  <a:pt x="120" y="1472"/>
                </a:lnTo>
                <a:lnTo>
                  <a:pt x="275" y="1458"/>
                </a:lnTo>
                <a:lnTo>
                  <a:pt x="321" y="1365"/>
                </a:lnTo>
                <a:lnTo>
                  <a:pt x="46" y="1073"/>
                </a:lnTo>
                <a:lnTo>
                  <a:pt x="72" y="880"/>
                </a:lnTo>
                <a:lnTo>
                  <a:pt x="145" y="630"/>
                </a:lnTo>
                <a:lnTo>
                  <a:pt x="184" y="329"/>
                </a:lnTo>
                <a:lnTo>
                  <a:pt x="318" y="413"/>
                </a:lnTo>
                <a:lnTo>
                  <a:pt x="409" y="287"/>
                </a:lnTo>
                <a:lnTo>
                  <a:pt x="362" y="101"/>
                </a:lnTo>
                <a:lnTo>
                  <a:pt x="449" y="0"/>
                </a:lnTo>
                <a:lnTo>
                  <a:pt x="641" y="43"/>
                </a:lnTo>
                <a:lnTo>
                  <a:pt x="799" y="168"/>
                </a:lnTo>
                <a:lnTo>
                  <a:pt x="694" y="361"/>
                </a:lnTo>
                <a:lnTo>
                  <a:pt x="713" y="471"/>
                </a:lnTo>
                <a:lnTo>
                  <a:pt x="809" y="572"/>
                </a:lnTo>
                <a:lnTo>
                  <a:pt x="679" y="688"/>
                </a:lnTo>
                <a:lnTo>
                  <a:pt x="795" y="779"/>
                </a:lnTo>
                <a:lnTo>
                  <a:pt x="665" y="1106"/>
                </a:lnTo>
                <a:lnTo>
                  <a:pt x="713" y="1222"/>
                </a:lnTo>
                <a:lnTo>
                  <a:pt x="650" y="1429"/>
                </a:lnTo>
                <a:lnTo>
                  <a:pt x="621" y="1732"/>
                </a:lnTo>
                <a:lnTo>
                  <a:pt x="872" y="1400"/>
                </a:lnTo>
                <a:lnTo>
                  <a:pt x="959" y="1024"/>
                </a:lnTo>
                <a:lnTo>
                  <a:pt x="1031" y="822"/>
                </a:lnTo>
                <a:lnTo>
                  <a:pt x="1055" y="1120"/>
                </a:lnTo>
                <a:lnTo>
                  <a:pt x="896" y="1444"/>
                </a:lnTo>
                <a:lnTo>
                  <a:pt x="795" y="1804"/>
                </a:lnTo>
                <a:lnTo>
                  <a:pt x="664" y="2256"/>
                </a:lnTo>
                <a:lnTo>
                  <a:pt x="612" y="1746"/>
                </a:lnTo>
                <a:lnTo>
                  <a:pt x="549" y="1790"/>
                </a:lnTo>
                <a:lnTo>
                  <a:pt x="498" y="2033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62" name="Freeform 19"/>
          <p:cNvSpPr>
            <a:spLocks/>
          </p:cNvSpPr>
          <p:nvPr/>
        </p:nvSpPr>
        <p:spPr bwMode="auto">
          <a:xfrm>
            <a:off x="4174064" y="6201917"/>
            <a:ext cx="481668" cy="471526"/>
          </a:xfrm>
          <a:custGeom>
            <a:avLst/>
            <a:gdLst/>
            <a:ahLst/>
            <a:cxnLst>
              <a:cxn ang="0">
                <a:pos x="1399" y="421"/>
              </a:cxn>
              <a:cxn ang="0">
                <a:pos x="1272" y="199"/>
              </a:cxn>
              <a:cxn ang="0">
                <a:pos x="1324" y="95"/>
              </a:cxn>
              <a:cxn ang="0">
                <a:pos x="1013" y="0"/>
              </a:cxn>
              <a:cxn ang="0">
                <a:pos x="821" y="115"/>
              </a:cxn>
              <a:cxn ang="0">
                <a:pos x="673" y="80"/>
              </a:cxn>
              <a:cxn ang="0">
                <a:pos x="418" y="183"/>
              </a:cxn>
              <a:cxn ang="0">
                <a:pos x="269" y="39"/>
              </a:cxn>
              <a:cxn ang="0">
                <a:pos x="185" y="160"/>
              </a:cxn>
              <a:cxn ang="0">
                <a:pos x="261" y="230"/>
              </a:cxn>
              <a:cxn ang="0">
                <a:pos x="0" y="387"/>
              </a:cxn>
              <a:cxn ang="0">
                <a:pos x="155" y="578"/>
              </a:cxn>
              <a:cxn ang="0">
                <a:pos x="271" y="937"/>
              </a:cxn>
              <a:cxn ang="0">
                <a:pos x="290" y="1169"/>
              </a:cxn>
              <a:cxn ang="0">
                <a:pos x="211" y="1361"/>
              </a:cxn>
              <a:cxn ang="0">
                <a:pos x="314" y="1352"/>
              </a:cxn>
              <a:cxn ang="0">
                <a:pos x="455" y="1397"/>
              </a:cxn>
              <a:cxn ang="0">
                <a:pos x="707" y="1279"/>
              </a:cxn>
              <a:cxn ang="0">
                <a:pos x="955" y="1310"/>
              </a:cxn>
              <a:cxn ang="0">
                <a:pos x="1051" y="1396"/>
              </a:cxn>
              <a:cxn ang="0">
                <a:pos x="1126" y="1325"/>
              </a:cxn>
              <a:cxn ang="0">
                <a:pos x="1184" y="1224"/>
              </a:cxn>
              <a:cxn ang="0">
                <a:pos x="1184" y="1099"/>
              </a:cxn>
              <a:cxn ang="0">
                <a:pos x="1078" y="964"/>
              </a:cxn>
              <a:cxn ang="0">
                <a:pos x="1064" y="805"/>
              </a:cxn>
              <a:cxn ang="0">
                <a:pos x="1213" y="732"/>
              </a:cxn>
              <a:cxn ang="0">
                <a:pos x="1324" y="617"/>
              </a:cxn>
              <a:cxn ang="0">
                <a:pos x="1425" y="588"/>
              </a:cxn>
              <a:cxn ang="0">
                <a:pos x="1399" y="421"/>
              </a:cxn>
            </a:cxnLst>
            <a:rect l="0" t="0" r="r" b="b"/>
            <a:pathLst>
              <a:path w="1425" h="1397">
                <a:moveTo>
                  <a:pt x="1399" y="421"/>
                </a:moveTo>
                <a:lnTo>
                  <a:pt x="1272" y="199"/>
                </a:lnTo>
                <a:lnTo>
                  <a:pt x="1324" y="95"/>
                </a:lnTo>
                <a:lnTo>
                  <a:pt x="1013" y="0"/>
                </a:lnTo>
                <a:lnTo>
                  <a:pt x="821" y="115"/>
                </a:lnTo>
                <a:lnTo>
                  <a:pt x="673" y="80"/>
                </a:lnTo>
                <a:lnTo>
                  <a:pt x="418" y="183"/>
                </a:lnTo>
                <a:lnTo>
                  <a:pt x="269" y="39"/>
                </a:lnTo>
                <a:lnTo>
                  <a:pt x="185" y="160"/>
                </a:lnTo>
                <a:lnTo>
                  <a:pt x="261" y="230"/>
                </a:lnTo>
                <a:lnTo>
                  <a:pt x="0" y="387"/>
                </a:lnTo>
                <a:lnTo>
                  <a:pt x="155" y="578"/>
                </a:lnTo>
                <a:lnTo>
                  <a:pt x="271" y="937"/>
                </a:lnTo>
                <a:lnTo>
                  <a:pt x="290" y="1169"/>
                </a:lnTo>
                <a:lnTo>
                  <a:pt x="211" y="1361"/>
                </a:lnTo>
                <a:lnTo>
                  <a:pt x="314" y="1352"/>
                </a:lnTo>
                <a:lnTo>
                  <a:pt x="455" y="1397"/>
                </a:lnTo>
                <a:lnTo>
                  <a:pt x="707" y="1279"/>
                </a:lnTo>
                <a:lnTo>
                  <a:pt x="955" y="1310"/>
                </a:lnTo>
                <a:lnTo>
                  <a:pt x="1051" y="1396"/>
                </a:lnTo>
                <a:lnTo>
                  <a:pt x="1126" y="1325"/>
                </a:lnTo>
                <a:lnTo>
                  <a:pt x="1184" y="1224"/>
                </a:lnTo>
                <a:lnTo>
                  <a:pt x="1184" y="1099"/>
                </a:lnTo>
                <a:lnTo>
                  <a:pt x="1078" y="964"/>
                </a:lnTo>
                <a:lnTo>
                  <a:pt x="1064" y="805"/>
                </a:lnTo>
                <a:lnTo>
                  <a:pt x="1213" y="732"/>
                </a:lnTo>
                <a:lnTo>
                  <a:pt x="1324" y="617"/>
                </a:lnTo>
                <a:lnTo>
                  <a:pt x="1425" y="588"/>
                </a:lnTo>
                <a:lnTo>
                  <a:pt x="1399" y="421"/>
                </a:lnTo>
                <a:close/>
              </a:path>
            </a:pathLst>
          </a:custGeom>
          <a:solidFill>
            <a:schemeClr val="bg2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200" b="1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3" name="Freeform 20"/>
          <p:cNvSpPr>
            <a:spLocks/>
          </p:cNvSpPr>
          <p:nvPr/>
        </p:nvSpPr>
        <p:spPr bwMode="auto">
          <a:xfrm>
            <a:off x="4603339" y="6201917"/>
            <a:ext cx="400545" cy="202807"/>
          </a:xfrm>
          <a:custGeom>
            <a:avLst/>
            <a:gdLst/>
            <a:ahLst/>
            <a:cxnLst>
              <a:cxn ang="0">
                <a:pos x="1170" y="503"/>
              </a:cxn>
              <a:cxn ang="0">
                <a:pos x="1230" y="478"/>
              </a:cxn>
              <a:cxn ang="0">
                <a:pos x="1125" y="358"/>
              </a:cxn>
              <a:cxn ang="0">
                <a:pos x="1187" y="178"/>
              </a:cxn>
              <a:cxn ang="0">
                <a:pos x="1018" y="135"/>
              </a:cxn>
              <a:cxn ang="0">
                <a:pos x="790" y="83"/>
              </a:cxn>
              <a:cxn ang="0">
                <a:pos x="670" y="0"/>
              </a:cxn>
              <a:cxn ang="0">
                <a:pos x="610" y="83"/>
              </a:cxn>
              <a:cxn ang="0">
                <a:pos x="195" y="133"/>
              </a:cxn>
              <a:cxn ang="0">
                <a:pos x="55" y="98"/>
              </a:cxn>
              <a:cxn ang="0">
                <a:pos x="0" y="203"/>
              </a:cxn>
              <a:cxn ang="0">
                <a:pos x="130" y="433"/>
              </a:cxn>
              <a:cxn ang="0">
                <a:pos x="265" y="458"/>
              </a:cxn>
              <a:cxn ang="0">
                <a:pos x="490" y="478"/>
              </a:cxn>
              <a:cxn ang="0">
                <a:pos x="610" y="563"/>
              </a:cxn>
              <a:cxn ang="0">
                <a:pos x="670" y="488"/>
              </a:cxn>
              <a:cxn ang="0">
                <a:pos x="840" y="538"/>
              </a:cxn>
              <a:cxn ang="0">
                <a:pos x="975" y="623"/>
              </a:cxn>
              <a:cxn ang="0">
                <a:pos x="1170" y="503"/>
              </a:cxn>
            </a:cxnLst>
            <a:rect l="0" t="0" r="r" b="b"/>
            <a:pathLst>
              <a:path w="1230" h="623">
                <a:moveTo>
                  <a:pt x="1170" y="503"/>
                </a:moveTo>
                <a:lnTo>
                  <a:pt x="1230" y="478"/>
                </a:lnTo>
                <a:lnTo>
                  <a:pt x="1125" y="358"/>
                </a:lnTo>
                <a:lnTo>
                  <a:pt x="1187" y="178"/>
                </a:lnTo>
                <a:lnTo>
                  <a:pt x="1018" y="135"/>
                </a:lnTo>
                <a:lnTo>
                  <a:pt x="790" y="83"/>
                </a:lnTo>
                <a:lnTo>
                  <a:pt x="670" y="0"/>
                </a:lnTo>
                <a:lnTo>
                  <a:pt x="610" y="83"/>
                </a:lnTo>
                <a:lnTo>
                  <a:pt x="195" y="133"/>
                </a:lnTo>
                <a:lnTo>
                  <a:pt x="55" y="98"/>
                </a:lnTo>
                <a:lnTo>
                  <a:pt x="0" y="203"/>
                </a:lnTo>
                <a:lnTo>
                  <a:pt x="130" y="433"/>
                </a:lnTo>
                <a:lnTo>
                  <a:pt x="265" y="458"/>
                </a:lnTo>
                <a:lnTo>
                  <a:pt x="490" y="478"/>
                </a:lnTo>
                <a:lnTo>
                  <a:pt x="610" y="563"/>
                </a:lnTo>
                <a:lnTo>
                  <a:pt x="670" y="488"/>
                </a:lnTo>
                <a:lnTo>
                  <a:pt x="840" y="538"/>
                </a:lnTo>
                <a:lnTo>
                  <a:pt x="975" y="623"/>
                </a:lnTo>
                <a:lnTo>
                  <a:pt x="1170" y="503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64" name="Freeform 21"/>
          <p:cNvSpPr>
            <a:spLocks/>
          </p:cNvSpPr>
          <p:nvPr/>
        </p:nvSpPr>
        <p:spPr bwMode="auto">
          <a:xfrm>
            <a:off x="5382458" y="5617157"/>
            <a:ext cx="255198" cy="427585"/>
          </a:xfrm>
          <a:custGeom>
            <a:avLst/>
            <a:gdLst/>
            <a:ahLst/>
            <a:cxnLst>
              <a:cxn ang="0">
                <a:pos x="18" y="252"/>
              </a:cxn>
              <a:cxn ang="0">
                <a:pos x="27" y="224"/>
              </a:cxn>
              <a:cxn ang="0">
                <a:pos x="0" y="173"/>
              </a:cxn>
              <a:cxn ang="0">
                <a:pos x="12" y="155"/>
              </a:cxn>
              <a:cxn ang="0">
                <a:pos x="7" y="81"/>
              </a:cxn>
              <a:cxn ang="0">
                <a:pos x="33" y="75"/>
              </a:cxn>
              <a:cxn ang="0">
                <a:pos x="75" y="15"/>
              </a:cxn>
              <a:cxn ang="0">
                <a:pos x="88" y="36"/>
              </a:cxn>
              <a:cxn ang="0">
                <a:pos x="109" y="20"/>
              </a:cxn>
              <a:cxn ang="0">
                <a:pos x="133" y="3"/>
              </a:cxn>
              <a:cxn ang="0">
                <a:pos x="157" y="0"/>
              </a:cxn>
              <a:cxn ang="0">
                <a:pos x="117" y="50"/>
              </a:cxn>
              <a:cxn ang="0">
                <a:pos x="90" y="96"/>
              </a:cxn>
              <a:cxn ang="0">
                <a:pos x="102" y="140"/>
              </a:cxn>
              <a:cxn ang="0">
                <a:pos x="75" y="192"/>
              </a:cxn>
              <a:cxn ang="0">
                <a:pos x="46" y="213"/>
              </a:cxn>
              <a:cxn ang="0">
                <a:pos x="42" y="243"/>
              </a:cxn>
              <a:cxn ang="0">
                <a:pos x="25" y="263"/>
              </a:cxn>
              <a:cxn ang="0">
                <a:pos x="18" y="252"/>
              </a:cxn>
            </a:cxnLst>
            <a:rect l="0" t="0" r="r" b="b"/>
            <a:pathLst>
              <a:path w="157" h="263">
                <a:moveTo>
                  <a:pt x="18" y="252"/>
                </a:moveTo>
                <a:lnTo>
                  <a:pt x="27" y="224"/>
                </a:lnTo>
                <a:lnTo>
                  <a:pt x="0" y="173"/>
                </a:lnTo>
                <a:lnTo>
                  <a:pt x="12" y="155"/>
                </a:lnTo>
                <a:lnTo>
                  <a:pt x="7" y="81"/>
                </a:lnTo>
                <a:lnTo>
                  <a:pt x="33" y="75"/>
                </a:lnTo>
                <a:lnTo>
                  <a:pt x="75" y="15"/>
                </a:lnTo>
                <a:lnTo>
                  <a:pt x="88" y="36"/>
                </a:lnTo>
                <a:lnTo>
                  <a:pt x="109" y="20"/>
                </a:lnTo>
                <a:lnTo>
                  <a:pt x="133" y="3"/>
                </a:lnTo>
                <a:lnTo>
                  <a:pt x="157" y="0"/>
                </a:lnTo>
                <a:lnTo>
                  <a:pt x="117" y="50"/>
                </a:lnTo>
                <a:lnTo>
                  <a:pt x="90" y="96"/>
                </a:lnTo>
                <a:lnTo>
                  <a:pt x="102" y="140"/>
                </a:lnTo>
                <a:lnTo>
                  <a:pt x="75" y="192"/>
                </a:lnTo>
                <a:lnTo>
                  <a:pt x="46" y="213"/>
                </a:lnTo>
                <a:lnTo>
                  <a:pt x="42" y="243"/>
                </a:lnTo>
                <a:lnTo>
                  <a:pt x="25" y="263"/>
                </a:lnTo>
                <a:lnTo>
                  <a:pt x="18" y="252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65" name="Freeform 22"/>
          <p:cNvSpPr>
            <a:spLocks/>
          </p:cNvSpPr>
          <p:nvPr/>
        </p:nvSpPr>
        <p:spPr bwMode="auto">
          <a:xfrm>
            <a:off x="3962807" y="5120279"/>
            <a:ext cx="723346" cy="853480"/>
          </a:xfrm>
          <a:custGeom>
            <a:avLst/>
            <a:gdLst/>
            <a:ahLst/>
            <a:cxnLst>
              <a:cxn ang="0">
                <a:pos x="1630" y="1645"/>
              </a:cxn>
              <a:cxn ang="0">
                <a:pos x="1735" y="1666"/>
              </a:cxn>
              <a:cxn ang="0">
                <a:pos x="1864" y="1357"/>
              </a:cxn>
              <a:cxn ang="0">
                <a:pos x="1945" y="1124"/>
              </a:cxn>
              <a:cxn ang="0">
                <a:pos x="2138" y="748"/>
              </a:cxn>
              <a:cxn ang="0">
                <a:pos x="1960" y="629"/>
              </a:cxn>
              <a:cxn ang="0">
                <a:pos x="1900" y="362"/>
              </a:cxn>
              <a:cxn ang="0">
                <a:pos x="1820" y="261"/>
              </a:cxn>
              <a:cxn ang="0">
                <a:pos x="1785" y="239"/>
              </a:cxn>
              <a:cxn ang="0">
                <a:pos x="1704" y="354"/>
              </a:cxn>
              <a:cxn ang="0">
                <a:pos x="1761" y="444"/>
              </a:cxn>
              <a:cxn ang="0">
                <a:pos x="1744" y="627"/>
              </a:cxn>
              <a:cxn ang="0">
                <a:pos x="1575" y="635"/>
              </a:cxn>
              <a:cxn ang="0">
                <a:pos x="1512" y="677"/>
              </a:cxn>
              <a:cxn ang="0">
                <a:pos x="1603" y="816"/>
              </a:cxn>
              <a:cxn ang="0">
                <a:pos x="1479" y="833"/>
              </a:cxn>
              <a:cxn ang="0">
                <a:pos x="1350" y="900"/>
              </a:cxn>
              <a:cxn ang="0">
                <a:pos x="1291" y="1037"/>
              </a:cxn>
              <a:cxn ang="0">
                <a:pos x="1191" y="1028"/>
              </a:cxn>
              <a:cxn ang="0">
                <a:pos x="1222" y="825"/>
              </a:cxn>
              <a:cxn ang="0">
                <a:pos x="1174" y="809"/>
              </a:cxn>
              <a:cxn ang="0">
                <a:pos x="1024" y="1014"/>
              </a:cxn>
              <a:cxn ang="0">
                <a:pos x="945" y="1056"/>
              </a:cxn>
              <a:cxn ang="0">
                <a:pos x="904" y="1127"/>
              </a:cxn>
              <a:cxn ang="0">
                <a:pos x="873" y="1056"/>
              </a:cxn>
              <a:cxn ang="0">
                <a:pos x="777" y="1131"/>
              </a:cxn>
              <a:cxn ang="0">
                <a:pos x="673" y="1145"/>
              </a:cxn>
              <a:cxn ang="0">
                <a:pos x="904" y="845"/>
              </a:cxn>
              <a:cxn ang="0">
                <a:pos x="792" y="816"/>
              </a:cxn>
              <a:cxn ang="0">
                <a:pos x="822" y="686"/>
              </a:cxn>
              <a:cxn ang="0">
                <a:pos x="994" y="344"/>
              </a:cxn>
              <a:cxn ang="0">
                <a:pos x="984" y="158"/>
              </a:cxn>
              <a:cxn ang="0">
                <a:pos x="855" y="176"/>
              </a:cxn>
              <a:cxn ang="0">
                <a:pos x="648" y="0"/>
              </a:cxn>
              <a:cxn ang="0">
                <a:pos x="570" y="59"/>
              </a:cxn>
              <a:cxn ang="0">
                <a:pos x="307" y="11"/>
              </a:cxn>
              <a:cxn ang="0">
                <a:pos x="276" y="387"/>
              </a:cxn>
              <a:cxn ang="0">
                <a:pos x="159" y="368"/>
              </a:cxn>
              <a:cxn ang="0">
                <a:pos x="105" y="182"/>
              </a:cxn>
              <a:cxn ang="0">
                <a:pos x="0" y="186"/>
              </a:cxn>
              <a:cxn ang="0">
                <a:pos x="15" y="692"/>
              </a:cxn>
              <a:cxn ang="0">
                <a:pos x="12" y="1080"/>
              </a:cxn>
              <a:cxn ang="0">
                <a:pos x="201" y="1061"/>
              </a:cxn>
              <a:cxn ang="0">
                <a:pos x="286" y="1193"/>
              </a:cxn>
              <a:cxn ang="0">
                <a:pos x="417" y="1169"/>
              </a:cxn>
              <a:cxn ang="0">
                <a:pos x="430" y="1340"/>
              </a:cxn>
              <a:cxn ang="0">
                <a:pos x="321" y="1497"/>
              </a:cxn>
              <a:cxn ang="0">
                <a:pos x="235" y="1712"/>
              </a:cxn>
              <a:cxn ang="0">
                <a:pos x="300" y="1893"/>
              </a:cxn>
              <a:cxn ang="0">
                <a:pos x="406" y="1949"/>
              </a:cxn>
              <a:cxn ang="0">
                <a:pos x="489" y="2000"/>
              </a:cxn>
              <a:cxn ang="0">
                <a:pos x="631" y="1944"/>
              </a:cxn>
              <a:cxn ang="0">
                <a:pos x="622" y="2250"/>
              </a:cxn>
              <a:cxn ang="0">
                <a:pos x="937" y="2301"/>
              </a:cxn>
              <a:cxn ang="0">
                <a:pos x="1000" y="2451"/>
              </a:cxn>
              <a:cxn ang="0">
                <a:pos x="1072" y="2525"/>
              </a:cxn>
              <a:cxn ang="0">
                <a:pos x="1107" y="2426"/>
              </a:cxn>
              <a:cxn ang="0">
                <a:pos x="1473" y="1989"/>
              </a:cxn>
              <a:cxn ang="0">
                <a:pos x="1542" y="1725"/>
              </a:cxn>
              <a:cxn ang="0">
                <a:pos x="1630" y="1645"/>
              </a:cxn>
            </a:cxnLst>
            <a:rect l="0" t="0" r="r" b="b"/>
            <a:pathLst>
              <a:path w="2138" h="2525">
                <a:moveTo>
                  <a:pt x="1630" y="1645"/>
                </a:moveTo>
                <a:lnTo>
                  <a:pt x="1735" y="1666"/>
                </a:lnTo>
                <a:lnTo>
                  <a:pt x="1864" y="1357"/>
                </a:lnTo>
                <a:lnTo>
                  <a:pt x="1945" y="1124"/>
                </a:lnTo>
                <a:lnTo>
                  <a:pt x="2138" y="748"/>
                </a:lnTo>
                <a:lnTo>
                  <a:pt x="1960" y="629"/>
                </a:lnTo>
                <a:lnTo>
                  <a:pt x="1900" y="362"/>
                </a:lnTo>
                <a:lnTo>
                  <a:pt x="1820" y="261"/>
                </a:lnTo>
                <a:lnTo>
                  <a:pt x="1785" y="239"/>
                </a:lnTo>
                <a:lnTo>
                  <a:pt x="1704" y="354"/>
                </a:lnTo>
                <a:lnTo>
                  <a:pt x="1761" y="444"/>
                </a:lnTo>
                <a:lnTo>
                  <a:pt x="1744" y="627"/>
                </a:lnTo>
                <a:lnTo>
                  <a:pt x="1575" y="635"/>
                </a:lnTo>
                <a:lnTo>
                  <a:pt x="1512" y="677"/>
                </a:lnTo>
                <a:lnTo>
                  <a:pt x="1603" y="816"/>
                </a:lnTo>
                <a:lnTo>
                  <a:pt x="1479" y="833"/>
                </a:lnTo>
                <a:lnTo>
                  <a:pt x="1350" y="900"/>
                </a:lnTo>
                <a:lnTo>
                  <a:pt x="1291" y="1037"/>
                </a:lnTo>
                <a:lnTo>
                  <a:pt x="1191" y="1028"/>
                </a:lnTo>
                <a:lnTo>
                  <a:pt x="1222" y="825"/>
                </a:lnTo>
                <a:lnTo>
                  <a:pt x="1174" y="809"/>
                </a:lnTo>
                <a:lnTo>
                  <a:pt x="1024" y="1014"/>
                </a:lnTo>
                <a:lnTo>
                  <a:pt x="945" y="1056"/>
                </a:lnTo>
                <a:lnTo>
                  <a:pt x="904" y="1127"/>
                </a:lnTo>
                <a:lnTo>
                  <a:pt x="873" y="1056"/>
                </a:lnTo>
                <a:lnTo>
                  <a:pt x="777" y="1131"/>
                </a:lnTo>
                <a:lnTo>
                  <a:pt x="673" y="1145"/>
                </a:lnTo>
                <a:lnTo>
                  <a:pt x="904" y="845"/>
                </a:lnTo>
                <a:lnTo>
                  <a:pt x="792" y="816"/>
                </a:lnTo>
                <a:lnTo>
                  <a:pt x="822" y="686"/>
                </a:lnTo>
                <a:lnTo>
                  <a:pt x="994" y="344"/>
                </a:lnTo>
                <a:lnTo>
                  <a:pt x="984" y="158"/>
                </a:lnTo>
                <a:lnTo>
                  <a:pt x="855" y="176"/>
                </a:lnTo>
                <a:lnTo>
                  <a:pt x="648" y="0"/>
                </a:lnTo>
                <a:lnTo>
                  <a:pt x="570" y="59"/>
                </a:lnTo>
                <a:lnTo>
                  <a:pt x="307" y="11"/>
                </a:lnTo>
                <a:lnTo>
                  <a:pt x="276" y="387"/>
                </a:lnTo>
                <a:lnTo>
                  <a:pt x="159" y="368"/>
                </a:lnTo>
                <a:lnTo>
                  <a:pt x="105" y="182"/>
                </a:lnTo>
                <a:lnTo>
                  <a:pt x="0" y="186"/>
                </a:lnTo>
                <a:lnTo>
                  <a:pt x="15" y="692"/>
                </a:lnTo>
                <a:lnTo>
                  <a:pt x="12" y="1080"/>
                </a:lnTo>
                <a:lnTo>
                  <a:pt x="201" y="1061"/>
                </a:lnTo>
                <a:lnTo>
                  <a:pt x="286" y="1193"/>
                </a:lnTo>
                <a:lnTo>
                  <a:pt x="417" y="1169"/>
                </a:lnTo>
                <a:lnTo>
                  <a:pt x="430" y="1340"/>
                </a:lnTo>
                <a:lnTo>
                  <a:pt x="321" y="1497"/>
                </a:lnTo>
                <a:lnTo>
                  <a:pt x="235" y="1712"/>
                </a:lnTo>
                <a:lnTo>
                  <a:pt x="300" y="1893"/>
                </a:lnTo>
                <a:lnTo>
                  <a:pt x="406" y="1949"/>
                </a:lnTo>
                <a:lnTo>
                  <a:pt x="489" y="2000"/>
                </a:lnTo>
                <a:lnTo>
                  <a:pt x="631" y="1944"/>
                </a:lnTo>
                <a:lnTo>
                  <a:pt x="622" y="2250"/>
                </a:lnTo>
                <a:lnTo>
                  <a:pt x="937" y="2301"/>
                </a:lnTo>
                <a:lnTo>
                  <a:pt x="1000" y="2451"/>
                </a:lnTo>
                <a:lnTo>
                  <a:pt x="1072" y="2525"/>
                </a:lnTo>
                <a:lnTo>
                  <a:pt x="1107" y="2426"/>
                </a:lnTo>
                <a:lnTo>
                  <a:pt x="1473" y="1989"/>
                </a:lnTo>
                <a:lnTo>
                  <a:pt x="1542" y="1725"/>
                </a:lnTo>
                <a:lnTo>
                  <a:pt x="1630" y="1645"/>
                </a:lnTo>
                <a:close/>
              </a:path>
            </a:pathLst>
          </a:custGeom>
          <a:solidFill>
            <a:schemeClr val="tx2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200" b="1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6" name="Freeform 23"/>
          <p:cNvSpPr>
            <a:spLocks/>
          </p:cNvSpPr>
          <p:nvPr/>
        </p:nvSpPr>
        <p:spPr bwMode="auto">
          <a:xfrm>
            <a:off x="4099702" y="5777712"/>
            <a:ext cx="356603" cy="486737"/>
          </a:xfrm>
          <a:custGeom>
            <a:avLst/>
            <a:gdLst/>
            <a:ahLst/>
            <a:cxnLst>
              <a:cxn ang="0">
                <a:pos x="669" y="576"/>
              </a:cxn>
              <a:cxn ang="0">
                <a:pos x="597" y="507"/>
              </a:cxn>
              <a:cxn ang="0">
                <a:pos x="534" y="355"/>
              </a:cxn>
              <a:cxn ang="0">
                <a:pos x="219" y="304"/>
              </a:cxn>
              <a:cxn ang="0">
                <a:pos x="228" y="0"/>
              </a:cxn>
              <a:cxn ang="0">
                <a:pos x="87" y="52"/>
              </a:cxn>
              <a:cxn ang="0">
                <a:pos x="0" y="0"/>
              </a:cxn>
              <a:cxn ang="0">
                <a:pos x="3" y="250"/>
              </a:cxn>
              <a:cxn ang="0">
                <a:pos x="26" y="364"/>
              </a:cxn>
              <a:cxn ang="0">
                <a:pos x="162" y="595"/>
              </a:cxn>
              <a:cxn ang="0">
                <a:pos x="188" y="763"/>
              </a:cxn>
              <a:cxn ang="0">
                <a:pos x="291" y="820"/>
              </a:cxn>
              <a:cxn ang="0">
                <a:pos x="404" y="1125"/>
              </a:cxn>
              <a:cxn ang="0">
                <a:pos x="489" y="1294"/>
              </a:cxn>
              <a:cxn ang="0">
                <a:pos x="639" y="1440"/>
              </a:cxn>
              <a:cxn ang="0">
                <a:pos x="890" y="1336"/>
              </a:cxn>
              <a:cxn ang="0">
                <a:pos x="884" y="1152"/>
              </a:cxn>
              <a:cxn ang="0">
                <a:pos x="795" y="889"/>
              </a:cxn>
              <a:cxn ang="0">
                <a:pos x="959" y="826"/>
              </a:cxn>
              <a:cxn ang="0">
                <a:pos x="1056" y="775"/>
              </a:cxn>
              <a:cxn ang="0">
                <a:pos x="1002" y="681"/>
              </a:cxn>
              <a:cxn ang="0">
                <a:pos x="939" y="594"/>
              </a:cxn>
              <a:cxn ang="0">
                <a:pos x="818" y="550"/>
              </a:cxn>
              <a:cxn ang="0">
                <a:pos x="818" y="549"/>
              </a:cxn>
              <a:cxn ang="0">
                <a:pos x="669" y="576"/>
              </a:cxn>
            </a:cxnLst>
            <a:rect l="0" t="0" r="r" b="b"/>
            <a:pathLst>
              <a:path w="1056" h="1440">
                <a:moveTo>
                  <a:pt x="669" y="576"/>
                </a:moveTo>
                <a:lnTo>
                  <a:pt x="597" y="507"/>
                </a:lnTo>
                <a:lnTo>
                  <a:pt x="534" y="355"/>
                </a:lnTo>
                <a:lnTo>
                  <a:pt x="219" y="304"/>
                </a:lnTo>
                <a:lnTo>
                  <a:pt x="228" y="0"/>
                </a:lnTo>
                <a:lnTo>
                  <a:pt x="87" y="52"/>
                </a:lnTo>
                <a:lnTo>
                  <a:pt x="0" y="0"/>
                </a:lnTo>
                <a:lnTo>
                  <a:pt x="3" y="250"/>
                </a:lnTo>
                <a:lnTo>
                  <a:pt x="26" y="364"/>
                </a:lnTo>
                <a:lnTo>
                  <a:pt x="162" y="595"/>
                </a:lnTo>
                <a:lnTo>
                  <a:pt x="188" y="763"/>
                </a:lnTo>
                <a:lnTo>
                  <a:pt x="291" y="820"/>
                </a:lnTo>
                <a:lnTo>
                  <a:pt x="404" y="1125"/>
                </a:lnTo>
                <a:lnTo>
                  <a:pt x="489" y="1294"/>
                </a:lnTo>
                <a:lnTo>
                  <a:pt x="639" y="1440"/>
                </a:lnTo>
                <a:lnTo>
                  <a:pt x="890" y="1336"/>
                </a:lnTo>
                <a:lnTo>
                  <a:pt x="884" y="1152"/>
                </a:lnTo>
                <a:lnTo>
                  <a:pt x="795" y="889"/>
                </a:lnTo>
                <a:lnTo>
                  <a:pt x="959" y="826"/>
                </a:lnTo>
                <a:lnTo>
                  <a:pt x="1056" y="775"/>
                </a:lnTo>
                <a:lnTo>
                  <a:pt x="1002" y="681"/>
                </a:lnTo>
                <a:lnTo>
                  <a:pt x="939" y="594"/>
                </a:lnTo>
                <a:lnTo>
                  <a:pt x="818" y="550"/>
                </a:lnTo>
                <a:lnTo>
                  <a:pt x="818" y="549"/>
                </a:lnTo>
                <a:lnTo>
                  <a:pt x="669" y="576"/>
                </a:lnTo>
                <a:close/>
              </a:path>
            </a:pathLst>
          </a:custGeom>
          <a:solidFill>
            <a:schemeClr val="tx1"/>
          </a:solidFill>
          <a:ln w="6350" cmpd="sng">
            <a:solidFill>
              <a:srgbClr val="FFFFFF"/>
            </a:solidFill>
            <a:prstDash val="solid"/>
            <a:round/>
            <a:headEnd/>
            <a:tailEnd/>
          </a:ln>
          <a:effectLst>
            <a:outerShdw dist="28398" dir="6993903" algn="ctr" rotWithShape="0">
              <a:srgbClr val="B2B2B2">
                <a:alpha val="50000"/>
              </a:srgbClr>
            </a:outerShdw>
          </a:effectLst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67" name="Oval 25"/>
          <p:cNvSpPr>
            <a:spLocks noChangeArrowheads="1"/>
          </p:cNvSpPr>
          <p:nvPr/>
        </p:nvSpPr>
        <p:spPr bwMode="gray">
          <a:xfrm>
            <a:off x="4286217" y="5434276"/>
            <a:ext cx="115851" cy="115851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dist="35921" dir="2700000" sx="66000" sy="66000" algn="ctr" rotWithShape="0">
              <a:srgbClr val="1C1C1C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sz="1200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cxnSp>
        <p:nvCxnSpPr>
          <p:cNvPr id="68" name="肘形连接符 139"/>
          <p:cNvCxnSpPr>
            <a:stCxn id="92" idx="3"/>
            <a:endCxn id="67" idx="0"/>
          </p:cNvCxnSpPr>
          <p:nvPr/>
        </p:nvCxnSpPr>
        <p:spPr>
          <a:xfrm>
            <a:off x="2259371" y="3701037"/>
            <a:ext cx="2084772" cy="1733239"/>
          </a:xfrm>
          <a:prstGeom prst="bentConnector2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/>
          </a:ln>
        </p:spPr>
      </p:cxnSp>
      <p:sp>
        <p:nvSpPr>
          <p:cNvPr id="69" name="Oval 25"/>
          <p:cNvSpPr>
            <a:spLocks noChangeArrowheads="1"/>
          </p:cNvSpPr>
          <p:nvPr/>
        </p:nvSpPr>
        <p:spPr bwMode="gray">
          <a:xfrm>
            <a:off x="5324982" y="4956351"/>
            <a:ext cx="115851" cy="115851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dist="35921" dir="2700000" sx="66000" sy="66000" algn="ctr" rotWithShape="0">
              <a:srgbClr val="1C1C1C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sz="1200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cxnSp>
        <p:nvCxnSpPr>
          <p:cNvPr id="70" name="肘形连接符 139"/>
          <p:cNvCxnSpPr>
            <a:cxnSpLocks/>
            <a:stCxn id="80" idx="1"/>
            <a:endCxn id="69" idx="0"/>
          </p:cNvCxnSpPr>
          <p:nvPr/>
        </p:nvCxnSpPr>
        <p:spPr>
          <a:xfrm rot="10800000" flipV="1">
            <a:off x="5382909" y="4540057"/>
            <a:ext cx="2278367" cy="416293"/>
          </a:xfrm>
          <a:prstGeom prst="bentConnector2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/>
          </a:ln>
        </p:spPr>
      </p:cxnSp>
      <p:sp>
        <p:nvSpPr>
          <p:cNvPr id="71" name="Oval 25"/>
          <p:cNvSpPr>
            <a:spLocks noChangeArrowheads="1"/>
          </p:cNvSpPr>
          <p:nvPr/>
        </p:nvSpPr>
        <p:spPr bwMode="gray">
          <a:xfrm>
            <a:off x="4315909" y="6390587"/>
            <a:ext cx="115851" cy="115851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dist="35921" dir="2700000" sx="66000" sy="66000" algn="ctr" rotWithShape="0">
              <a:srgbClr val="1C1C1C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sz="1200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cxnSp>
        <p:nvCxnSpPr>
          <p:cNvPr id="72" name="肘形连接符 139"/>
          <p:cNvCxnSpPr>
            <a:stCxn id="168" idx="3"/>
            <a:endCxn id="71" idx="0"/>
          </p:cNvCxnSpPr>
          <p:nvPr/>
        </p:nvCxnSpPr>
        <p:spPr>
          <a:xfrm>
            <a:off x="2259371" y="5969979"/>
            <a:ext cx="2114464" cy="420608"/>
          </a:xfrm>
          <a:prstGeom prst="bentConnector2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/>
          </a:ln>
        </p:spPr>
      </p:cxnSp>
      <p:sp>
        <p:nvSpPr>
          <p:cNvPr id="73" name="Oval 25"/>
          <p:cNvSpPr>
            <a:spLocks noChangeArrowheads="1"/>
          </p:cNvSpPr>
          <p:nvPr/>
        </p:nvSpPr>
        <p:spPr bwMode="gray">
          <a:xfrm>
            <a:off x="4860187" y="5335479"/>
            <a:ext cx="115851" cy="115851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dist="35921" dir="2700000" sx="66000" sy="66000" algn="ctr" rotWithShape="0">
              <a:srgbClr val="1C1C1C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sz="1200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cxnSp>
        <p:nvCxnSpPr>
          <p:cNvPr id="74" name="肘形连接符 139"/>
          <p:cNvCxnSpPr>
            <a:cxnSpLocks/>
            <a:stCxn id="89" idx="1"/>
            <a:endCxn id="73" idx="4"/>
          </p:cNvCxnSpPr>
          <p:nvPr/>
        </p:nvCxnSpPr>
        <p:spPr>
          <a:xfrm rot="10800000">
            <a:off x="4918113" y="5451331"/>
            <a:ext cx="2743162" cy="454633"/>
          </a:xfrm>
          <a:prstGeom prst="bentConnector2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miter lim="800000"/>
            <a:headEnd/>
            <a:tailEnd/>
          </a:ln>
        </p:spPr>
      </p:cxnSp>
      <p:sp>
        <p:nvSpPr>
          <p:cNvPr id="80" name="圆角矩形 209">
            <a:extLst>
              <a:ext uri="{FF2B5EF4-FFF2-40B4-BE49-F238E27FC236}">
                <a16:creationId xmlns:a16="http://schemas.microsoft.com/office/drawing/2014/main" id="{6CCA4A6A-124C-4DDC-91D7-CF2896A9958E}"/>
              </a:ext>
            </a:extLst>
          </p:cNvPr>
          <p:cNvSpPr/>
          <p:nvPr/>
        </p:nvSpPr>
        <p:spPr>
          <a:xfrm>
            <a:off x="7661275" y="4265738"/>
            <a:ext cx="1828800" cy="54864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noFill/>
            <a:prstDash val="sysDash"/>
            <a:miter lim="800000"/>
            <a:headEnd/>
            <a:tailEnd/>
          </a:ln>
          <a:effectLst/>
        </p:spPr>
        <p:txBody>
          <a:bodyPr wrap="square" lIns="0" tIns="0" rIns="0" bIns="0" anchor="ctr"/>
          <a:lstStyle/>
          <a:p>
            <a:pPr>
              <a:spcBef>
                <a:spcPct val="0"/>
              </a:spcBef>
            </a:pPr>
            <a:r>
              <a:rPr lang="en-US" altLang="zh-CN" sz="1400" b="1" kern="0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ockholm</a:t>
            </a:r>
          </a:p>
        </p:txBody>
      </p:sp>
      <p:sp>
        <p:nvSpPr>
          <p:cNvPr id="75" name="Text Placeholder 32">
            <a:extLst>
              <a:ext uri="{FF2B5EF4-FFF2-40B4-BE49-F238E27FC236}">
                <a16:creationId xmlns:a16="http://schemas.microsoft.com/office/drawing/2014/main" id="{B022A001-AB53-43E2-B10D-A612334B08B8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Regional split of Sweden</a:t>
            </a:r>
          </a:p>
        </p:txBody>
      </p:sp>
    </p:spTree>
    <p:extLst>
      <p:ext uri="{BB962C8B-B14F-4D97-AF65-F5344CB8AC3E}">
        <p14:creationId xmlns:p14="http://schemas.microsoft.com/office/powerpoint/2010/main" val="314978815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6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/>
        </p:nvSpPr>
        <p:spPr bwMode="auto">
          <a:xfrm>
            <a:off x="3162300" y="1657350"/>
            <a:ext cx="381000" cy="381000"/>
          </a:xfrm>
          <a:prstGeom prst="ellipse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824153" y="1466849"/>
            <a:ext cx="3665922" cy="471804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 rtlCol="0" anchor="t">
            <a:noAutofit/>
          </a:bodyPr>
          <a:lstStyle/>
          <a:p>
            <a:pPr algn="l"/>
            <a:endParaRPr lang="en-US" sz="1100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5824154" y="1466850"/>
            <a:ext cx="3665922" cy="409575"/>
          </a:xfrm>
          <a:prstGeom prst="rect">
            <a:avLst/>
          </a:prstGeom>
          <a:solidFill>
            <a:schemeClr val="tx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is is a placeholder</a:t>
            </a:r>
          </a:p>
        </p:txBody>
      </p:sp>
      <p:sp>
        <p:nvSpPr>
          <p:cNvPr id="37" name="TextBox 36"/>
          <p:cNvSpPr txBox="1"/>
          <p:nvPr/>
        </p:nvSpPr>
        <p:spPr bwMode="gray">
          <a:xfrm flipH="1">
            <a:off x="6149357" y="2005542"/>
            <a:ext cx="3348655" cy="226158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 algn="l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is text can be replaced with your own text</a:t>
            </a: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is text can be replaced with your own text</a:t>
            </a: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is text can be replaced with your own text</a:t>
            </a: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is text can be replaced with your own text</a:t>
            </a: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is text can be replaced with your own text</a:t>
            </a: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is text can be replaced with your own text</a:t>
            </a:r>
          </a:p>
        </p:txBody>
      </p:sp>
      <p:sp>
        <p:nvSpPr>
          <p:cNvPr id="39" name="TextBox 38"/>
          <p:cNvSpPr txBox="1"/>
          <p:nvPr/>
        </p:nvSpPr>
        <p:spPr bwMode="gray">
          <a:xfrm flipH="1">
            <a:off x="3892948" y="1565444"/>
            <a:ext cx="99615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41" name="TextBox 40"/>
          <p:cNvSpPr txBox="1"/>
          <p:nvPr/>
        </p:nvSpPr>
        <p:spPr bwMode="gray">
          <a:xfrm flipH="1">
            <a:off x="3892948" y="2257747"/>
            <a:ext cx="99615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42" name="TextBox 41"/>
          <p:cNvSpPr txBox="1"/>
          <p:nvPr/>
        </p:nvSpPr>
        <p:spPr bwMode="gray">
          <a:xfrm flipH="1">
            <a:off x="3892948" y="2950050"/>
            <a:ext cx="99615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43" name="TextBox 42"/>
          <p:cNvSpPr txBox="1"/>
          <p:nvPr/>
        </p:nvSpPr>
        <p:spPr bwMode="gray">
          <a:xfrm flipH="1">
            <a:off x="3892948" y="3642353"/>
            <a:ext cx="99615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44" name="TextBox 43"/>
          <p:cNvSpPr txBox="1"/>
          <p:nvPr/>
        </p:nvSpPr>
        <p:spPr bwMode="gray">
          <a:xfrm flipH="1">
            <a:off x="3892948" y="4334656"/>
            <a:ext cx="99615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45" name="TextBox 44"/>
          <p:cNvSpPr txBox="1"/>
          <p:nvPr/>
        </p:nvSpPr>
        <p:spPr bwMode="gray">
          <a:xfrm flipH="1">
            <a:off x="3892948" y="5026959"/>
            <a:ext cx="99615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46" name="TextBox 45"/>
          <p:cNvSpPr txBox="1"/>
          <p:nvPr/>
        </p:nvSpPr>
        <p:spPr bwMode="gray">
          <a:xfrm flipH="1">
            <a:off x="3892948" y="5719261"/>
            <a:ext cx="99615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48" name="Oval 47"/>
          <p:cNvSpPr/>
          <p:nvPr/>
        </p:nvSpPr>
        <p:spPr bwMode="auto">
          <a:xfrm>
            <a:off x="3162300" y="2348442"/>
            <a:ext cx="381000" cy="381000"/>
          </a:xfrm>
          <a:prstGeom prst="ellipse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Oval 48"/>
          <p:cNvSpPr/>
          <p:nvPr/>
        </p:nvSpPr>
        <p:spPr bwMode="auto">
          <a:xfrm>
            <a:off x="3162300" y="3039534"/>
            <a:ext cx="381000" cy="381000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0" name="Oval 49"/>
          <p:cNvSpPr/>
          <p:nvPr/>
        </p:nvSpPr>
        <p:spPr bwMode="auto">
          <a:xfrm>
            <a:off x="3162300" y="3730626"/>
            <a:ext cx="381000" cy="381000"/>
          </a:xfrm>
          <a:prstGeom prst="ellipse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/>
          <p:cNvSpPr/>
          <p:nvPr/>
        </p:nvSpPr>
        <p:spPr bwMode="auto">
          <a:xfrm>
            <a:off x="3162300" y="4421718"/>
            <a:ext cx="381000" cy="381000"/>
          </a:xfrm>
          <a:prstGeom prst="ellipse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/>
          <p:cNvSpPr/>
          <p:nvPr/>
        </p:nvSpPr>
        <p:spPr bwMode="auto">
          <a:xfrm>
            <a:off x="3162300" y="5112810"/>
            <a:ext cx="381000" cy="381000"/>
          </a:xfrm>
          <a:prstGeom prst="ellipse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/>
          <p:cNvSpPr/>
          <p:nvPr/>
        </p:nvSpPr>
        <p:spPr bwMode="auto">
          <a:xfrm>
            <a:off x="3162300" y="5803900"/>
            <a:ext cx="381000" cy="381000"/>
          </a:xfrm>
          <a:prstGeom prst="ellipse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val 53"/>
          <p:cNvSpPr/>
          <p:nvPr/>
        </p:nvSpPr>
        <p:spPr bwMode="auto">
          <a:xfrm>
            <a:off x="1785144" y="2002896"/>
            <a:ext cx="381000" cy="381000"/>
          </a:xfrm>
          <a:prstGeom prst="ellipse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Oval 54"/>
          <p:cNvSpPr/>
          <p:nvPr/>
        </p:nvSpPr>
        <p:spPr bwMode="auto">
          <a:xfrm>
            <a:off x="1785144" y="3730626"/>
            <a:ext cx="381000" cy="381000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6" name="Oval 55"/>
          <p:cNvSpPr/>
          <p:nvPr/>
        </p:nvSpPr>
        <p:spPr bwMode="auto">
          <a:xfrm>
            <a:off x="1785144" y="5458355"/>
            <a:ext cx="381000" cy="381000"/>
          </a:xfrm>
          <a:prstGeom prst="ellipse">
            <a:avLst/>
          </a:prstGeom>
          <a:solidFill>
            <a:schemeClr val="tx2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endParaRPr lang="en-US" sz="1100" dirty="0">
              <a:solidFill>
                <a:srgbClr val="0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Oval 56"/>
          <p:cNvSpPr/>
          <p:nvPr/>
        </p:nvSpPr>
        <p:spPr bwMode="auto">
          <a:xfrm>
            <a:off x="407988" y="3730626"/>
            <a:ext cx="381000" cy="381000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11" name="Straight Connector 10"/>
          <p:cNvCxnSpPr>
            <a:stCxn id="57" idx="6"/>
            <a:endCxn id="55" idx="2"/>
          </p:cNvCxnSpPr>
          <p:nvPr/>
        </p:nvCxnSpPr>
        <p:spPr bwMode="auto">
          <a:xfrm>
            <a:off x="788988" y="3921126"/>
            <a:ext cx="99615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stCxn id="57" idx="7"/>
            <a:endCxn id="54" idx="3"/>
          </p:cNvCxnSpPr>
          <p:nvPr/>
        </p:nvCxnSpPr>
        <p:spPr bwMode="auto">
          <a:xfrm flipV="1">
            <a:off x="733192" y="2328100"/>
            <a:ext cx="1107748" cy="145832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/>
          <p:cNvCxnSpPr>
            <a:stCxn id="57" idx="5"/>
            <a:endCxn id="56" idx="1"/>
          </p:cNvCxnSpPr>
          <p:nvPr/>
        </p:nvCxnSpPr>
        <p:spPr bwMode="auto">
          <a:xfrm>
            <a:off x="733192" y="4055830"/>
            <a:ext cx="1107748" cy="145832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/>
          <p:cNvCxnSpPr>
            <a:stCxn id="54" idx="6"/>
            <a:endCxn id="6" idx="2"/>
          </p:cNvCxnSpPr>
          <p:nvPr/>
        </p:nvCxnSpPr>
        <p:spPr bwMode="auto">
          <a:xfrm flipV="1">
            <a:off x="2166144" y="1847850"/>
            <a:ext cx="996156" cy="34554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/>
          <p:cNvCxnSpPr>
            <a:stCxn id="54" idx="6"/>
            <a:endCxn id="48" idx="2"/>
          </p:cNvCxnSpPr>
          <p:nvPr/>
        </p:nvCxnSpPr>
        <p:spPr bwMode="auto">
          <a:xfrm>
            <a:off x="2166144" y="2193396"/>
            <a:ext cx="996156" cy="34554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>
            <a:stCxn id="55" idx="7"/>
            <a:endCxn id="49" idx="2"/>
          </p:cNvCxnSpPr>
          <p:nvPr/>
        </p:nvCxnSpPr>
        <p:spPr bwMode="auto">
          <a:xfrm flipV="1">
            <a:off x="2110348" y="3230034"/>
            <a:ext cx="1051952" cy="5563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/>
          <p:cNvCxnSpPr>
            <a:stCxn id="55" idx="5"/>
            <a:endCxn id="51" idx="2"/>
          </p:cNvCxnSpPr>
          <p:nvPr/>
        </p:nvCxnSpPr>
        <p:spPr bwMode="auto">
          <a:xfrm>
            <a:off x="2110348" y="4055830"/>
            <a:ext cx="1051952" cy="5563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>
            <a:stCxn id="55" idx="6"/>
            <a:endCxn id="50" idx="2"/>
          </p:cNvCxnSpPr>
          <p:nvPr/>
        </p:nvCxnSpPr>
        <p:spPr bwMode="auto">
          <a:xfrm>
            <a:off x="2166144" y="3921126"/>
            <a:ext cx="99615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>
            <a:stCxn id="56" idx="6"/>
            <a:endCxn id="53" idx="2"/>
          </p:cNvCxnSpPr>
          <p:nvPr/>
        </p:nvCxnSpPr>
        <p:spPr bwMode="auto">
          <a:xfrm>
            <a:off x="2166144" y="5648855"/>
            <a:ext cx="996156" cy="34554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Straight Connector 86"/>
          <p:cNvCxnSpPr>
            <a:stCxn id="56" idx="6"/>
            <a:endCxn id="52" idx="2"/>
          </p:cNvCxnSpPr>
          <p:nvPr/>
        </p:nvCxnSpPr>
        <p:spPr bwMode="auto">
          <a:xfrm flipV="1">
            <a:off x="2166144" y="5303310"/>
            <a:ext cx="996156" cy="34554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60" name="Group 59"/>
          <p:cNvGrpSpPr/>
          <p:nvPr/>
        </p:nvGrpSpPr>
        <p:grpSpPr>
          <a:xfrm>
            <a:off x="3543300" y="1847850"/>
            <a:ext cx="1695450" cy="4146550"/>
            <a:chOff x="3543300" y="1847850"/>
            <a:chExt cx="2019300" cy="4146550"/>
          </a:xfrm>
        </p:grpSpPr>
        <p:cxnSp>
          <p:nvCxnSpPr>
            <p:cNvPr id="58" name="Straight Connector 57"/>
            <p:cNvCxnSpPr/>
            <p:nvPr/>
          </p:nvCxnSpPr>
          <p:spPr bwMode="auto">
            <a:xfrm>
              <a:off x="3543300" y="1847850"/>
              <a:ext cx="20193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2" name="Straight Connector 91"/>
            <p:cNvCxnSpPr/>
            <p:nvPr/>
          </p:nvCxnSpPr>
          <p:spPr bwMode="auto">
            <a:xfrm>
              <a:off x="3543300" y="2538942"/>
              <a:ext cx="20193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3" name="Straight Connector 92"/>
            <p:cNvCxnSpPr/>
            <p:nvPr/>
          </p:nvCxnSpPr>
          <p:spPr bwMode="auto">
            <a:xfrm>
              <a:off x="3543300" y="3230034"/>
              <a:ext cx="20193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4" name="Straight Connector 93"/>
            <p:cNvCxnSpPr/>
            <p:nvPr/>
          </p:nvCxnSpPr>
          <p:spPr bwMode="auto">
            <a:xfrm>
              <a:off x="3543300" y="3921126"/>
              <a:ext cx="20193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" name="Straight Connector 94"/>
            <p:cNvCxnSpPr/>
            <p:nvPr/>
          </p:nvCxnSpPr>
          <p:spPr bwMode="auto">
            <a:xfrm>
              <a:off x="3543300" y="4612218"/>
              <a:ext cx="20193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6" name="Straight Connector 95"/>
            <p:cNvCxnSpPr/>
            <p:nvPr/>
          </p:nvCxnSpPr>
          <p:spPr bwMode="auto">
            <a:xfrm>
              <a:off x="3543300" y="5303310"/>
              <a:ext cx="20193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7" name="Straight Connector 96"/>
            <p:cNvCxnSpPr/>
            <p:nvPr/>
          </p:nvCxnSpPr>
          <p:spPr bwMode="auto">
            <a:xfrm>
              <a:off x="3543300" y="5994400"/>
              <a:ext cx="20193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9" name="TextBox 108"/>
          <p:cNvSpPr txBox="1"/>
          <p:nvPr/>
        </p:nvSpPr>
        <p:spPr bwMode="gray">
          <a:xfrm rot="18412101" flipH="1">
            <a:off x="966160" y="2907204"/>
            <a:ext cx="462756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0" name="TextBox 109"/>
          <p:cNvSpPr txBox="1"/>
          <p:nvPr/>
        </p:nvSpPr>
        <p:spPr bwMode="gray">
          <a:xfrm rot="3216195" flipH="1">
            <a:off x="967310" y="4777956"/>
            <a:ext cx="462756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1" name="TextBox 110"/>
          <p:cNvSpPr txBox="1"/>
          <p:nvPr/>
        </p:nvSpPr>
        <p:spPr bwMode="gray">
          <a:xfrm rot="20463886" flipH="1">
            <a:off x="2431059" y="1838606"/>
            <a:ext cx="462756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2" name="TextBox 111"/>
          <p:cNvSpPr txBox="1"/>
          <p:nvPr/>
        </p:nvSpPr>
        <p:spPr bwMode="gray">
          <a:xfrm rot="1278553" flipH="1">
            <a:off x="2393346" y="2392532"/>
            <a:ext cx="462756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3" name="TextBox 112"/>
          <p:cNvSpPr txBox="1"/>
          <p:nvPr/>
        </p:nvSpPr>
        <p:spPr bwMode="gray">
          <a:xfrm rot="20463886" flipH="1">
            <a:off x="2457287" y="5295322"/>
            <a:ext cx="462756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4" name="TextBox 113"/>
          <p:cNvSpPr txBox="1"/>
          <p:nvPr/>
        </p:nvSpPr>
        <p:spPr bwMode="gray">
          <a:xfrm rot="1278553" flipH="1">
            <a:off x="2404944" y="5875028"/>
            <a:ext cx="462756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5" name="TextBox 114"/>
          <p:cNvSpPr txBox="1"/>
          <p:nvPr/>
        </p:nvSpPr>
        <p:spPr bwMode="gray">
          <a:xfrm rot="19898327" flipH="1">
            <a:off x="2435118" y="3320004"/>
            <a:ext cx="462756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17" name="TextBox 116"/>
          <p:cNvSpPr txBox="1"/>
          <p:nvPr/>
        </p:nvSpPr>
        <p:spPr bwMode="gray">
          <a:xfrm flipH="1">
            <a:off x="2547080" y="3744309"/>
            <a:ext cx="461963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0" name="TextBox 119"/>
          <p:cNvSpPr txBox="1"/>
          <p:nvPr/>
        </p:nvSpPr>
        <p:spPr bwMode="gray">
          <a:xfrm rot="1697792" flipH="1">
            <a:off x="2334530" y="4371600"/>
            <a:ext cx="462756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121" name="TextBox 120"/>
          <p:cNvSpPr txBox="1"/>
          <p:nvPr/>
        </p:nvSpPr>
        <p:spPr bwMode="gray">
          <a:xfrm flipH="1">
            <a:off x="1166935" y="3757647"/>
            <a:ext cx="461963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ts val="0"/>
              </a:spcBef>
              <a:spcAft>
                <a:spcPts val="300"/>
              </a:spcAft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8B55E8CA-C159-40F0-9435-FC5E831C3A6C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EDA7104-C8B2-4BD7-81B1-126C5CD7A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da-DK" dirty="0"/>
              <a:t>Decision Tree</a:t>
            </a:r>
          </a:p>
        </p:txBody>
      </p:sp>
    </p:spTree>
    <p:extLst>
      <p:ext uri="{BB962C8B-B14F-4D97-AF65-F5344CB8AC3E}">
        <p14:creationId xmlns:p14="http://schemas.microsoft.com/office/powerpoint/2010/main" val="323000185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7055319"/>
              </p:ext>
            </p:extLst>
          </p:nvPr>
        </p:nvGraphicFramePr>
        <p:xfrm>
          <a:off x="382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8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1" name="Titel 22"/>
          <p:cNvSpPr txBox="1">
            <a:spLocks/>
          </p:cNvSpPr>
          <p:nvPr/>
        </p:nvSpPr>
        <p:spPr bwMode="auto">
          <a:xfrm>
            <a:off x="713884" y="662092"/>
            <a:ext cx="6333884" cy="234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523" b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108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108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108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108" b="1">
                <a:solidFill>
                  <a:schemeClr val="tx2"/>
                </a:solidFill>
                <a:latin typeface="Arial" charset="0"/>
              </a:defRPr>
            </a:lvl5pPr>
            <a:lvl6pPr marL="316506" algn="l" rtl="0" eaLnBrk="1" fontAlgn="base" hangingPunct="1">
              <a:spcBef>
                <a:spcPct val="0"/>
              </a:spcBef>
              <a:spcAft>
                <a:spcPct val="0"/>
              </a:spcAft>
              <a:defRPr sz="1108" b="1">
                <a:solidFill>
                  <a:schemeClr val="tx2"/>
                </a:solidFill>
                <a:latin typeface="Arial" charset="0"/>
              </a:defRPr>
            </a:lvl6pPr>
            <a:lvl7pPr marL="633012" algn="l" rtl="0" eaLnBrk="1" fontAlgn="base" hangingPunct="1">
              <a:spcBef>
                <a:spcPct val="0"/>
              </a:spcBef>
              <a:spcAft>
                <a:spcPct val="0"/>
              </a:spcAft>
              <a:defRPr sz="1108" b="1">
                <a:solidFill>
                  <a:schemeClr val="tx2"/>
                </a:solidFill>
                <a:latin typeface="Arial" charset="0"/>
              </a:defRPr>
            </a:lvl7pPr>
            <a:lvl8pPr marL="949519" algn="l" rtl="0" eaLnBrk="1" fontAlgn="base" hangingPunct="1">
              <a:spcBef>
                <a:spcPct val="0"/>
              </a:spcBef>
              <a:spcAft>
                <a:spcPct val="0"/>
              </a:spcAft>
              <a:defRPr sz="1108" b="1">
                <a:solidFill>
                  <a:schemeClr val="tx2"/>
                </a:solidFill>
                <a:latin typeface="Arial" charset="0"/>
              </a:defRPr>
            </a:lvl8pPr>
            <a:lvl9pPr marL="1266026" algn="l" rtl="0" eaLnBrk="1" fontAlgn="base" hangingPunct="1">
              <a:spcBef>
                <a:spcPct val="0"/>
              </a:spcBef>
              <a:spcAft>
                <a:spcPct val="0"/>
              </a:spcAft>
              <a:defRPr sz="1108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1938" kern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0B1A5C8-D485-4859-AE5E-AC356E52D9E4}"/>
              </a:ext>
            </a:extLst>
          </p:cNvPr>
          <p:cNvCxnSpPr>
            <a:cxnSpLocks/>
          </p:cNvCxnSpPr>
          <p:nvPr/>
        </p:nvCxnSpPr>
        <p:spPr>
          <a:xfrm>
            <a:off x="3095008" y="2267043"/>
            <a:ext cx="1380032" cy="0"/>
          </a:xfrm>
          <a:prstGeom prst="line">
            <a:avLst/>
          </a:prstGeom>
          <a:noFill/>
          <a:ln w="19050" cap="flat" cmpd="sng" algn="ctr">
            <a:solidFill>
              <a:srgbClr val="303030"/>
            </a:solidFill>
            <a:prstDash val="soli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E8E53A9-5E86-47FE-AEF1-B4035555A28A}"/>
              </a:ext>
            </a:extLst>
          </p:cNvPr>
          <p:cNvCxnSpPr>
            <a:cxnSpLocks/>
          </p:cNvCxnSpPr>
          <p:nvPr/>
        </p:nvCxnSpPr>
        <p:spPr>
          <a:xfrm>
            <a:off x="3477916" y="3200454"/>
            <a:ext cx="997102" cy="0"/>
          </a:xfrm>
          <a:prstGeom prst="line">
            <a:avLst/>
          </a:prstGeom>
          <a:noFill/>
          <a:ln w="19050" cap="flat" cmpd="sng" algn="ctr">
            <a:solidFill>
              <a:srgbClr val="303030"/>
            </a:solidFill>
            <a:prstDash val="soli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D8D56E2-71CC-4F97-9426-1943A0B85D45}"/>
              </a:ext>
            </a:extLst>
          </p:cNvPr>
          <p:cNvCxnSpPr>
            <a:cxnSpLocks/>
          </p:cNvCxnSpPr>
          <p:nvPr/>
        </p:nvCxnSpPr>
        <p:spPr>
          <a:xfrm>
            <a:off x="3209389" y="4122966"/>
            <a:ext cx="1265650" cy="0"/>
          </a:xfrm>
          <a:prstGeom prst="line">
            <a:avLst/>
          </a:prstGeom>
          <a:noFill/>
          <a:ln w="19050" cap="flat" cmpd="sng" algn="ctr">
            <a:solidFill>
              <a:srgbClr val="303030"/>
            </a:solidFill>
            <a:prstDash val="soli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371DD29-BAFB-4CA7-9E17-B38ECD770923}"/>
              </a:ext>
            </a:extLst>
          </p:cNvPr>
          <p:cNvCxnSpPr>
            <a:cxnSpLocks/>
          </p:cNvCxnSpPr>
          <p:nvPr/>
        </p:nvCxnSpPr>
        <p:spPr>
          <a:xfrm>
            <a:off x="2825387" y="5045539"/>
            <a:ext cx="1649655" cy="0"/>
          </a:xfrm>
          <a:prstGeom prst="line">
            <a:avLst/>
          </a:prstGeom>
          <a:noFill/>
          <a:ln w="19050" cap="flat" cmpd="sng" algn="ctr">
            <a:solidFill>
              <a:srgbClr val="303030"/>
            </a:solidFill>
            <a:prstDash val="solid"/>
          </a:ln>
          <a:effectLst/>
        </p:spPr>
      </p:cxnSp>
      <p:sp>
        <p:nvSpPr>
          <p:cNvPr id="32" name="Freeform 6">
            <a:extLst>
              <a:ext uri="{FF2B5EF4-FFF2-40B4-BE49-F238E27FC236}">
                <a16:creationId xmlns:a16="http://schemas.microsoft.com/office/drawing/2014/main" id="{49966DDC-DF91-4AFB-A549-8E96BE719B16}"/>
              </a:ext>
            </a:extLst>
          </p:cNvPr>
          <p:cNvSpPr>
            <a:spLocks/>
          </p:cNvSpPr>
          <p:nvPr/>
        </p:nvSpPr>
        <p:spPr bwMode="auto">
          <a:xfrm>
            <a:off x="1626372" y="5347768"/>
            <a:ext cx="1199015" cy="982691"/>
          </a:xfrm>
          <a:custGeom>
            <a:avLst/>
            <a:gdLst>
              <a:gd name="T0" fmla="*/ 1775 w 1775"/>
              <a:gd name="T1" fmla="*/ 272 h 1788"/>
              <a:gd name="T2" fmla="*/ 1775 w 1775"/>
              <a:gd name="T3" fmla="*/ 272 h 1788"/>
              <a:gd name="T4" fmla="*/ 1775 w 1775"/>
              <a:gd name="T5" fmla="*/ 53 h 1788"/>
              <a:gd name="T6" fmla="*/ 1723 w 1775"/>
              <a:gd name="T7" fmla="*/ 0 h 1788"/>
              <a:gd name="T8" fmla="*/ 52 w 1775"/>
              <a:gd name="T9" fmla="*/ 0 h 1788"/>
              <a:gd name="T10" fmla="*/ 0 w 1775"/>
              <a:gd name="T11" fmla="*/ 53 h 1788"/>
              <a:gd name="T12" fmla="*/ 0 w 1775"/>
              <a:gd name="T13" fmla="*/ 342 h 1788"/>
              <a:gd name="T14" fmla="*/ 80 w 1775"/>
              <a:gd name="T15" fmla="*/ 466 h 1788"/>
              <a:gd name="T16" fmla="*/ 0 w 1775"/>
              <a:gd name="T17" fmla="*/ 584 h 1788"/>
              <a:gd name="T18" fmla="*/ 80 w 1775"/>
              <a:gd name="T19" fmla="*/ 711 h 1788"/>
              <a:gd name="T20" fmla="*/ 0 w 1775"/>
              <a:gd name="T21" fmla="*/ 822 h 1788"/>
              <a:gd name="T22" fmla="*/ 80 w 1775"/>
              <a:gd name="T23" fmla="*/ 964 h 1788"/>
              <a:gd name="T24" fmla="*/ 0 w 1775"/>
              <a:gd name="T25" fmla="*/ 1076 h 1788"/>
              <a:gd name="T26" fmla="*/ 80 w 1775"/>
              <a:gd name="T27" fmla="*/ 1209 h 1788"/>
              <a:gd name="T28" fmla="*/ 80 w 1775"/>
              <a:gd name="T29" fmla="*/ 1303 h 1788"/>
              <a:gd name="T30" fmla="*/ 581 w 1775"/>
              <a:gd name="T31" fmla="*/ 1745 h 1788"/>
              <a:gd name="T32" fmla="*/ 693 w 1775"/>
              <a:gd name="T33" fmla="*/ 1788 h 1788"/>
              <a:gd name="T34" fmla="*/ 1086 w 1775"/>
              <a:gd name="T35" fmla="*/ 1788 h 1788"/>
              <a:gd name="T36" fmla="*/ 1198 w 1775"/>
              <a:gd name="T37" fmla="*/ 1745 h 1788"/>
              <a:gd name="T38" fmla="*/ 1695 w 1775"/>
              <a:gd name="T39" fmla="*/ 1303 h 1788"/>
              <a:gd name="T40" fmla="*/ 1695 w 1775"/>
              <a:gd name="T41" fmla="*/ 1139 h 1788"/>
              <a:gd name="T42" fmla="*/ 1775 w 1775"/>
              <a:gd name="T43" fmla="*/ 1005 h 1788"/>
              <a:gd name="T44" fmla="*/ 1695 w 1775"/>
              <a:gd name="T45" fmla="*/ 894 h 1788"/>
              <a:gd name="T46" fmla="*/ 1775 w 1775"/>
              <a:gd name="T47" fmla="*/ 752 h 1788"/>
              <a:gd name="T48" fmla="*/ 1695 w 1775"/>
              <a:gd name="T49" fmla="*/ 641 h 1788"/>
              <a:gd name="T50" fmla="*/ 1775 w 1775"/>
              <a:gd name="T51" fmla="*/ 514 h 1788"/>
              <a:gd name="T52" fmla="*/ 1695 w 1775"/>
              <a:gd name="T53" fmla="*/ 396 h 1788"/>
              <a:gd name="T54" fmla="*/ 1775 w 1775"/>
              <a:gd name="T55" fmla="*/ 272 h 1788"/>
              <a:gd name="T56" fmla="*/ 1775 w 1775"/>
              <a:gd name="T57" fmla="*/ 272 h 1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775" h="1788">
                <a:moveTo>
                  <a:pt x="1775" y="272"/>
                </a:moveTo>
                <a:lnTo>
                  <a:pt x="1775" y="272"/>
                </a:lnTo>
                <a:lnTo>
                  <a:pt x="1775" y="53"/>
                </a:lnTo>
                <a:cubicBezTo>
                  <a:pt x="1775" y="24"/>
                  <a:pt x="1752" y="0"/>
                  <a:pt x="1723" y="0"/>
                </a:cubicBezTo>
                <a:lnTo>
                  <a:pt x="52" y="0"/>
                </a:lnTo>
                <a:cubicBezTo>
                  <a:pt x="23" y="0"/>
                  <a:pt x="0" y="24"/>
                  <a:pt x="0" y="53"/>
                </a:cubicBezTo>
                <a:lnTo>
                  <a:pt x="0" y="342"/>
                </a:lnTo>
                <a:cubicBezTo>
                  <a:pt x="0" y="386"/>
                  <a:pt x="80" y="409"/>
                  <a:pt x="80" y="466"/>
                </a:cubicBezTo>
                <a:cubicBezTo>
                  <a:pt x="80" y="523"/>
                  <a:pt x="0" y="523"/>
                  <a:pt x="0" y="584"/>
                </a:cubicBezTo>
                <a:cubicBezTo>
                  <a:pt x="0" y="645"/>
                  <a:pt x="80" y="639"/>
                  <a:pt x="80" y="711"/>
                </a:cubicBezTo>
                <a:cubicBezTo>
                  <a:pt x="80" y="783"/>
                  <a:pt x="0" y="757"/>
                  <a:pt x="0" y="822"/>
                </a:cubicBezTo>
                <a:cubicBezTo>
                  <a:pt x="0" y="888"/>
                  <a:pt x="80" y="892"/>
                  <a:pt x="80" y="964"/>
                </a:cubicBezTo>
                <a:cubicBezTo>
                  <a:pt x="80" y="1036"/>
                  <a:pt x="0" y="1012"/>
                  <a:pt x="0" y="1076"/>
                </a:cubicBezTo>
                <a:cubicBezTo>
                  <a:pt x="0" y="1139"/>
                  <a:pt x="80" y="1141"/>
                  <a:pt x="80" y="1209"/>
                </a:cubicBezTo>
                <a:lnTo>
                  <a:pt x="80" y="1303"/>
                </a:lnTo>
                <a:lnTo>
                  <a:pt x="581" y="1745"/>
                </a:lnTo>
                <a:cubicBezTo>
                  <a:pt x="612" y="1773"/>
                  <a:pt x="651" y="1788"/>
                  <a:pt x="693" y="1788"/>
                </a:cubicBezTo>
                <a:lnTo>
                  <a:pt x="1086" y="1788"/>
                </a:lnTo>
                <a:cubicBezTo>
                  <a:pt x="1127" y="1788"/>
                  <a:pt x="1167" y="1773"/>
                  <a:pt x="1198" y="1745"/>
                </a:cubicBezTo>
                <a:lnTo>
                  <a:pt x="1695" y="1303"/>
                </a:lnTo>
                <a:lnTo>
                  <a:pt x="1695" y="1139"/>
                </a:lnTo>
                <a:cubicBezTo>
                  <a:pt x="1695" y="1071"/>
                  <a:pt x="1775" y="1069"/>
                  <a:pt x="1775" y="1005"/>
                </a:cubicBezTo>
                <a:cubicBezTo>
                  <a:pt x="1775" y="942"/>
                  <a:pt x="1695" y="966"/>
                  <a:pt x="1695" y="894"/>
                </a:cubicBezTo>
                <a:cubicBezTo>
                  <a:pt x="1695" y="822"/>
                  <a:pt x="1775" y="818"/>
                  <a:pt x="1775" y="752"/>
                </a:cubicBezTo>
                <a:cubicBezTo>
                  <a:pt x="1775" y="687"/>
                  <a:pt x="1695" y="713"/>
                  <a:pt x="1695" y="641"/>
                </a:cubicBezTo>
                <a:cubicBezTo>
                  <a:pt x="1695" y="569"/>
                  <a:pt x="1775" y="575"/>
                  <a:pt x="1775" y="514"/>
                </a:cubicBezTo>
                <a:cubicBezTo>
                  <a:pt x="1775" y="453"/>
                  <a:pt x="1695" y="453"/>
                  <a:pt x="1695" y="396"/>
                </a:cubicBezTo>
                <a:cubicBezTo>
                  <a:pt x="1695" y="339"/>
                  <a:pt x="1775" y="315"/>
                  <a:pt x="1775" y="272"/>
                </a:cubicBezTo>
                <a:lnTo>
                  <a:pt x="1775" y="272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215" kern="0">
              <a:solidFill>
                <a:srgbClr val="57565A"/>
              </a:solidFill>
            </a:endParaRPr>
          </a:p>
        </p:txBody>
      </p:sp>
      <p:sp>
        <p:nvSpPr>
          <p:cNvPr id="33" name="Freeform 7">
            <a:extLst>
              <a:ext uri="{FF2B5EF4-FFF2-40B4-BE49-F238E27FC236}">
                <a16:creationId xmlns:a16="http://schemas.microsoft.com/office/drawing/2014/main" id="{6D17F882-6A7D-4F9C-B92E-B3489E92535C}"/>
              </a:ext>
            </a:extLst>
          </p:cNvPr>
          <p:cNvSpPr>
            <a:spLocks/>
          </p:cNvSpPr>
          <p:nvPr/>
        </p:nvSpPr>
        <p:spPr bwMode="auto">
          <a:xfrm>
            <a:off x="847649" y="1582616"/>
            <a:ext cx="2715227" cy="889743"/>
          </a:xfrm>
          <a:custGeom>
            <a:avLst/>
            <a:gdLst>
              <a:gd name="T0" fmla="*/ 4021 w 4021"/>
              <a:gd name="T1" fmla="*/ 1317 h 1317"/>
              <a:gd name="T2" fmla="*/ 4021 w 4021"/>
              <a:gd name="T3" fmla="*/ 1317 h 1317"/>
              <a:gd name="T4" fmla="*/ 2010 w 4021"/>
              <a:gd name="T5" fmla="*/ 0 h 1317"/>
              <a:gd name="T6" fmla="*/ 0 w 4021"/>
              <a:gd name="T7" fmla="*/ 1317 h 1317"/>
              <a:gd name="T8" fmla="*/ 4021 w 4021"/>
              <a:gd name="T9" fmla="*/ 1317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21" h="1317">
                <a:moveTo>
                  <a:pt x="4021" y="1317"/>
                </a:moveTo>
                <a:lnTo>
                  <a:pt x="4021" y="1317"/>
                </a:lnTo>
                <a:cubicBezTo>
                  <a:pt x="3733" y="492"/>
                  <a:pt x="2960" y="0"/>
                  <a:pt x="2010" y="0"/>
                </a:cubicBezTo>
                <a:cubicBezTo>
                  <a:pt x="1060" y="0"/>
                  <a:pt x="287" y="492"/>
                  <a:pt x="0" y="1317"/>
                </a:cubicBezTo>
                <a:lnTo>
                  <a:pt x="4021" y="1317"/>
                </a:lnTo>
                <a:close/>
              </a:path>
            </a:pathLst>
          </a:custGeom>
          <a:solidFill>
            <a:srgbClr val="FF1F49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215" kern="0">
              <a:solidFill>
                <a:srgbClr val="57565A"/>
              </a:solidFill>
            </a:endParaRPr>
          </a:p>
        </p:txBody>
      </p:sp>
      <p:sp>
        <p:nvSpPr>
          <p:cNvPr id="34" name="Freeform 10">
            <a:extLst>
              <a:ext uri="{FF2B5EF4-FFF2-40B4-BE49-F238E27FC236}">
                <a16:creationId xmlns:a16="http://schemas.microsoft.com/office/drawing/2014/main" id="{BA5D75E2-0FCF-4121-9823-AF27770DD2A3}"/>
              </a:ext>
            </a:extLst>
          </p:cNvPr>
          <p:cNvSpPr>
            <a:spLocks/>
          </p:cNvSpPr>
          <p:nvPr/>
        </p:nvSpPr>
        <p:spPr bwMode="auto">
          <a:xfrm>
            <a:off x="766762" y="2538969"/>
            <a:ext cx="2876999" cy="856437"/>
          </a:xfrm>
          <a:custGeom>
            <a:avLst/>
            <a:gdLst>
              <a:gd name="T0" fmla="*/ 0 w 4262"/>
              <a:gd name="T1" fmla="*/ 643 h 1268"/>
              <a:gd name="T2" fmla="*/ 0 w 4262"/>
              <a:gd name="T3" fmla="*/ 643 h 1268"/>
              <a:gd name="T4" fmla="*/ 85 w 4262"/>
              <a:gd name="T5" fmla="*/ 1268 h 1268"/>
              <a:gd name="T6" fmla="*/ 4178 w 4262"/>
              <a:gd name="T7" fmla="*/ 1268 h 1268"/>
              <a:gd name="T8" fmla="*/ 4262 w 4262"/>
              <a:gd name="T9" fmla="*/ 643 h 1268"/>
              <a:gd name="T10" fmla="*/ 4174 w 4262"/>
              <a:gd name="T11" fmla="*/ 0 h 1268"/>
              <a:gd name="T12" fmla="*/ 89 w 4262"/>
              <a:gd name="T13" fmla="*/ 0 h 1268"/>
              <a:gd name="T14" fmla="*/ 0 w 4262"/>
              <a:gd name="T15" fmla="*/ 643 h 1268"/>
              <a:gd name="T16" fmla="*/ 0 w 4262"/>
              <a:gd name="T17" fmla="*/ 643 h 1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62" h="1268">
                <a:moveTo>
                  <a:pt x="0" y="643"/>
                </a:moveTo>
                <a:lnTo>
                  <a:pt x="0" y="643"/>
                </a:lnTo>
                <a:cubicBezTo>
                  <a:pt x="0" y="876"/>
                  <a:pt x="32" y="1082"/>
                  <a:pt x="85" y="1268"/>
                </a:cubicBezTo>
                <a:lnTo>
                  <a:pt x="4178" y="1268"/>
                </a:lnTo>
                <a:cubicBezTo>
                  <a:pt x="4230" y="1082"/>
                  <a:pt x="4262" y="876"/>
                  <a:pt x="4262" y="643"/>
                </a:cubicBezTo>
                <a:cubicBezTo>
                  <a:pt x="4262" y="412"/>
                  <a:pt x="4231" y="198"/>
                  <a:pt x="4174" y="0"/>
                </a:cubicBezTo>
                <a:lnTo>
                  <a:pt x="89" y="0"/>
                </a:lnTo>
                <a:cubicBezTo>
                  <a:pt x="31" y="198"/>
                  <a:pt x="0" y="412"/>
                  <a:pt x="0" y="643"/>
                </a:cubicBezTo>
                <a:lnTo>
                  <a:pt x="0" y="64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215" kern="0">
              <a:solidFill>
                <a:srgbClr val="57565A"/>
              </a:solidFill>
            </a:endParaRPr>
          </a:p>
        </p:txBody>
      </p:sp>
      <p:sp>
        <p:nvSpPr>
          <p:cNvPr id="35" name="Freeform 12">
            <a:extLst>
              <a:ext uri="{FF2B5EF4-FFF2-40B4-BE49-F238E27FC236}">
                <a16:creationId xmlns:a16="http://schemas.microsoft.com/office/drawing/2014/main" id="{562E5FAF-313E-422C-8B6F-E0F0D849407C}"/>
              </a:ext>
            </a:extLst>
          </p:cNvPr>
          <p:cNvSpPr>
            <a:spLocks/>
          </p:cNvSpPr>
          <p:nvPr/>
        </p:nvSpPr>
        <p:spPr bwMode="auto">
          <a:xfrm>
            <a:off x="1313932" y="4386656"/>
            <a:ext cx="1781076" cy="889743"/>
          </a:xfrm>
          <a:custGeom>
            <a:avLst/>
            <a:gdLst>
              <a:gd name="T0" fmla="*/ 0 w 2640"/>
              <a:gd name="T1" fmla="*/ 0 h 1317"/>
              <a:gd name="T2" fmla="*/ 0 w 2640"/>
              <a:gd name="T3" fmla="*/ 0 h 1317"/>
              <a:gd name="T4" fmla="*/ 127 w 2640"/>
              <a:gd name="T5" fmla="*/ 630 h 1317"/>
              <a:gd name="T6" fmla="*/ 610 w 2640"/>
              <a:gd name="T7" fmla="*/ 1317 h 1317"/>
              <a:gd name="T8" fmla="*/ 2030 w 2640"/>
              <a:gd name="T9" fmla="*/ 1317 h 1317"/>
              <a:gd name="T10" fmla="*/ 2513 w 2640"/>
              <a:gd name="T11" fmla="*/ 630 h 1317"/>
              <a:gd name="T12" fmla="*/ 2640 w 2640"/>
              <a:gd name="T13" fmla="*/ 0 h 1317"/>
              <a:gd name="T14" fmla="*/ 0 w 2640"/>
              <a:gd name="T15" fmla="*/ 0 h 1317"/>
              <a:gd name="T16" fmla="*/ 0 w 2640"/>
              <a:gd name="T17" fmla="*/ 0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40" h="1317">
                <a:moveTo>
                  <a:pt x="0" y="0"/>
                </a:moveTo>
                <a:lnTo>
                  <a:pt x="0" y="0"/>
                </a:lnTo>
                <a:cubicBezTo>
                  <a:pt x="77" y="190"/>
                  <a:pt x="127" y="394"/>
                  <a:pt x="127" y="630"/>
                </a:cubicBezTo>
                <a:cubicBezTo>
                  <a:pt x="127" y="857"/>
                  <a:pt x="340" y="1317"/>
                  <a:pt x="610" y="1317"/>
                </a:cubicBezTo>
                <a:lnTo>
                  <a:pt x="2030" y="1317"/>
                </a:lnTo>
                <a:cubicBezTo>
                  <a:pt x="2300" y="1317"/>
                  <a:pt x="2513" y="857"/>
                  <a:pt x="2513" y="630"/>
                </a:cubicBezTo>
                <a:cubicBezTo>
                  <a:pt x="2513" y="394"/>
                  <a:pt x="2563" y="190"/>
                  <a:pt x="264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2B256F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215" kern="0">
              <a:solidFill>
                <a:srgbClr val="57565A"/>
              </a:solidFill>
            </a:endParaRPr>
          </a:p>
        </p:txBody>
      </p:sp>
      <p:sp>
        <p:nvSpPr>
          <p:cNvPr id="36" name="Freeform 14">
            <a:extLst>
              <a:ext uri="{FF2B5EF4-FFF2-40B4-BE49-F238E27FC236}">
                <a16:creationId xmlns:a16="http://schemas.microsoft.com/office/drawing/2014/main" id="{6486E3BE-87BF-4187-8782-C6CD1F2A03D2}"/>
              </a:ext>
            </a:extLst>
          </p:cNvPr>
          <p:cNvSpPr>
            <a:spLocks/>
          </p:cNvSpPr>
          <p:nvPr/>
        </p:nvSpPr>
        <p:spPr bwMode="auto">
          <a:xfrm>
            <a:off x="844477" y="3463604"/>
            <a:ext cx="2721570" cy="856437"/>
          </a:xfrm>
          <a:custGeom>
            <a:avLst/>
            <a:gdLst>
              <a:gd name="T0" fmla="*/ 3379 w 4032"/>
              <a:gd name="T1" fmla="*/ 1267 h 1267"/>
              <a:gd name="T2" fmla="*/ 3379 w 4032"/>
              <a:gd name="T3" fmla="*/ 1267 h 1267"/>
              <a:gd name="T4" fmla="*/ 4032 w 4032"/>
              <a:gd name="T5" fmla="*/ 0 h 1267"/>
              <a:gd name="T6" fmla="*/ 0 w 4032"/>
              <a:gd name="T7" fmla="*/ 0 h 1267"/>
              <a:gd name="T8" fmla="*/ 653 w 4032"/>
              <a:gd name="T9" fmla="*/ 1267 h 1267"/>
              <a:gd name="T10" fmla="*/ 3379 w 4032"/>
              <a:gd name="T11" fmla="*/ 1267 h 1267"/>
              <a:gd name="T12" fmla="*/ 3379 w 4032"/>
              <a:gd name="T13" fmla="*/ 1267 h 1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32" h="1267">
                <a:moveTo>
                  <a:pt x="3379" y="1267"/>
                </a:moveTo>
                <a:lnTo>
                  <a:pt x="3379" y="1267"/>
                </a:lnTo>
                <a:cubicBezTo>
                  <a:pt x="3568" y="854"/>
                  <a:pt x="3869" y="495"/>
                  <a:pt x="4032" y="0"/>
                </a:cubicBezTo>
                <a:lnTo>
                  <a:pt x="0" y="0"/>
                </a:lnTo>
                <a:cubicBezTo>
                  <a:pt x="163" y="495"/>
                  <a:pt x="464" y="854"/>
                  <a:pt x="653" y="1267"/>
                </a:cubicBezTo>
                <a:lnTo>
                  <a:pt x="3379" y="1267"/>
                </a:lnTo>
                <a:lnTo>
                  <a:pt x="3379" y="1267"/>
                </a:lnTo>
                <a:close/>
              </a:path>
            </a:pathLst>
          </a:custGeom>
          <a:solidFill>
            <a:srgbClr val="515081"/>
          </a:solidFill>
          <a:ln w="9525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215" kern="0">
              <a:solidFill>
                <a:srgbClr val="57565A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60FFBBB-E1BD-4551-88E4-5A644403CF9D}"/>
              </a:ext>
            </a:extLst>
          </p:cNvPr>
          <p:cNvSpPr/>
          <p:nvPr/>
        </p:nvSpPr>
        <p:spPr>
          <a:xfrm>
            <a:off x="4475026" y="1899265"/>
            <a:ext cx="735556" cy="735556"/>
          </a:xfrm>
          <a:prstGeom prst="ellipse">
            <a:avLst/>
          </a:prstGeom>
          <a:solidFill>
            <a:srgbClr val="FF1F49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D71CA39E-5BC9-48A9-B800-11D7DFC844AB}"/>
              </a:ext>
            </a:extLst>
          </p:cNvPr>
          <p:cNvSpPr/>
          <p:nvPr/>
        </p:nvSpPr>
        <p:spPr>
          <a:xfrm>
            <a:off x="4475026" y="2832677"/>
            <a:ext cx="735556" cy="735556"/>
          </a:xfrm>
          <a:prstGeom prst="ellipse">
            <a:avLst/>
          </a:prstGeom>
          <a:solidFill>
            <a:schemeClr val="bg1">
              <a:lumMod val="50000"/>
            </a:schemeClr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D45F47B-2938-4B43-BEED-6D18AEBEB264}"/>
              </a:ext>
            </a:extLst>
          </p:cNvPr>
          <p:cNvSpPr/>
          <p:nvPr/>
        </p:nvSpPr>
        <p:spPr>
          <a:xfrm>
            <a:off x="4475026" y="3755188"/>
            <a:ext cx="735556" cy="735556"/>
          </a:xfrm>
          <a:prstGeom prst="ellipse">
            <a:avLst/>
          </a:prstGeom>
          <a:solidFill>
            <a:srgbClr val="2B256F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D8145713-7B3C-4D7F-A2C2-030FB9848D83}"/>
              </a:ext>
            </a:extLst>
          </p:cNvPr>
          <p:cNvSpPr/>
          <p:nvPr/>
        </p:nvSpPr>
        <p:spPr>
          <a:xfrm>
            <a:off x="4475026" y="4697016"/>
            <a:ext cx="735556" cy="735556"/>
          </a:xfrm>
          <a:prstGeom prst="ellipse">
            <a:avLst/>
          </a:prstGeom>
          <a:solidFill>
            <a:srgbClr val="2B256F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/>
          <a:p>
            <a:pPr defTabSz="8440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41" name="Footer Text">
            <a:extLst>
              <a:ext uri="{FF2B5EF4-FFF2-40B4-BE49-F238E27FC236}">
                <a16:creationId xmlns:a16="http://schemas.microsoft.com/office/drawing/2014/main" id="{D922BACB-9D39-4BBB-930E-3B11FDDD5534}"/>
              </a:ext>
            </a:extLst>
          </p:cNvPr>
          <p:cNvSpPr txBox="1"/>
          <p:nvPr/>
        </p:nvSpPr>
        <p:spPr>
          <a:xfrm>
            <a:off x="5337628" y="2923456"/>
            <a:ext cx="380380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522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tage 2</a:t>
            </a:r>
            <a:b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b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ra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mi,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incidun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utrum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ec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</p:txBody>
      </p:sp>
      <p:sp>
        <p:nvSpPr>
          <p:cNvPr id="42" name="Footer Text">
            <a:extLst>
              <a:ext uri="{FF2B5EF4-FFF2-40B4-BE49-F238E27FC236}">
                <a16:creationId xmlns:a16="http://schemas.microsoft.com/office/drawing/2014/main" id="{2AB7C83D-2878-43F7-8C2C-2686A751993F}"/>
              </a:ext>
            </a:extLst>
          </p:cNvPr>
          <p:cNvSpPr txBox="1"/>
          <p:nvPr/>
        </p:nvSpPr>
        <p:spPr>
          <a:xfrm>
            <a:off x="5337628" y="3845967"/>
            <a:ext cx="380380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522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tage 3</a:t>
            </a:r>
            <a:b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b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ra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mi,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incidun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utrum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ec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</p:txBody>
      </p:sp>
      <p:sp>
        <p:nvSpPr>
          <p:cNvPr id="43" name="Footer Text">
            <a:extLst>
              <a:ext uri="{FF2B5EF4-FFF2-40B4-BE49-F238E27FC236}">
                <a16:creationId xmlns:a16="http://schemas.microsoft.com/office/drawing/2014/main" id="{63EC174A-DE03-42E6-912D-E9C5FA706AEE}"/>
              </a:ext>
            </a:extLst>
          </p:cNvPr>
          <p:cNvSpPr txBox="1"/>
          <p:nvPr/>
        </p:nvSpPr>
        <p:spPr>
          <a:xfrm>
            <a:off x="5337628" y="4787795"/>
            <a:ext cx="380380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522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tage 4</a:t>
            </a:r>
            <a:b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b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ra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mi,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incidun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utrum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ec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</p:txBody>
      </p:sp>
      <p:sp>
        <p:nvSpPr>
          <p:cNvPr id="44" name="Footer Text">
            <a:extLst>
              <a:ext uri="{FF2B5EF4-FFF2-40B4-BE49-F238E27FC236}">
                <a16:creationId xmlns:a16="http://schemas.microsoft.com/office/drawing/2014/main" id="{4FCE16CD-FDBD-4996-B575-96B466F2C143}"/>
              </a:ext>
            </a:extLst>
          </p:cNvPr>
          <p:cNvSpPr txBox="1"/>
          <p:nvPr/>
        </p:nvSpPr>
        <p:spPr>
          <a:xfrm>
            <a:off x="5337628" y="1990044"/>
            <a:ext cx="380380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522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tage 1</a:t>
            </a:r>
            <a:b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orem ipsum dolor sit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e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nsectetur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dipiscing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li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b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onec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ra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mi,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incidunt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d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utrum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ec</a:t>
            </a:r>
            <a:r>
              <a:rPr lang="en-US" kern="0" dirty="0">
                <a:solidFill>
                  <a:srgbClr val="00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</p:txBody>
      </p:sp>
      <p:pic>
        <p:nvPicPr>
          <p:cNvPr id="45" name="Graphic 44" descr="Books">
            <a:extLst>
              <a:ext uri="{FF2B5EF4-FFF2-40B4-BE49-F238E27FC236}">
                <a16:creationId xmlns:a16="http://schemas.microsoft.com/office/drawing/2014/main" id="{357D53D1-F37A-4EBD-B705-A36DB16413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47214" y="1788234"/>
            <a:ext cx="557331" cy="557328"/>
          </a:xfrm>
          <a:prstGeom prst="rect">
            <a:avLst/>
          </a:prstGeom>
          <a:effectLst/>
        </p:spPr>
      </p:pic>
      <p:pic>
        <p:nvPicPr>
          <p:cNvPr id="46" name="Graphic 45" descr="Planet">
            <a:extLst>
              <a:ext uri="{FF2B5EF4-FFF2-40B4-BE49-F238E27FC236}">
                <a16:creationId xmlns:a16="http://schemas.microsoft.com/office/drawing/2014/main" id="{DD0AF7DC-FA70-44E2-B19F-3469123433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60201" y="2607275"/>
            <a:ext cx="731357" cy="731357"/>
          </a:xfrm>
          <a:prstGeom prst="rect">
            <a:avLst/>
          </a:prstGeom>
          <a:effectLst/>
        </p:spPr>
      </p:pic>
      <p:pic>
        <p:nvPicPr>
          <p:cNvPr id="47" name="Graphic 46" descr="Backpack">
            <a:extLst>
              <a:ext uri="{FF2B5EF4-FFF2-40B4-BE49-F238E27FC236}">
                <a16:creationId xmlns:a16="http://schemas.microsoft.com/office/drawing/2014/main" id="{BD115E62-571B-4BF0-974C-7D7EA76E3BD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73208" y="3658202"/>
            <a:ext cx="505344" cy="505344"/>
          </a:xfrm>
          <a:prstGeom prst="rect">
            <a:avLst/>
          </a:prstGeom>
          <a:effectLst/>
        </p:spPr>
      </p:pic>
      <p:pic>
        <p:nvPicPr>
          <p:cNvPr id="48" name="Graphic 47" descr="Beaker">
            <a:extLst>
              <a:ext uri="{FF2B5EF4-FFF2-40B4-BE49-F238E27FC236}">
                <a16:creationId xmlns:a16="http://schemas.microsoft.com/office/drawing/2014/main" id="{66BC99FF-1F4A-4853-B9F8-2CAA5DA110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59335" y="4512452"/>
            <a:ext cx="533088" cy="533088"/>
          </a:xfrm>
          <a:prstGeom prst="rect">
            <a:avLst/>
          </a:prstGeom>
          <a:effectLst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69051CC-AF84-45A9-87BF-CA0636A20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338554"/>
          </a:xfrm>
        </p:spPr>
        <p:txBody>
          <a:bodyPr/>
          <a:lstStyle/>
          <a:p>
            <a:r>
              <a:rPr lang="en-US" dirty="0"/>
              <a:t>4 stages in the idea</a:t>
            </a:r>
            <a:endParaRPr lang="da-DK" dirty="0"/>
          </a:p>
        </p:txBody>
      </p:sp>
      <p:sp>
        <p:nvSpPr>
          <p:cNvPr id="30" name="Text Placeholder 32">
            <a:extLst>
              <a:ext uri="{FF2B5EF4-FFF2-40B4-BE49-F238E27FC236}">
                <a16:creationId xmlns:a16="http://schemas.microsoft.com/office/drawing/2014/main" id="{65030FBA-D63D-48F1-A16C-F8E611460386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20832725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50B0FA-7039-4AC0-A2B4-E417E39F55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50B0FA-7039-4AC0-A2B4-E417E39F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Oval 5538"/>
          <p:cNvSpPr>
            <a:spLocks noChangeArrowheads="1"/>
          </p:cNvSpPr>
          <p:nvPr/>
        </p:nvSpPr>
        <p:spPr bwMode="auto">
          <a:xfrm>
            <a:off x="1857301" y="3323107"/>
            <a:ext cx="721009" cy="7135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371025-4CD4-4E1B-AFC8-FFEAF9EDB7D4}"/>
              </a:ext>
            </a:extLst>
          </p:cNvPr>
          <p:cNvGrpSpPr/>
          <p:nvPr/>
        </p:nvGrpSpPr>
        <p:grpSpPr>
          <a:xfrm>
            <a:off x="2103271" y="3555939"/>
            <a:ext cx="229072" cy="210288"/>
            <a:chOff x="1308822" y="2944215"/>
            <a:chExt cx="229072" cy="210288"/>
          </a:xfrm>
          <a:effectLst/>
        </p:grpSpPr>
        <p:sp>
          <p:nvSpPr>
            <p:cNvPr id="35" name="Oval 5539"/>
            <p:cNvSpPr>
              <a:spLocks noChangeArrowheads="1"/>
            </p:cNvSpPr>
            <p:nvPr/>
          </p:nvSpPr>
          <p:spPr bwMode="auto">
            <a:xfrm>
              <a:off x="1368904" y="2944215"/>
              <a:ext cx="108904" cy="10514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/>
            </a:p>
          </p:txBody>
        </p:sp>
        <p:sp>
          <p:nvSpPr>
            <p:cNvPr id="36" name="Freeform 5540"/>
            <p:cNvSpPr>
              <a:spLocks/>
            </p:cNvSpPr>
            <p:nvPr/>
          </p:nvSpPr>
          <p:spPr bwMode="auto">
            <a:xfrm>
              <a:off x="1308822" y="3041846"/>
              <a:ext cx="229072" cy="112657"/>
            </a:xfrm>
            <a:custGeom>
              <a:avLst/>
              <a:gdLst>
                <a:gd name="T0" fmla="*/ 40 w 49"/>
                <a:gd name="T1" fmla="*/ 0 h 24"/>
                <a:gd name="T2" fmla="*/ 38 w 49"/>
                <a:gd name="T3" fmla="*/ 0 h 24"/>
                <a:gd name="T4" fmla="*/ 25 w 49"/>
                <a:gd name="T5" fmla="*/ 8 h 24"/>
                <a:gd name="T6" fmla="*/ 11 w 49"/>
                <a:gd name="T7" fmla="*/ 0 h 24"/>
                <a:gd name="T8" fmla="*/ 9 w 49"/>
                <a:gd name="T9" fmla="*/ 0 h 24"/>
                <a:gd name="T10" fmla="*/ 1 w 49"/>
                <a:gd name="T11" fmla="*/ 24 h 24"/>
                <a:gd name="T12" fmla="*/ 25 w 49"/>
                <a:gd name="T13" fmla="*/ 24 h 24"/>
                <a:gd name="T14" fmla="*/ 48 w 49"/>
                <a:gd name="T15" fmla="*/ 24 h 24"/>
                <a:gd name="T16" fmla="*/ 40 w 49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24">
                  <a:moveTo>
                    <a:pt x="40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35" y="5"/>
                    <a:pt x="30" y="8"/>
                    <a:pt x="25" y="8"/>
                  </a:cubicBezTo>
                  <a:cubicBezTo>
                    <a:pt x="19" y="8"/>
                    <a:pt x="14" y="5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2" y="14"/>
                    <a:pt x="1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4"/>
                    <a:pt x="49" y="0"/>
                    <a:pt x="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/>
            </a:p>
          </p:txBody>
        </p:sp>
      </p:grpSp>
      <p:sp>
        <p:nvSpPr>
          <p:cNvPr id="37" name="TextBox 26"/>
          <p:cNvSpPr txBox="1"/>
          <p:nvPr/>
        </p:nvSpPr>
        <p:spPr>
          <a:xfrm>
            <a:off x="1410241" y="4269436"/>
            <a:ext cx="1591464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The quick brown fox jumps over the lazy dog. The quick</a:t>
            </a:r>
          </a:p>
        </p:txBody>
      </p:sp>
      <p:sp>
        <p:nvSpPr>
          <p:cNvPr id="41" name="Oval 5480"/>
          <p:cNvSpPr>
            <a:spLocks noChangeArrowheads="1"/>
          </p:cNvSpPr>
          <p:nvPr/>
        </p:nvSpPr>
        <p:spPr bwMode="auto">
          <a:xfrm>
            <a:off x="1847345" y="1437623"/>
            <a:ext cx="717256" cy="713501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F715E93-AF98-4E46-B6DC-F90FFBE404BD}"/>
              </a:ext>
            </a:extLst>
          </p:cNvPr>
          <p:cNvGrpSpPr/>
          <p:nvPr/>
        </p:nvGrpSpPr>
        <p:grpSpPr>
          <a:xfrm>
            <a:off x="2106459" y="1662938"/>
            <a:ext cx="210295" cy="244093"/>
            <a:chOff x="1312010" y="607413"/>
            <a:chExt cx="210295" cy="244093"/>
          </a:xfrm>
          <a:effectLst/>
        </p:grpSpPr>
        <p:sp>
          <p:nvSpPr>
            <p:cNvPr id="42" name="Freeform 5481"/>
            <p:cNvSpPr>
              <a:spLocks noEditPoints="1"/>
            </p:cNvSpPr>
            <p:nvPr/>
          </p:nvSpPr>
          <p:spPr bwMode="auto">
            <a:xfrm>
              <a:off x="1334542" y="607413"/>
              <a:ext cx="187763" cy="195273"/>
            </a:xfrm>
            <a:custGeom>
              <a:avLst/>
              <a:gdLst>
                <a:gd name="T0" fmla="*/ 31 w 40"/>
                <a:gd name="T1" fmla="*/ 6 h 41"/>
                <a:gd name="T2" fmla="*/ 6 w 40"/>
                <a:gd name="T3" fmla="*/ 10 h 41"/>
                <a:gd name="T4" fmla="*/ 9 w 40"/>
                <a:gd name="T5" fmla="*/ 35 h 41"/>
                <a:gd name="T6" fmla="*/ 34 w 40"/>
                <a:gd name="T7" fmla="*/ 31 h 41"/>
                <a:gd name="T8" fmla="*/ 31 w 40"/>
                <a:gd name="T9" fmla="*/ 6 h 41"/>
                <a:gd name="T10" fmla="*/ 12 w 40"/>
                <a:gd name="T11" fmla="*/ 30 h 41"/>
                <a:gd name="T12" fmla="*/ 10 w 40"/>
                <a:gd name="T13" fmla="*/ 13 h 41"/>
                <a:gd name="T14" fmla="*/ 27 w 40"/>
                <a:gd name="T15" fmla="*/ 11 h 41"/>
                <a:gd name="T16" fmla="*/ 30 w 40"/>
                <a:gd name="T17" fmla="*/ 28 h 41"/>
                <a:gd name="T18" fmla="*/ 12 w 40"/>
                <a:gd name="T19" fmla="*/ 3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1">
                  <a:moveTo>
                    <a:pt x="31" y="6"/>
                  </a:moveTo>
                  <a:cubicBezTo>
                    <a:pt x="23" y="0"/>
                    <a:pt x="11" y="2"/>
                    <a:pt x="6" y="10"/>
                  </a:cubicBezTo>
                  <a:cubicBezTo>
                    <a:pt x="0" y="18"/>
                    <a:pt x="1" y="29"/>
                    <a:pt x="9" y="35"/>
                  </a:cubicBezTo>
                  <a:cubicBezTo>
                    <a:pt x="17" y="41"/>
                    <a:pt x="28" y="39"/>
                    <a:pt x="34" y="31"/>
                  </a:cubicBezTo>
                  <a:cubicBezTo>
                    <a:pt x="40" y="23"/>
                    <a:pt x="38" y="12"/>
                    <a:pt x="31" y="6"/>
                  </a:cubicBezTo>
                  <a:close/>
                  <a:moveTo>
                    <a:pt x="12" y="30"/>
                  </a:moveTo>
                  <a:cubicBezTo>
                    <a:pt x="7" y="26"/>
                    <a:pt x="6" y="19"/>
                    <a:pt x="10" y="13"/>
                  </a:cubicBezTo>
                  <a:cubicBezTo>
                    <a:pt x="14" y="8"/>
                    <a:pt x="22" y="7"/>
                    <a:pt x="27" y="11"/>
                  </a:cubicBezTo>
                  <a:cubicBezTo>
                    <a:pt x="33" y="15"/>
                    <a:pt x="34" y="23"/>
                    <a:pt x="30" y="28"/>
                  </a:cubicBezTo>
                  <a:cubicBezTo>
                    <a:pt x="26" y="33"/>
                    <a:pt x="18" y="35"/>
                    <a:pt x="12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/>
            </a:p>
          </p:txBody>
        </p:sp>
        <p:sp>
          <p:nvSpPr>
            <p:cNvPr id="43" name="Freeform 5482"/>
            <p:cNvSpPr>
              <a:spLocks/>
            </p:cNvSpPr>
            <p:nvPr/>
          </p:nvSpPr>
          <p:spPr bwMode="auto">
            <a:xfrm>
              <a:off x="1312010" y="746359"/>
              <a:ext cx="93883" cy="105147"/>
            </a:xfrm>
            <a:custGeom>
              <a:avLst/>
              <a:gdLst>
                <a:gd name="T0" fmla="*/ 4 w 20"/>
                <a:gd name="T1" fmla="*/ 23 h 23"/>
                <a:gd name="T2" fmla="*/ 1 w 20"/>
                <a:gd name="T3" fmla="*/ 20 h 23"/>
                <a:gd name="T4" fmla="*/ 1 w 20"/>
                <a:gd name="T5" fmla="*/ 18 h 23"/>
                <a:gd name="T6" fmla="*/ 13 w 20"/>
                <a:gd name="T7" fmla="*/ 1 h 23"/>
                <a:gd name="T8" fmla="*/ 16 w 20"/>
                <a:gd name="T9" fmla="*/ 1 h 23"/>
                <a:gd name="T10" fmla="*/ 19 w 20"/>
                <a:gd name="T11" fmla="*/ 3 h 23"/>
                <a:gd name="T12" fmla="*/ 19 w 20"/>
                <a:gd name="T13" fmla="*/ 6 h 23"/>
                <a:gd name="T14" fmla="*/ 6 w 20"/>
                <a:gd name="T15" fmla="*/ 22 h 23"/>
                <a:gd name="T16" fmla="*/ 4 w 20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3">
                  <a:moveTo>
                    <a:pt x="4" y="23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19"/>
                    <a:pt x="1" y="18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4"/>
                    <a:pt x="20" y="5"/>
                    <a:pt x="19" y="6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3"/>
                    <a:pt x="5" y="23"/>
                    <a:pt x="4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/>
            </a:p>
          </p:txBody>
        </p:sp>
      </p:grpSp>
      <p:sp>
        <p:nvSpPr>
          <p:cNvPr id="40" name="TextBox 28"/>
          <p:cNvSpPr txBox="1"/>
          <p:nvPr/>
        </p:nvSpPr>
        <p:spPr>
          <a:xfrm>
            <a:off x="1410242" y="2383956"/>
            <a:ext cx="1591462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The quick brown fox jumps over the lazy dog. The quick</a:t>
            </a:r>
          </a:p>
        </p:txBody>
      </p:sp>
      <p:sp>
        <p:nvSpPr>
          <p:cNvPr id="45" name="Oval 5596"/>
          <p:cNvSpPr>
            <a:spLocks noChangeArrowheads="1"/>
          </p:cNvSpPr>
          <p:nvPr/>
        </p:nvSpPr>
        <p:spPr bwMode="auto">
          <a:xfrm>
            <a:off x="1847344" y="5208583"/>
            <a:ext cx="717256" cy="713504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/>
          </a:p>
        </p:txBody>
      </p:sp>
      <p:sp>
        <p:nvSpPr>
          <p:cNvPr id="46" name="Freeform 5597"/>
          <p:cNvSpPr>
            <a:spLocks/>
          </p:cNvSpPr>
          <p:nvPr/>
        </p:nvSpPr>
        <p:spPr bwMode="auto">
          <a:xfrm>
            <a:off x="2125232" y="5554064"/>
            <a:ext cx="161476" cy="116415"/>
          </a:xfrm>
          <a:custGeom>
            <a:avLst/>
            <a:gdLst>
              <a:gd name="T0" fmla="*/ 0 w 43"/>
              <a:gd name="T1" fmla="*/ 0 h 31"/>
              <a:gd name="T2" fmla="*/ 0 w 43"/>
              <a:gd name="T3" fmla="*/ 31 h 31"/>
              <a:gd name="T4" fmla="*/ 15 w 43"/>
              <a:gd name="T5" fmla="*/ 31 h 31"/>
              <a:gd name="T6" fmla="*/ 15 w 43"/>
              <a:gd name="T7" fmla="*/ 8 h 31"/>
              <a:gd name="T8" fmla="*/ 29 w 43"/>
              <a:gd name="T9" fmla="*/ 8 h 31"/>
              <a:gd name="T10" fmla="*/ 29 w 43"/>
              <a:gd name="T11" fmla="*/ 31 h 31"/>
              <a:gd name="T12" fmla="*/ 43 w 43"/>
              <a:gd name="T13" fmla="*/ 31 h 31"/>
              <a:gd name="T14" fmla="*/ 43 w 43"/>
              <a:gd name="T15" fmla="*/ 0 h 31"/>
              <a:gd name="T16" fmla="*/ 0 w 43"/>
              <a:gd name="T17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3" h="31">
                <a:moveTo>
                  <a:pt x="0" y="0"/>
                </a:moveTo>
                <a:lnTo>
                  <a:pt x="0" y="31"/>
                </a:lnTo>
                <a:lnTo>
                  <a:pt x="15" y="31"/>
                </a:lnTo>
                <a:lnTo>
                  <a:pt x="15" y="8"/>
                </a:lnTo>
                <a:lnTo>
                  <a:pt x="29" y="8"/>
                </a:lnTo>
                <a:lnTo>
                  <a:pt x="29" y="31"/>
                </a:lnTo>
                <a:lnTo>
                  <a:pt x="43" y="31"/>
                </a:lnTo>
                <a:lnTo>
                  <a:pt x="4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47" name="Freeform 5598"/>
          <p:cNvSpPr>
            <a:spLocks/>
          </p:cNvSpPr>
          <p:nvPr/>
        </p:nvSpPr>
        <p:spPr bwMode="auto">
          <a:xfrm>
            <a:off x="2085800" y="5452659"/>
            <a:ext cx="240336" cy="105148"/>
          </a:xfrm>
          <a:custGeom>
            <a:avLst/>
            <a:gdLst>
              <a:gd name="T0" fmla="*/ 32 w 64"/>
              <a:gd name="T1" fmla="*/ 0 h 28"/>
              <a:gd name="T2" fmla="*/ 0 w 64"/>
              <a:gd name="T3" fmla="*/ 28 h 28"/>
              <a:gd name="T4" fmla="*/ 64 w 64"/>
              <a:gd name="T5" fmla="*/ 28 h 28"/>
              <a:gd name="T6" fmla="*/ 32 w 64"/>
              <a:gd name="T7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4" h="28">
                <a:moveTo>
                  <a:pt x="32" y="0"/>
                </a:moveTo>
                <a:lnTo>
                  <a:pt x="0" y="28"/>
                </a:lnTo>
                <a:lnTo>
                  <a:pt x="64" y="28"/>
                </a:lnTo>
                <a:lnTo>
                  <a:pt x="3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/>
          </a:p>
        </p:txBody>
      </p:sp>
      <p:sp>
        <p:nvSpPr>
          <p:cNvPr id="48" name="TextBox 32"/>
          <p:cNvSpPr txBox="1"/>
          <p:nvPr/>
        </p:nvSpPr>
        <p:spPr>
          <a:xfrm>
            <a:off x="1410241" y="6154907"/>
            <a:ext cx="1591464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The quick brown fox jumps over the lazy dog. The quick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2C11184-9602-475A-A14D-A7FA44C8D811}"/>
              </a:ext>
            </a:extLst>
          </p:cNvPr>
          <p:cNvGrpSpPr/>
          <p:nvPr/>
        </p:nvGrpSpPr>
        <p:grpSpPr>
          <a:xfrm>
            <a:off x="3778640" y="1437623"/>
            <a:ext cx="5694944" cy="4806408"/>
            <a:chOff x="3778640" y="807026"/>
            <a:chExt cx="5694944" cy="4806408"/>
          </a:xfrm>
        </p:grpSpPr>
        <p:sp>
          <p:nvSpPr>
            <p:cNvPr id="1130274" name="Freeform 11549"/>
            <p:cNvSpPr>
              <a:spLocks/>
            </p:cNvSpPr>
            <p:nvPr/>
          </p:nvSpPr>
          <p:spPr bwMode="auto">
            <a:xfrm>
              <a:off x="5868517" y="1449151"/>
              <a:ext cx="3605067" cy="4164283"/>
            </a:xfrm>
            <a:custGeom>
              <a:avLst/>
              <a:gdLst>
                <a:gd name="T0" fmla="*/ 6524 w 6524"/>
                <a:gd name="T1" fmla="*/ 3769 h 7536"/>
                <a:gd name="T2" fmla="*/ 0 w 6524"/>
                <a:gd name="T3" fmla="*/ 7536 h 7536"/>
                <a:gd name="T4" fmla="*/ 0 w 6524"/>
                <a:gd name="T5" fmla="*/ 0 h 7536"/>
                <a:gd name="T6" fmla="*/ 6524 w 6524"/>
                <a:gd name="T7" fmla="*/ 3769 h 7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24" h="7536">
                  <a:moveTo>
                    <a:pt x="6524" y="3769"/>
                  </a:moveTo>
                  <a:lnTo>
                    <a:pt x="0" y="7536"/>
                  </a:lnTo>
                  <a:lnTo>
                    <a:pt x="0" y="0"/>
                  </a:lnTo>
                  <a:lnTo>
                    <a:pt x="6524" y="376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0275" name="Freeform 11550"/>
            <p:cNvSpPr>
              <a:spLocks/>
            </p:cNvSpPr>
            <p:nvPr/>
          </p:nvSpPr>
          <p:spPr bwMode="auto">
            <a:xfrm>
              <a:off x="4669408" y="2417784"/>
              <a:ext cx="2257310" cy="2607097"/>
            </a:xfrm>
            <a:custGeom>
              <a:avLst/>
              <a:gdLst>
                <a:gd name="T0" fmla="*/ 4085 w 4085"/>
                <a:gd name="T1" fmla="*/ 2360 h 4718"/>
                <a:gd name="T2" fmla="*/ 0 w 4085"/>
                <a:gd name="T3" fmla="*/ 0 h 4718"/>
                <a:gd name="T4" fmla="*/ 0 w 4085"/>
                <a:gd name="T5" fmla="*/ 4718 h 4718"/>
                <a:gd name="T6" fmla="*/ 4085 w 4085"/>
                <a:gd name="T7" fmla="*/ 2360 h 4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85" h="4718">
                  <a:moveTo>
                    <a:pt x="4085" y="2360"/>
                  </a:moveTo>
                  <a:lnTo>
                    <a:pt x="0" y="0"/>
                  </a:lnTo>
                  <a:lnTo>
                    <a:pt x="0" y="4718"/>
                  </a:lnTo>
                  <a:lnTo>
                    <a:pt x="4085" y="236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0276" name="Freeform 11551"/>
            <p:cNvSpPr>
              <a:spLocks/>
            </p:cNvSpPr>
            <p:nvPr/>
          </p:nvSpPr>
          <p:spPr bwMode="auto">
            <a:xfrm>
              <a:off x="6884722" y="2574719"/>
              <a:ext cx="1986544" cy="2294334"/>
            </a:xfrm>
            <a:custGeom>
              <a:avLst/>
              <a:gdLst>
                <a:gd name="T0" fmla="*/ 0 w 3595"/>
                <a:gd name="T1" fmla="*/ 2076 h 4152"/>
                <a:gd name="T2" fmla="*/ 3595 w 3595"/>
                <a:gd name="T3" fmla="*/ 0 h 4152"/>
                <a:gd name="T4" fmla="*/ 3595 w 3595"/>
                <a:gd name="T5" fmla="*/ 4152 h 4152"/>
                <a:gd name="T6" fmla="*/ 0 w 3595"/>
                <a:gd name="T7" fmla="*/ 2076 h 4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95" h="4152">
                  <a:moveTo>
                    <a:pt x="0" y="2076"/>
                  </a:moveTo>
                  <a:lnTo>
                    <a:pt x="3595" y="0"/>
                  </a:lnTo>
                  <a:lnTo>
                    <a:pt x="3595" y="4152"/>
                  </a:lnTo>
                  <a:lnTo>
                    <a:pt x="0" y="20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277" name="Freeform 11552"/>
            <p:cNvSpPr>
              <a:spLocks/>
            </p:cNvSpPr>
            <p:nvPr/>
          </p:nvSpPr>
          <p:spPr bwMode="auto">
            <a:xfrm>
              <a:off x="3778640" y="2578587"/>
              <a:ext cx="698468" cy="806221"/>
            </a:xfrm>
            <a:custGeom>
              <a:avLst/>
              <a:gdLst>
                <a:gd name="T0" fmla="*/ 0 w 1264"/>
                <a:gd name="T1" fmla="*/ 731 h 1459"/>
                <a:gd name="T2" fmla="*/ 1264 w 1264"/>
                <a:gd name="T3" fmla="*/ 0 h 1459"/>
                <a:gd name="T4" fmla="*/ 1264 w 1264"/>
                <a:gd name="T5" fmla="*/ 1459 h 1459"/>
                <a:gd name="T6" fmla="*/ 0 w 1264"/>
                <a:gd name="T7" fmla="*/ 731 h 1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64" h="1459">
                  <a:moveTo>
                    <a:pt x="0" y="731"/>
                  </a:moveTo>
                  <a:lnTo>
                    <a:pt x="1264" y="0"/>
                  </a:lnTo>
                  <a:lnTo>
                    <a:pt x="1264" y="1459"/>
                  </a:lnTo>
                  <a:lnTo>
                    <a:pt x="0" y="7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278" name="Freeform 11553"/>
            <p:cNvSpPr>
              <a:spLocks/>
            </p:cNvSpPr>
            <p:nvPr/>
          </p:nvSpPr>
          <p:spPr bwMode="auto">
            <a:xfrm>
              <a:off x="7703654" y="1762972"/>
              <a:ext cx="1074779" cy="1241660"/>
            </a:xfrm>
            <a:custGeom>
              <a:avLst/>
              <a:gdLst>
                <a:gd name="T0" fmla="*/ 1945 w 1945"/>
                <a:gd name="T1" fmla="*/ 1124 h 2247"/>
                <a:gd name="T2" fmla="*/ 0 w 1945"/>
                <a:gd name="T3" fmla="*/ 2247 h 2247"/>
                <a:gd name="T4" fmla="*/ 0 w 1945"/>
                <a:gd name="T5" fmla="*/ 0 h 2247"/>
                <a:gd name="T6" fmla="*/ 1945 w 1945"/>
                <a:gd name="T7" fmla="*/ 1124 h 2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5" h="2247">
                  <a:moveTo>
                    <a:pt x="1945" y="1124"/>
                  </a:moveTo>
                  <a:lnTo>
                    <a:pt x="0" y="2247"/>
                  </a:lnTo>
                  <a:lnTo>
                    <a:pt x="0" y="0"/>
                  </a:lnTo>
                  <a:lnTo>
                    <a:pt x="1945" y="112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279" name="Freeform 11554"/>
            <p:cNvSpPr>
              <a:spLocks/>
            </p:cNvSpPr>
            <p:nvPr/>
          </p:nvSpPr>
          <p:spPr bwMode="auto">
            <a:xfrm>
              <a:off x="6587983" y="3527376"/>
              <a:ext cx="1442248" cy="1664387"/>
            </a:xfrm>
            <a:custGeom>
              <a:avLst/>
              <a:gdLst>
                <a:gd name="T0" fmla="*/ 2610 w 2610"/>
                <a:gd name="T1" fmla="*/ 1506 h 3012"/>
                <a:gd name="T2" fmla="*/ 0 w 2610"/>
                <a:gd name="T3" fmla="*/ 3012 h 3012"/>
                <a:gd name="T4" fmla="*/ 0 w 2610"/>
                <a:gd name="T5" fmla="*/ 0 h 3012"/>
                <a:gd name="T6" fmla="*/ 2610 w 2610"/>
                <a:gd name="T7" fmla="*/ 1506 h 3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0" h="3012">
                  <a:moveTo>
                    <a:pt x="2610" y="1506"/>
                  </a:moveTo>
                  <a:lnTo>
                    <a:pt x="0" y="3012"/>
                  </a:lnTo>
                  <a:lnTo>
                    <a:pt x="0" y="0"/>
                  </a:lnTo>
                  <a:lnTo>
                    <a:pt x="2610" y="150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69" name="Freeform 11550"/>
            <p:cNvSpPr>
              <a:spLocks/>
            </p:cNvSpPr>
            <p:nvPr/>
          </p:nvSpPr>
          <p:spPr bwMode="auto">
            <a:xfrm rot="3553403">
              <a:off x="5435060" y="3649244"/>
              <a:ext cx="1534847" cy="1772683"/>
            </a:xfrm>
            <a:custGeom>
              <a:avLst/>
              <a:gdLst>
                <a:gd name="T0" fmla="*/ 4085 w 4085"/>
                <a:gd name="T1" fmla="*/ 2360 h 4718"/>
                <a:gd name="T2" fmla="*/ 0 w 4085"/>
                <a:gd name="T3" fmla="*/ 0 h 4718"/>
                <a:gd name="T4" fmla="*/ 0 w 4085"/>
                <a:gd name="T5" fmla="*/ 4718 h 4718"/>
                <a:gd name="T6" fmla="*/ 4085 w 4085"/>
                <a:gd name="T7" fmla="*/ 2360 h 4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85" h="4718">
                  <a:moveTo>
                    <a:pt x="4085" y="2360"/>
                  </a:moveTo>
                  <a:lnTo>
                    <a:pt x="0" y="0"/>
                  </a:lnTo>
                  <a:lnTo>
                    <a:pt x="0" y="4718"/>
                  </a:lnTo>
                  <a:lnTo>
                    <a:pt x="4085" y="236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Isosceles Triangle 4">
              <a:extLst>
                <a:ext uri="{FF2B5EF4-FFF2-40B4-BE49-F238E27FC236}">
                  <a16:creationId xmlns:a16="http://schemas.microsoft.com/office/drawing/2014/main" id="{08F63295-2D01-4074-8DC2-BD2EC8DD2179}"/>
                </a:ext>
              </a:extLst>
            </p:cNvPr>
            <p:cNvSpPr/>
            <p:nvPr/>
          </p:nvSpPr>
          <p:spPr bwMode="auto">
            <a:xfrm>
              <a:off x="5079447" y="821557"/>
              <a:ext cx="3668043" cy="4350464"/>
            </a:xfrm>
            <a:custGeom>
              <a:avLst/>
              <a:gdLst>
                <a:gd name="connsiteX0" fmla="*/ 0 w 528333"/>
                <a:gd name="connsiteY0" fmla="*/ 4358557 h 4358557"/>
                <a:gd name="connsiteX1" fmla="*/ 264167 w 528333"/>
                <a:gd name="connsiteY1" fmla="*/ 0 h 4358557"/>
                <a:gd name="connsiteX2" fmla="*/ 528333 w 528333"/>
                <a:gd name="connsiteY2" fmla="*/ 4358557 h 4358557"/>
                <a:gd name="connsiteX3" fmla="*/ 0 w 528333"/>
                <a:gd name="connsiteY3" fmla="*/ 4358557 h 4358557"/>
                <a:gd name="connsiteX0" fmla="*/ 0 w 3668043"/>
                <a:gd name="connsiteY0" fmla="*/ 4358557 h 4358557"/>
                <a:gd name="connsiteX1" fmla="*/ 264167 w 3668043"/>
                <a:gd name="connsiteY1" fmla="*/ 0 h 4358557"/>
                <a:gd name="connsiteX2" fmla="*/ 3668043 w 3668043"/>
                <a:gd name="connsiteY2" fmla="*/ 2173708 h 4358557"/>
                <a:gd name="connsiteX3" fmla="*/ 0 w 3668043"/>
                <a:gd name="connsiteY3" fmla="*/ 4358557 h 4358557"/>
                <a:gd name="connsiteX0" fmla="*/ 0 w 3668043"/>
                <a:gd name="connsiteY0" fmla="*/ 4350464 h 4350464"/>
                <a:gd name="connsiteX1" fmla="*/ 37590 w 3668043"/>
                <a:gd name="connsiteY1" fmla="*/ 0 h 4350464"/>
                <a:gd name="connsiteX2" fmla="*/ 3668043 w 3668043"/>
                <a:gd name="connsiteY2" fmla="*/ 2165615 h 4350464"/>
                <a:gd name="connsiteX3" fmla="*/ 0 w 3668043"/>
                <a:gd name="connsiteY3" fmla="*/ 4350464 h 4350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8043" h="4350464">
                  <a:moveTo>
                    <a:pt x="0" y="4350464"/>
                  </a:moveTo>
                  <a:lnTo>
                    <a:pt x="37590" y="0"/>
                  </a:lnTo>
                  <a:lnTo>
                    <a:pt x="3668043" y="2165615"/>
                  </a:lnTo>
                  <a:lnTo>
                    <a:pt x="0" y="4350464"/>
                  </a:lnTo>
                  <a:close/>
                </a:path>
              </a:pathLst>
            </a:custGeom>
            <a:blipFill dpi="0" rotWithShape="1">
              <a:blip r:embed="rId6"/>
              <a:srcRect/>
              <a:stretch>
                <a:fillRect/>
              </a:stretch>
            </a:blipFill>
            <a:ln w="76200" cap="rnd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4" name="Isosceles Triangle 4">
              <a:extLst>
                <a:ext uri="{FF2B5EF4-FFF2-40B4-BE49-F238E27FC236}">
                  <a16:creationId xmlns:a16="http://schemas.microsoft.com/office/drawing/2014/main" id="{D2793007-812D-4FD0-81AC-626D4B4B3C14}"/>
                </a:ext>
              </a:extLst>
            </p:cNvPr>
            <p:cNvSpPr/>
            <p:nvPr/>
          </p:nvSpPr>
          <p:spPr bwMode="auto">
            <a:xfrm>
              <a:off x="5079448" y="807026"/>
              <a:ext cx="3668043" cy="4350464"/>
            </a:xfrm>
            <a:custGeom>
              <a:avLst/>
              <a:gdLst>
                <a:gd name="connsiteX0" fmla="*/ 0 w 528333"/>
                <a:gd name="connsiteY0" fmla="*/ 4358557 h 4358557"/>
                <a:gd name="connsiteX1" fmla="*/ 264167 w 528333"/>
                <a:gd name="connsiteY1" fmla="*/ 0 h 4358557"/>
                <a:gd name="connsiteX2" fmla="*/ 528333 w 528333"/>
                <a:gd name="connsiteY2" fmla="*/ 4358557 h 4358557"/>
                <a:gd name="connsiteX3" fmla="*/ 0 w 528333"/>
                <a:gd name="connsiteY3" fmla="*/ 4358557 h 4358557"/>
                <a:gd name="connsiteX0" fmla="*/ 0 w 3668043"/>
                <a:gd name="connsiteY0" fmla="*/ 4358557 h 4358557"/>
                <a:gd name="connsiteX1" fmla="*/ 264167 w 3668043"/>
                <a:gd name="connsiteY1" fmla="*/ 0 h 4358557"/>
                <a:gd name="connsiteX2" fmla="*/ 3668043 w 3668043"/>
                <a:gd name="connsiteY2" fmla="*/ 2173708 h 4358557"/>
                <a:gd name="connsiteX3" fmla="*/ 0 w 3668043"/>
                <a:gd name="connsiteY3" fmla="*/ 4358557 h 4358557"/>
                <a:gd name="connsiteX0" fmla="*/ 0 w 3668043"/>
                <a:gd name="connsiteY0" fmla="*/ 4350464 h 4350464"/>
                <a:gd name="connsiteX1" fmla="*/ 37590 w 3668043"/>
                <a:gd name="connsiteY1" fmla="*/ 0 h 4350464"/>
                <a:gd name="connsiteX2" fmla="*/ 3668043 w 3668043"/>
                <a:gd name="connsiteY2" fmla="*/ 2165615 h 4350464"/>
                <a:gd name="connsiteX3" fmla="*/ 0 w 3668043"/>
                <a:gd name="connsiteY3" fmla="*/ 4350464 h 4350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8043" h="4350464">
                  <a:moveTo>
                    <a:pt x="0" y="4350464"/>
                  </a:moveTo>
                  <a:lnTo>
                    <a:pt x="37590" y="0"/>
                  </a:lnTo>
                  <a:lnTo>
                    <a:pt x="3668043" y="2165615"/>
                  </a:lnTo>
                  <a:lnTo>
                    <a:pt x="0" y="4350464"/>
                  </a:lnTo>
                  <a:close/>
                </a:path>
              </a:pathLst>
            </a:custGeom>
            <a:noFill/>
            <a:ln w="76200" cap="rnd">
              <a:solidFill>
                <a:schemeClr val="bg1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F8E362C0-1E99-4B26-AB72-2F71AEA4D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3" y="404813"/>
            <a:ext cx="9072562" cy="677108"/>
          </a:xfrm>
        </p:spPr>
        <p:txBody>
          <a:bodyPr/>
          <a:lstStyle/>
          <a:p>
            <a:r>
              <a:rPr lang="da-DK" dirty="0" err="1"/>
              <a:t>Headline</a:t>
            </a:r>
            <a:r>
              <a:rPr lang="da-DK" dirty="0"/>
              <a:t> </a:t>
            </a:r>
            <a:br>
              <a:rPr lang="da-DK" dirty="0"/>
            </a:br>
            <a:endParaRPr lang="da-DK" dirty="0"/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AC19695F-6343-4552-B556-95ACC579B30C}"/>
              </a:ext>
            </a:extLst>
          </p:cNvPr>
          <p:cNvSpPr txBox="1">
            <a:spLocks/>
          </p:cNvSpPr>
          <p:nvPr/>
        </p:nvSpPr>
        <p:spPr>
          <a:xfrm>
            <a:off x="415925" y="736122"/>
            <a:ext cx="3250561" cy="2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500"/>
              </a:spcBef>
              <a:buNone/>
            </a:pPr>
            <a:r>
              <a:rPr lang="en-US" sz="15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07452220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0_Basis presentation UK">
  <a:themeElements>
    <a:clrScheme name="no-more">
      <a:dk1>
        <a:srgbClr val="040123"/>
      </a:dk1>
      <a:lt1>
        <a:srgbClr val="FFFFFF"/>
      </a:lt1>
      <a:dk2>
        <a:srgbClr val="2B256F"/>
      </a:dk2>
      <a:lt2>
        <a:srgbClr val="515081"/>
      </a:lt2>
      <a:accent1>
        <a:srgbClr val="FF1F49"/>
      </a:accent1>
      <a:accent2>
        <a:srgbClr val="D2D2D2"/>
      </a:accent2>
      <a:accent3>
        <a:srgbClr val="F96B71"/>
      </a:accent3>
      <a:accent4>
        <a:srgbClr val="78A5A3"/>
      </a:accent4>
      <a:accent5>
        <a:srgbClr val="303030"/>
      </a:accent5>
      <a:accent6>
        <a:srgbClr val="194B16"/>
      </a:accent6>
      <a:hlink>
        <a:srgbClr val="8C8C8C"/>
      </a:hlink>
      <a:folHlink>
        <a:srgbClr val="000000"/>
      </a:folHlink>
    </a:clrScheme>
    <a:fontScheme name="Basis presentation D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/>
        </a:solidFill>
        <a:ln w="12700">
          <a:solidFill>
            <a:schemeClr val="tx1"/>
          </a:solidFill>
          <a:round/>
          <a:headEnd/>
          <a:tailEnd/>
        </a:ln>
      </a:spPr>
      <a:bodyPr wrap="square" lIns="0" tIns="0" rIns="0" bIns="0" rtlCol="0" anchor="t">
        <a:noAutofit/>
      </a:bodyPr>
      <a:lstStyle>
        <a:defPPr algn="l">
          <a:defRPr dirty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Autofit/>
      </a:bodyPr>
      <a:lstStyle>
        <a:defPPr algn="l">
          <a:defRPr dirty="0" smtClean="0"/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M template new colors.potx" id="{F405E445-93CA-4CE4-B850-04AAF9F3E6EC}" vid="{BAD8FD65-1652-46CB-806F-EA364B48061B}"/>
    </a:ext>
  </a:extLst>
</a:theme>
</file>

<file path=ppt/theme/theme2.xml><?xml version="1.0" encoding="utf-8"?>
<a:theme xmlns:a="http://schemas.openxmlformats.org/drawingml/2006/main" name="Kontortema">
  <a:themeElements>
    <a:clrScheme name="">
      <a:dk1>
        <a:srgbClr val="000066"/>
      </a:dk1>
      <a:lt1>
        <a:srgbClr val="FFFFFF"/>
      </a:lt1>
      <a:dk2>
        <a:srgbClr val="000066"/>
      </a:dk2>
      <a:lt2>
        <a:srgbClr val="000000"/>
      </a:lt2>
      <a:accent1>
        <a:srgbClr val="FFFFFF"/>
      </a:accent1>
      <a:accent2>
        <a:srgbClr val="CDCDCD"/>
      </a:accent2>
      <a:accent3>
        <a:srgbClr val="FFFFFF"/>
      </a:accent3>
      <a:accent4>
        <a:srgbClr val="000056"/>
      </a:accent4>
      <a:accent5>
        <a:srgbClr val="FFFFFF"/>
      </a:accent5>
      <a:accent6>
        <a:srgbClr val="BABABA"/>
      </a:accent6>
      <a:hlink>
        <a:srgbClr val="777777"/>
      </a:hlink>
      <a:folHlink>
        <a:srgbClr val="000066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M template new colors</Template>
  <TotalTime>1887</TotalTime>
  <Words>1179</Words>
  <Application>Microsoft Office PowerPoint</Application>
  <PresentationFormat>A4 Paper (210x297 mm)</PresentationFormat>
  <Paragraphs>225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Open Sans</vt:lpstr>
      <vt:lpstr>Open Sans SemiBold</vt:lpstr>
      <vt:lpstr>Wingdings</vt:lpstr>
      <vt:lpstr>2010_Basis presentation UK</vt:lpstr>
      <vt:lpstr>think-cell Slide</vt:lpstr>
      <vt:lpstr>Assembly line</vt:lpstr>
      <vt:lpstr>Oil refinery</vt:lpstr>
      <vt:lpstr>VR shopping </vt:lpstr>
      <vt:lpstr>3 bullets</vt:lpstr>
      <vt:lpstr>Norway</vt:lpstr>
      <vt:lpstr>Sweden</vt:lpstr>
      <vt:lpstr>Decision Tree</vt:lpstr>
      <vt:lpstr>4 stages in the idea</vt:lpstr>
      <vt:lpstr>Headline  </vt:lpstr>
      <vt:lpstr>Organizational chart</vt:lpstr>
      <vt:lpstr>6 bullet points</vt:lpstr>
      <vt:lpstr>Go-to-market strategy</vt:lpstr>
      <vt:lpstr>SWOT</vt:lpstr>
      <vt:lpstr>5 creative bullets</vt:lpstr>
      <vt:lpstr>The majority of consumers will invest in washing machines the next year</vt:lpstr>
    </vt:vector>
  </TitlesOfParts>
  <Company>no-m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0 free slides from no-more</dc:title>
  <dc:creator>Rune Johansen</dc:creator>
  <cp:lastModifiedBy>rune johansen</cp:lastModifiedBy>
  <cp:revision>248</cp:revision>
  <cp:lastPrinted>1999-08-27T08:07:58Z</cp:lastPrinted>
  <dcterms:created xsi:type="dcterms:W3CDTF">2017-05-01T08:07:44Z</dcterms:created>
  <dcterms:modified xsi:type="dcterms:W3CDTF">2018-05-29T08:3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06578</vt:lpwstr>
  </property>
  <property fmtid="{D5CDD505-2E9C-101B-9397-08002B2CF9AE}" pid="3" name="NXPowerLiteVersion">
    <vt:lpwstr>D4.1.1</vt:lpwstr>
  </property>
</Properties>
</file>